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3.xml" ContentType="application/vnd.openxmlformats-officedocument.presentationml.tags+xml"/>
  <Override PartName="/ppt/notesSlides/notesSlide4.xml" ContentType="application/vnd.openxmlformats-officedocument.presentationml.notesSlide+xml"/>
  <Override PartName="/ppt/media/image57.jpg" ContentType="image/jpg"/>
  <Override PartName="/ppt/media/image102.jpg" ContentType="image/jpg"/>
  <Override PartName="/ppt/media/image105.jpg" ContentType="image/jpg"/>
  <Override PartName="/ppt/media/image106.jpg" ContentType="image/jpg"/>
  <Override PartName="/ppt/media/image116.jpg" ContentType="image/jpg"/>
  <Override PartName="/ppt/media/image120.jpg" ContentType="image/jpg"/>
  <Override PartName="/ppt/media/image121.jpg" ContentType="image/jpg"/>
  <Override PartName="/ppt/media/image122.jpg" ContentType="image/jpg"/>
  <Override PartName="/ppt/media/image123.jpg" ContentType="image/jpg"/>
  <Override PartName="/ppt/media/image124.jpg" ContentType="image/jpg"/>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7" r:id="rId2"/>
    <p:sldMasterId id="2147483711" r:id="rId3"/>
    <p:sldMasterId id="2147483716" r:id="rId4"/>
    <p:sldMasterId id="2147483722" r:id="rId5"/>
    <p:sldMasterId id="2147483727" r:id="rId6"/>
  </p:sldMasterIdLst>
  <p:notesMasterIdLst>
    <p:notesMasterId r:id="rId60"/>
  </p:notesMasterIdLst>
  <p:handoutMasterIdLst>
    <p:handoutMasterId r:id="rId61"/>
  </p:handoutMasterIdLst>
  <p:sldIdLst>
    <p:sldId id="2145706072" r:id="rId7"/>
    <p:sldId id="2145706169" r:id="rId8"/>
    <p:sldId id="2145706151" r:id="rId9"/>
    <p:sldId id="2145706152" r:id="rId10"/>
    <p:sldId id="2145706153" r:id="rId11"/>
    <p:sldId id="2145706154" r:id="rId12"/>
    <p:sldId id="2145706155" r:id="rId13"/>
    <p:sldId id="2145706157" r:id="rId14"/>
    <p:sldId id="2145706156" r:id="rId15"/>
    <p:sldId id="2145706158" r:id="rId16"/>
    <p:sldId id="2145706159" r:id="rId17"/>
    <p:sldId id="2145706160" r:id="rId18"/>
    <p:sldId id="2145706161" r:id="rId19"/>
    <p:sldId id="2145706162" r:id="rId20"/>
    <p:sldId id="2145706163" r:id="rId21"/>
    <p:sldId id="2145706164" r:id="rId22"/>
    <p:sldId id="2145706165" r:id="rId23"/>
    <p:sldId id="2145706166" r:id="rId24"/>
    <p:sldId id="2145706167" r:id="rId25"/>
    <p:sldId id="2145706170" r:id="rId26"/>
    <p:sldId id="2145706171" r:id="rId27"/>
    <p:sldId id="2145706172" r:id="rId28"/>
    <p:sldId id="2145706173" r:id="rId29"/>
    <p:sldId id="2145706142" r:id="rId30"/>
    <p:sldId id="312" r:id="rId31"/>
    <p:sldId id="2145706136" r:id="rId32"/>
    <p:sldId id="2141411610" r:id="rId33"/>
    <p:sldId id="2145706146" r:id="rId34"/>
    <p:sldId id="2145706140" r:id="rId35"/>
    <p:sldId id="2145706141" r:id="rId36"/>
    <p:sldId id="2145706145" r:id="rId37"/>
    <p:sldId id="257" r:id="rId38"/>
    <p:sldId id="258" r:id="rId39"/>
    <p:sldId id="259" r:id="rId40"/>
    <p:sldId id="260" r:id="rId41"/>
    <p:sldId id="261" r:id="rId42"/>
    <p:sldId id="262" r:id="rId43"/>
    <p:sldId id="263" r:id="rId44"/>
    <p:sldId id="264" r:id="rId45"/>
    <p:sldId id="265" r:id="rId46"/>
    <p:sldId id="266" r:id="rId47"/>
    <p:sldId id="311" r:id="rId48"/>
    <p:sldId id="2145706143" r:id="rId49"/>
    <p:sldId id="313" r:id="rId50"/>
    <p:sldId id="314" r:id="rId51"/>
    <p:sldId id="315" r:id="rId52"/>
    <p:sldId id="316" r:id="rId53"/>
    <p:sldId id="319" r:id="rId54"/>
    <p:sldId id="320" r:id="rId55"/>
    <p:sldId id="321" r:id="rId56"/>
    <p:sldId id="322" r:id="rId57"/>
    <p:sldId id="271" r:id="rId58"/>
    <p:sldId id="323"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F353E69-7A05-9BEF-62D3-CCCDB9601B81}" name="Keith Dugas" initials="KD" userId="S::keith.dugas@aircanada.ca::3df447e2-e4f6-49c4-ad41-e3d8e798515b" providerId="AD"/>
  <p188:author id="{391AD579-962B-7CFB-94C2-449F91FE1AED}" name="Raphaelle De Gagne" initials="RDG" userId="S::Raphaelle.DeGagne@aircanada.ca::6fd4676a-aa4c-4b85-ad32-7f7d80ea2fd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D668"/>
    <a:srgbClr val="FFFFFF"/>
    <a:srgbClr val="FBBA00"/>
    <a:srgbClr val="EDE7E7"/>
    <a:srgbClr val="DACCCB"/>
    <a:srgbClr val="FF704A"/>
    <a:srgbClr val="D29407"/>
    <a:srgbClr val="F014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592931-EC5A-4420-B40B-8B4E18F9E43E}" v="1" dt="2022-08-22T13:26:41.9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15"/>
    <p:restoredTop sz="96016" autoAdjust="0"/>
  </p:normalViewPr>
  <p:slideViewPr>
    <p:cSldViewPr snapToGrid="0">
      <p:cViewPr varScale="1">
        <p:scale>
          <a:sx n="122" d="100"/>
          <a:sy n="122" d="100"/>
        </p:scale>
        <p:origin x="328"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viewProps" Target="viewProps.xml"/><Relationship Id="rId68" Type="http://schemas.microsoft.com/office/2018/10/relationships/authors" Target="author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microsoft.com/office/2016/11/relationships/changesInfo" Target="changesInfos/changesInfo1.xml"/><Relationship Id="rId5" Type="http://schemas.openxmlformats.org/officeDocument/2006/relationships/slideMaster" Target="slideMasters/slideMaster5.xml"/><Relationship Id="rId61" Type="http://schemas.openxmlformats.org/officeDocument/2006/relationships/handoutMaster" Target="handoutMasters/handout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ith Dugas" userId="3df447e2-e4f6-49c4-ad41-e3d8e798515b" providerId="ADAL" clId="{8C592931-EC5A-4420-B40B-8B4E18F9E43E}"/>
    <pc:docChg chg="custSel modSld modShowInfo">
      <pc:chgData name="Keith Dugas" userId="3df447e2-e4f6-49c4-ad41-e3d8e798515b" providerId="ADAL" clId="{8C592931-EC5A-4420-B40B-8B4E18F9E43E}" dt="2022-08-22T13:26:41.952" v="166"/>
      <pc:docMkLst>
        <pc:docMk/>
      </pc:docMkLst>
      <pc:sldChg chg="delSp modSp mod">
        <pc:chgData name="Keith Dugas" userId="3df447e2-e4f6-49c4-ad41-e3d8e798515b" providerId="ADAL" clId="{8C592931-EC5A-4420-B40B-8B4E18F9E43E}" dt="2022-08-18T13:40:55.046" v="1" actId="1076"/>
        <pc:sldMkLst>
          <pc:docMk/>
          <pc:sldMk cId="2085079928" sldId="2141411610"/>
        </pc:sldMkLst>
        <pc:spChg chg="mod">
          <ac:chgData name="Keith Dugas" userId="3df447e2-e4f6-49c4-ad41-e3d8e798515b" providerId="ADAL" clId="{8C592931-EC5A-4420-B40B-8B4E18F9E43E}" dt="2022-08-18T13:40:55.046" v="1" actId="1076"/>
          <ac:spMkLst>
            <pc:docMk/>
            <pc:sldMk cId="2085079928" sldId="2141411610"/>
            <ac:spMk id="4" creationId="{58B1C4C6-1E98-A8B8-0F44-2516A12BC1FE}"/>
          </ac:spMkLst>
        </pc:spChg>
        <pc:spChg chg="mod">
          <ac:chgData name="Keith Dugas" userId="3df447e2-e4f6-49c4-ad41-e3d8e798515b" providerId="ADAL" clId="{8C592931-EC5A-4420-B40B-8B4E18F9E43E}" dt="2022-08-18T13:40:55.046" v="1" actId="1076"/>
          <ac:spMkLst>
            <pc:docMk/>
            <pc:sldMk cId="2085079928" sldId="2141411610"/>
            <ac:spMk id="15" creationId="{FCAE8E7D-7604-287D-9563-E8FA09EB0451}"/>
          </ac:spMkLst>
        </pc:spChg>
        <pc:spChg chg="mod">
          <ac:chgData name="Keith Dugas" userId="3df447e2-e4f6-49c4-ad41-e3d8e798515b" providerId="ADAL" clId="{8C592931-EC5A-4420-B40B-8B4E18F9E43E}" dt="2022-08-18T13:40:55.046" v="1" actId="1076"/>
          <ac:spMkLst>
            <pc:docMk/>
            <pc:sldMk cId="2085079928" sldId="2141411610"/>
            <ac:spMk id="21" creationId="{A6C027B8-2036-C48F-AC61-76479C293D63}"/>
          </ac:spMkLst>
        </pc:spChg>
        <pc:spChg chg="mod">
          <ac:chgData name="Keith Dugas" userId="3df447e2-e4f6-49c4-ad41-e3d8e798515b" providerId="ADAL" clId="{8C592931-EC5A-4420-B40B-8B4E18F9E43E}" dt="2022-08-18T13:40:55.046" v="1" actId="1076"/>
          <ac:spMkLst>
            <pc:docMk/>
            <pc:sldMk cId="2085079928" sldId="2141411610"/>
            <ac:spMk id="26" creationId="{F0C1B033-0242-A289-E710-42350EA5F500}"/>
          </ac:spMkLst>
        </pc:spChg>
        <pc:spChg chg="mod">
          <ac:chgData name="Keith Dugas" userId="3df447e2-e4f6-49c4-ad41-e3d8e798515b" providerId="ADAL" clId="{8C592931-EC5A-4420-B40B-8B4E18F9E43E}" dt="2022-08-18T13:40:55.046" v="1" actId="1076"/>
          <ac:spMkLst>
            <pc:docMk/>
            <pc:sldMk cId="2085079928" sldId="2141411610"/>
            <ac:spMk id="28" creationId="{D62E85FE-D941-22FE-3CA8-177A1A0FF013}"/>
          </ac:spMkLst>
        </pc:spChg>
        <pc:spChg chg="del">
          <ac:chgData name="Keith Dugas" userId="3df447e2-e4f6-49c4-ad41-e3d8e798515b" providerId="ADAL" clId="{8C592931-EC5A-4420-B40B-8B4E18F9E43E}" dt="2022-08-18T13:40:47.153" v="0" actId="478"/>
          <ac:spMkLst>
            <pc:docMk/>
            <pc:sldMk cId="2085079928" sldId="2141411610"/>
            <ac:spMk id="30" creationId="{9F758D25-EAE4-39EA-EAAD-21413D3D7296}"/>
          </ac:spMkLst>
        </pc:spChg>
        <pc:spChg chg="mod">
          <ac:chgData name="Keith Dugas" userId="3df447e2-e4f6-49c4-ad41-e3d8e798515b" providerId="ADAL" clId="{8C592931-EC5A-4420-B40B-8B4E18F9E43E}" dt="2022-08-18T13:40:55.046" v="1" actId="1076"/>
          <ac:spMkLst>
            <pc:docMk/>
            <pc:sldMk cId="2085079928" sldId="2141411610"/>
            <ac:spMk id="33" creationId="{B64F67C1-903C-62E0-3B0B-D583020FC52A}"/>
          </ac:spMkLst>
        </pc:spChg>
        <pc:spChg chg="mod">
          <ac:chgData name="Keith Dugas" userId="3df447e2-e4f6-49c4-ad41-e3d8e798515b" providerId="ADAL" clId="{8C592931-EC5A-4420-B40B-8B4E18F9E43E}" dt="2022-08-18T13:40:55.046" v="1" actId="1076"/>
          <ac:spMkLst>
            <pc:docMk/>
            <pc:sldMk cId="2085079928" sldId="2141411610"/>
            <ac:spMk id="41" creationId="{B80E9A1E-59EF-C8DF-7361-4728A8881D82}"/>
          </ac:spMkLst>
        </pc:spChg>
        <pc:spChg chg="mod">
          <ac:chgData name="Keith Dugas" userId="3df447e2-e4f6-49c4-ad41-e3d8e798515b" providerId="ADAL" clId="{8C592931-EC5A-4420-B40B-8B4E18F9E43E}" dt="2022-08-18T13:40:55.046" v="1" actId="1076"/>
          <ac:spMkLst>
            <pc:docMk/>
            <pc:sldMk cId="2085079928" sldId="2141411610"/>
            <ac:spMk id="48" creationId="{2F79DC55-4990-4667-6CCD-A0C86087CD54}"/>
          </ac:spMkLst>
        </pc:spChg>
        <pc:spChg chg="mod">
          <ac:chgData name="Keith Dugas" userId="3df447e2-e4f6-49c4-ad41-e3d8e798515b" providerId="ADAL" clId="{8C592931-EC5A-4420-B40B-8B4E18F9E43E}" dt="2022-08-18T13:40:55.046" v="1" actId="1076"/>
          <ac:spMkLst>
            <pc:docMk/>
            <pc:sldMk cId="2085079928" sldId="2141411610"/>
            <ac:spMk id="50" creationId="{EA005F93-E848-5C8B-085E-03D713AF1B51}"/>
          </ac:spMkLst>
        </pc:spChg>
        <pc:spChg chg="mod">
          <ac:chgData name="Keith Dugas" userId="3df447e2-e4f6-49c4-ad41-e3d8e798515b" providerId="ADAL" clId="{8C592931-EC5A-4420-B40B-8B4E18F9E43E}" dt="2022-08-18T13:40:55.046" v="1" actId="1076"/>
          <ac:spMkLst>
            <pc:docMk/>
            <pc:sldMk cId="2085079928" sldId="2141411610"/>
            <ac:spMk id="53" creationId="{52DCF1B3-5532-A9EF-BF04-74D1497B2F5D}"/>
          </ac:spMkLst>
        </pc:spChg>
        <pc:spChg chg="del">
          <ac:chgData name="Keith Dugas" userId="3df447e2-e4f6-49c4-ad41-e3d8e798515b" providerId="ADAL" clId="{8C592931-EC5A-4420-B40B-8B4E18F9E43E}" dt="2022-08-18T13:40:47.153" v="0" actId="478"/>
          <ac:spMkLst>
            <pc:docMk/>
            <pc:sldMk cId="2085079928" sldId="2141411610"/>
            <ac:spMk id="60" creationId="{594CCB75-CE00-6C95-5F6F-8FA0CB10E19A}"/>
          </ac:spMkLst>
        </pc:spChg>
        <pc:spChg chg="del">
          <ac:chgData name="Keith Dugas" userId="3df447e2-e4f6-49c4-ad41-e3d8e798515b" providerId="ADAL" clId="{8C592931-EC5A-4420-B40B-8B4E18F9E43E}" dt="2022-08-18T13:40:47.153" v="0" actId="478"/>
          <ac:spMkLst>
            <pc:docMk/>
            <pc:sldMk cId="2085079928" sldId="2141411610"/>
            <ac:spMk id="66" creationId="{891322EC-373D-0ED4-917C-3D3F9D3F2DBC}"/>
          </ac:spMkLst>
        </pc:spChg>
        <pc:spChg chg="del">
          <ac:chgData name="Keith Dugas" userId="3df447e2-e4f6-49c4-ad41-e3d8e798515b" providerId="ADAL" clId="{8C592931-EC5A-4420-B40B-8B4E18F9E43E}" dt="2022-08-18T13:40:47.153" v="0" actId="478"/>
          <ac:spMkLst>
            <pc:docMk/>
            <pc:sldMk cId="2085079928" sldId="2141411610"/>
            <ac:spMk id="70" creationId="{7750926A-0AC7-1533-A218-2E99E6F98DB4}"/>
          </ac:spMkLst>
        </pc:spChg>
        <pc:spChg chg="del">
          <ac:chgData name="Keith Dugas" userId="3df447e2-e4f6-49c4-ad41-e3d8e798515b" providerId="ADAL" clId="{8C592931-EC5A-4420-B40B-8B4E18F9E43E}" dt="2022-08-18T13:40:47.153" v="0" actId="478"/>
          <ac:spMkLst>
            <pc:docMk/>
            <pc:sldMk cId="2085079928" sldId="2141411610"/>
            <ac:spMk id="72" creationId="{ACDC92E7-2EB7-C536-6489-5AA82341B831}"/>
          </ac:spMkLst>
        </pc:spChg>
        <pc:spChg chg="del">
          <ac:chgData name="Keith Dugas" userId="3df447e2-e4f6-49c4-ad41-e3d8e798515b" providerId="ADAL" clId="{8C592931-EC5A-4420-B40B-8B4E18F9E43E}" dt="2022-08-18T13:40:47.153" v="0" actId="478"/>
          <ac:spMkLst>
            <pc:docMk/>
            <pc:sldMk cId="2085079928" sldId="2141411610"/>
            <ac:spMk id="76" creationId="{4F1D84B3-EEC0-4969-A855-819EC9EBE3E5}"/>
          </ac:spMkLst>
        </pc:spChg>
        <pc:spChg chg="del">
          <ac:chgData name="Keith Dugas" userId="3df447e2-e4f6-49c4-ad41-e3d8e798515b" providerId="ADAL" clId="{8C592931-EC5A-4420-B40B-8B4E18F9E43E}" dt="2022-08-18T13:40:47.153" v="0" actId="478"/>
          <ac:spMkLst>
            <pc:docMk/>
            <pc:sldMk cId="2085079928" sldId="2141411610"/>
            <ac:spMk id="78" creationId="{873F0150-5319-27E4-EC7A-40B3B767EF34}"/>
          </ac:spMkLst>
        </pc:spChg>
        <pc:spChg chg="del">
          <ac:chgData name="Keith Dugas" userId="3df447e2-e4f6-49c4-ad41-e3d8e798515b" providerId="ADAL" clId="{8C592931-EC5A-4420-B40B-8B4E18F9E43E}" dt="2022-08-18T13:40:47.153" v="0" actId="478"/>
          <ac:spMkLst>
            <pc:docMk/>
            <pc:sldMk cId="2085079928" sldId="2141411610"/>
            <ac:spMk id="84" creationId="{BC4EE1E1-71C5-E117-0EC5-4745AC6C6D7C}"/>
          </ac:spMkLst>
        </pc:spChg>
        <pc:spChg chg="del">
          <ac:chgData name="Keith Dugas" userId="3df447e2-e4f6-49c4-ad41-e3d8e798515b" providerId="ADAL" clId="{8C592931-EC5A-4420-B40B-8B4E18F9E43E}" dt="2022-08-18T13:40:47.153" v="0" actId="478"/>
          <ac:spMkLst>
            <pc:docMk/>
            <pc:sldMk cId="2085079928" sldId="2141411610"/>
            <ac:spMk id="86" creationId="{B4F8300E-325F-C4F7-EF34-7DAEE82EC7ED}"/>
          </ac:spMkLst>
        </pc:spChg>
        <pc:spChg chg="del">
          <ac:chgData name="Keith Dugas" userId="3df447e2-e4f6-49c4-ad41-e3d8e798515b" providerId="ADAL" clId="{8C592931-EC5A-4420-B40B-8B4E18F9E43E}" dt="2022-08-18T13:40:47.153" v="0" actId="478"/>
          <ac:spMkLst>
            <pc:docMk/>
            <pc:sldMk cId="2085079928" sldId="2141411610"/>
            <ac:spMk id="92" creationId="{96E4233A-D732-7CE5-FFCE-4E0D09CBA13D}"/>
          </ac:spMkLst>
        </pc:spChg>
        <pc:spChg chg="mod">
          <ac:chgData name="Keith Dugas" userId="3df447e2-e4f6-49c4-ad41-e3d8e798515b" providerId="ADAL" clId="{8C592931-EC5A-4420-B40B-8B4E18F9E43E}" dt="2022-08-18T13:40:55.046" v="1" actId="1076"/>
          <ac:spMkLst>
            <pc:docMk/>
            <pc:sldMk cId="2085079928" sldId="2141411610"/>
            <ac:spMk id="94" creationId="{4567386E-7B75-9EF2-9DC2-A28A47713268}"/>
          </ac:spMkLst>
        </pc:spChg>
        <pc:spChg chg="del">
          <ac:chgData name="Keith Dugas" userId="3df447e2-e4f6-49c4-ad41-e3d8e798515b" providerId="ADAL" clId="{8C592931-EC5A-4420-B40B-8B4E18F9E43E}" dt="2022-08-18T13:40:47.153" v="0" actId="478"/>
          <ac:spMkLst>
            <pc:docMk/>
            <pc:sldMk cId="2085079928" sldId="2141411610"/>
            <ac:spMk id="96" creationId="{EF303D75-929D-79D2-6609-DB1FF4D2EDDE}"/>
          </ac:spMkLst>
        </pc:spChg>
        <pc:picChg chg="mod">
          <ac:chgData name="Keith Dugas" userId="3df447e2-e4f6-49c4-ad41-e3d8e798515b" providerId="ADAL" clId="{8C592931-EC5A-4420-B40B-8B4E18F9E43E}" dt="2022-08-18T13:40:55.046" v="1" actId="1076"/>
          <ac:picMkLst>
            <pc:docMk/>
            <pc:sldMk cId="2085079928" sldId="2141411610"/>
            <ac:picMk id="11" creationId="{A9037475-7AFD-B629-8CDC-2AD6BC62680B}"/>
          </ac:picMkLst>
        </pc:picChg>
        <pc:picChg chg="mod">
          <ac:chgData name="Keith Dugas" userId="3df447e2-e4f6-49c4-ad41-e3d8e798515b" providerId="ADAL" clId="{8C592931-EC5A-4420-B40B-8B4E18F9E43E}" dt="2022-08-18T13:40:55.046" v="1" actId="1076"/>
          <ac:picMkLst>
            <pc:docMk/>
            <pc:sldMk cId="2085079928" sldId="2141411610"/>
            <ac:picMk id="17" creationId="{F50C1403-00F3-644E-5DBA-D44FF99DE037}"/>
          </ac:picMkLst>
        </pc:picChg>
        <pc:picChg chg="mod">
          <ac:chgData name="Keith Dugas" userId="3df447e2-e4f6-49c4-ad41-e3d8e798515b" providerId="ADAL" clId="{8C592931-EC5A-4420-B40B-8B4E18F9E43E}" dt="2022-08-18T13:40:55.046" v="1" actId="1076"/>
          <ac:picMkLst>
            <pc:docMk/>
            <pc:sldMk cId="2085079928" sldId="2141411610"/>
            <ac:picMk id="23" creationId="{02608F46-A747-A156-090A-73BA1A397797}"/>
          </ac:picMkLst>
        </pc:picChg>
        <pc:picChg chg="mod">
          <ac:chgData name="Keith Dugas" userId="3df447e2-e4f6-49c4-ad41-e3d8e798515b" providerId="ADAL" clId="{8C592931-EC5A-4420-B40B-8B4E18F9E43E}" dt="2022-08-18T13:40:55.046" v="1" actId="1076"/>
          <ac:picMkLst>
            <pc:docMk/>
            <pc:sldMk cId="2085079928" sldId="2141411610"/>
            <ac:picMk id="37" creationId="{464BB87F-31ED-6013-0DCA-D55429150EF3}"/>
          </ac:picMkLst>
        </pc:picChg>
        <pc:picChg chg="mod">
          <ac:chgData name="Keith Dugas" userId="3df447e2-e4f6-49c4-ad41-e3d8e798515b" providerId="ADAL" clId="{8C592931-EC5A-4420-B40B-8B4E18F9E43E}" dt="2022-08-18T13:40:55.046" v="1" actId="1076"/>
          <ac:picMkLst>
            <pc:docMk/>
            <pc:sldMk cId="2085079928" sldId="2141411610"/>
            <ac:picMk id="45" creationId="{73132DFA-908D-E729-A45A-2BF211C4B7E3}"/>
          </ac:picMkLst>
        </pc:picChg>
        <pc:picChg chg="del">
          <ac:chgData name="Keith Dugas" userId="3df447e2-e4f6-49c4-ad41-e3d8e798515b" providerId="ADAL" clId="{8C592931-EC5A-4420-B40B-8B4E18F9E43E}" dt="2022-08-18T13:40:47.153" v="0" actId="478"/>
          <ac:picMkLst>
            <pc:docMk/>
            <pc:sldMk cId="2085079928" sldId="2141411610"/>
            <ac:picMk id="56" creationId="{8F52757C-8AAD-41A6-90D9-59A18E5E367F}"/>
          </ac:picMkLst>
        </pc:picChg>
        <pc:picChg chg="del">
          <ac:chgData name="Keith Dugas" userId="3df447e2-e4f6-49c4-ad41-e3d8e798515b" providerId="ADAL" clId="{8C592931-EC5A-4420-B40B-8B4E18F9E43E}" dt="2022-08-18T13:40:47.153" v="0" actId="478"/>
          <ac:picMkLst>
            <pc:docMk/>
            <pc:sldMk cId="2085079928" sldId="2141411610"/>
            <ac:picMk id="62" creationId="{7D661B1B-755D-B13A-5016-04C0AB5C806B}"/>
          </ac:picMkLst>
        </pc:picChg>
        <pc:picChg chg="del">
          <ac:chgData name="Keith Dugas" userId="3df447e2-e4f6-49c4-ad41-e3d8e798515b" providerId="ADAL" clId="{8C592931-EC5A-4420-B40B-8B4E18F9E43E}" dt="2022-08-18T13:40:47.153" v="0" actId="478"/>
          <ac:picMkLst>
            <pc:docMk/>
            <pc:sldMk cId="2085079928" sldId="2141411610"/>
            <ac:picMk id="68" creationId="{1FF28546-777C-5EE8-3D44-E081BFBF469B}"/>
          </ac:picMkLst>
        </pc:picChg>
        <pc:picChg chg="del">
          <ac:chgData name="Keith Dugas" userId="3df447e2-e4f6-49c4-ad41-e3d8e798515b" providerId="ADAL" clId="{8C592931-EC5A-4420-B40B-8B4E18F9E43E}" dt="2022-08-18T13:40:47.153" v="0" actId="478"/>
          <ac:picMkLst>
            <pc:docMk/>
            <pc:sldMk cId="2085079928" sldId="2141411610"/>
            <ac:picMk id="88" creationId="{F8133D09-8E84-7CD3-4E35-050F7B3909CA}"/>
          </ac:picMkLst>
        </pc:picChg>
        <pc:picChg chg="del">
          <ac:chgData name="Keith Dugas" userId="3df447e2-e4f6-49c4-ad41-e3d8e798515b" providerId="ADAL" clId="{8C592931-EC5A-4420-B40B-8B4E18F9E43E}" dt="2022-08-18T13:40:47.153" v="0" actId="478"/>
          <ac:picMkLst>
            <pc:docMk/>
            <pc:sldMk cId="2085079928" sldId="2141411610"/>
            <ac:picMk id="90" creationId="{C9175868-62B9-E7C9-0DAE-9F1D9E41C454}"/>
          </ac:picMkLst>
        </pc:picChg>
        <pc:cxnChg chg="mod">
          <ac:chgData name="Keith Dugas" userId="3df447e2-e4f6-49c4-ad41-e3d8e798515b" providerId="ADAL" clId="{8C592931-EC5A-4420-B40B-8B4E18F9E43E}" dt="2022-08-18T13:40:55.046" v="1" actId="1076"/>
          <ac:cxnSpMkLst>
            <pc:docMk/>
            <pc:sldMk cId="2085079928" sldId="2141411610"/>
            <ac:cxnSpMk id="3" creationId="{76F02516-09AA-8B81-EE51-A468E8D9B363}"/>
          </ac:cxnSpMkLst>
        </pc:cxnChg>
        <pc:cxnChg chg="mod">
          <ac:chgData name="Keith Dugas" userId="3df447e2-e4f6-49c4-ad41-e3d8e798515b" providerId="ADAL" clId="{8C592931-EC5A-4420-B40B-8B4E18F9E43E}" dt="2022-08-18T13:40:55.046" v="1" actId="1076"/>
          <ac:cxnSpMkLst>
            <pc:docMk/>
            <pc:sldMk cId="2085079928" sldId="2141411610"/>
            <ac:cxnSpMk id="7" creationId="{932373BF-F073-7C4C-982A-3E909D71C9EA}"/>
          </ac:cxnSpMkLst>
        </pc:cxnChg>
        <pc:cxnChg chg="mod">
          <ac:chgData name="Keith Dugas" userId="3df447e2-e4f6-49c4-ad41-e3d8e798515b" providerId="ADAL" clId="{8C592931-EC5A-4420-B40B-8B4E18F9E43E}" dt="2022-08-18T13:40:55.046" v="1" actId="1076"/>
          <ac:cxnSpMkLst>
            <pc:docMk/>
            <pc:sldMk cId="2085079928" sldId="2141411610"/>
            <ac:cxnSpMk id="9" creationId="{894666FF-EF89-2102-1937-0F42ED361CCC}"/>
          </ac:cxnSpMkLst>
        </pc:cxnChg>
        <pc:cxnChg chg="mod">
          <ac:chgData name="Keith Dugas" userId="3df447e2-e4f6-49c4-ad41-e3d8e798515b" providerId="ADAL" clId="{8C592931-EC5A-4420-B40B-8B4E18F9E43E}" dt="2022-08-18T13:40:55.046" v="1" actId="1076"/>
          <ac:cxnSpMkLst>
            <pc:docMk/>
            <pc:sldMk cId="2085079928" sldId="2141411610"/>
            <ac:cxnSpMk id="13" creationId="{303F5F47-A13D-CACD-0820-0FE54182BB0A}"/>
          </ac:cxnSpMkLst>
        </pc:cxnChg>
        <pc:cxnChg chg="mod">
          <ac:chgData name="Keith Dugas" userId="3df447e2-e4f6-49c4-ad41-e3d8e798515b" providerId="ADAL" clId="{8C592931-EC5A-4420-B40B-8B4E18F9E43E}" dt="2022-08-18T13:40:55.046" v="1" actId="1076"/>
          <ac:cxnSpMkLst>
            <pc:docMk/>
            <pc:sldMk cId="2085079928" sldId="2141411610"/>
            <ac:cxnSpMk id="19" creationId="{6A9505E6-505F-97ED-9D58-371025CB51BB}"/>
          </ac:cxnSpMkLst>
        </pc:cxnChg>
        <pc:cxnChg chg="mod">
          <ac:chgData name="Keith Dugas" userId="3df447e2-e4f6-49c4-ad41-e3d8e798515b" providerId="ADAL" clId="{8C592931-EC5A-4420-B40B-8B4E18F9E43E}" dt="2022-08-18T13:40:55.046" v="1" actId="1076"/>
          <ac:cxnSpMkLst>
            <pc:docMk/>
            <pc:sldMk cId="2085079928" sldId="2141411610"/>
            <ac:cxnSpMk id="25" creationId="{69DBB8DF-B9BE-F9F1-E126-95C87A6D58D7}"/>
          </ac:cxnSpMkLst>
        </pc:cxnChg>
        <pc:cxnChg chg="del">
          <ac:chgData name="Keith Dugas" userId="3df447e2-e4f6-49c4-ad41-e3d8e798515b" providerId="ADAL" clId="{8C592931-EC5A-4420-B40B-8B4E18F9E43E}" dt="2022-08-18T13:40:47.153" v="0" actId="478"/>
          <ac:cxnSpMkLst>
            <pc:docMk/>
            <pc:sldMk cId="2085079928" sldId="2141411610"/>
            <ac:cxnSpMk id="49" creationId="{75EE1040-CF84-09A7-E800-DB2BD9168DDC}"/>
          </ac:cxnSpMkLst>
        </pc:cxnChg>
        <pc:cxnChg chg="mod">
          <ac:chgData name="Keith Dugas" userId="3df447e2-e4f6-49c4-ad41-e3d8e798515b" providerId="ADAL" clId="{8C592931-EC5A-4420-B40B-8B4E18F9E43E}" dt="2022-08-18T13:40:55.046" v="1" actId="1076"/>
          <ac:cxnSpMkLst>
            <pc:docMk/>
            <pc:sldMk cId="2085079928" sldId="2141411610"/>
            <ac:cxnSpMk id="52" creationId="{417464E9-348D-17D4-3A4A-CE582509E960}"/>
          </ac:cxnSpMkLst>
        </pc:cxnChg>
        <pc:cxnChg chg="del">
          <ac:chgData name="Keith Dugas" userId="3df447e2-e4f6-49c4-ad41-e3d8e798515b" providerId="ADAL" clId="{8C592931-EC5A-4420-B40B-8B4E18F9E43E}" dt="2022-08-18T13:40:47.153" v="0" actId="478"/>
          <ac:cxnSpMkLst>
            <pc:docMk/>
            <pc:sldMk cId="2085079928" sldId="2141411610"/>
            <ac:cxnSpMk id="54" creationId="{B16B07A8-AB44-A2C0-7114-3B1864AAC67D}"/>
          </ac:cxnSpMkLst>
        </pc:cxnChg>
        <pc:cxnChg chg="del">
          <ac:chgData name="Keith Dugas" userId="3df447e2-e4f6-49c4-ad41-e3d8e798515b" providerId="ADAL" clId="{8C592931-EC5A-4420-B40B-8B4E18F9E43E}" dt="2022-08-18T13:40:47.153" v="0" actId="478"/>
          <ac:cxnSpMkLst>
            <pc:docMk/>
            <pc:sldMk cId="2085079928" sldId="2141411610"/>
            <ac:cxnSpMk id="58" creationId="{E38104EA-734B-AA2B-1F4C-D5F08E6C11A2}"/>
          </ac:cxnSpMkLst>
        </pc:cxnChg>
        <pc:cxnChg chg="del">
          <ac:chgData name="Keith Dugas" userId="3df447e2-e4f6-49c4-ad41-e3d8e798515b" providerId="ADAL" clId="{8C592931-EC5A-4420-B40B-8B4E18F9E43E}" dt="2022-08-18T13:40:47.153" v="0" actId="478"/>
          <ac:cxnSpMkLst>
            <pc:docMk/>
            <pc:sldMk cId="2085079928" sldId="2141411610"/>
            <ac:cxnSpMk id="64" creationId="{AD4343E7-CDA7-2282-A9E5-A5335F277D62}"/>
          </ac:cxnSpMkLst>
        </pc:cxnChg>
        <pc:cxnChg chg="del">
          <ac:chgData name="Keith Dugas" userId="3df447e2-e4f6-49c4-ad41-e3d8e798515b" providerId="ADAL" clId="{8C592931-EC5A-4420-B40B-8B4E18F9E43E}" dt="2022-08-18T13:40:47.153" v="0" actId="478"/>
          <ac:cxnSpMkLst>
            <pc:docMk/>
            <pc:sldMk cId="2085079928" sldId="2141411610"/>
            <ac:cxnSpMk id="74" creationId="{A41BB83C-28AC-4F0E-3BDB-6D1450E4385A}"/>
          </ac:cxnSpMkLst>
        </pc:cxnChg>
        <pc:cxnChg chg="del">
          <ac:chgData name="Keith Dugas" userId="3df447e2-e4f6-49c4-ad41-e3d8e798515b" providerId="ADAL" clId="{8C592931-EC5A-4420-B40B-8B4E18F9E43E}" dt="2022-08-18T13:40:47.153" v="0" actId="478"/>
          <ac:cxnSpMkLst>
            <pc:docMk/>
            <pc:sldMk cId="2085079928" sldId="2141411610"/>
            <ac:cxnSpMk id="80" creationId="{24A9197E-E7A5-C78A-6A4D-CC75ABE42FCD}"/>
          </ac:cxnSpMkLst>
        </pc:cxnChg>
        <pc:cxnChg chg="del">
          <ac:chgData name="Keith Dugas" userId="3df447e2-e4f6-49c4-ad41-e3d8e798515b" providerId="ADAL" clId="{8C592931-EC5A-4420-B40B-8B4E18F9E43E}" dt="2022-08-18T13:40:47.153" v="0" actId="478"/>
          <ac:cxnSpMkLst>
            <pc:docMk/>
            <pc:sldMk cId="2085079928" sldId="2141411610"/>
            <ac:cxnSpMk id="82" creationId="{4AD834DD-E630-87D5-830B-61BC91AA7A79}"/>
          </ac:cxnSpMkLst>
        </pc:cxnChg>
      </pc:sldChg>
      <pc:sldChg chg="modTransition">
        <pc:chgData name="Keith Dugas" userId="3df447e2-e4f6-49c4-ad41-e3d8e798515b" providerId="ADAL" clId="{8C592931-EC5A-4420-B40B-8B4E18F9E43E}" dt="2022-08-22T13:26:41.952" v="166"/>
        <pc:sldMkLst>
          <pc:docMk/>
          <pc:sldMk cId="29873225" sldId="2145706072"/>
        </pc:sldMkLst>
      </pc:sldChg>
      <pc:sldChg chg="modSp mod">
        <pc:chgData name="Keith Dugas" userId="3df447e2-e4f6-49c4-ad41-e3d8e798515b" providerId="ADAL" clId="{8C592931-EC5A-4420-B40B-8B4E18F9E43E}" dt="2022-08-18T13:47:32.922" v="162" actId="33524"/>
        <pc:sldMkLst>
          <pc:docMk/>
          <pc:sldMk cId="112247107" sldId="2145706141"/>
        </pc:sldMkLst>
        <pc:spChg chg="mod">
          <ac:chgData name="Keith Dugas" userId="3df447e2-e4f6-49c4-ad41-e3d8e798515b" providerId="ADAL" clId="{8C592931-EC5A-4420-B40B-8B4E18F9E43E}" dt="2022-08-18T13:47:32.922" v="162" actId="33524"/>
          <ac:spMkLst>
            <pc:docMk/>
            <pc:sldMk cId="112247107" sldId="2145706141"/>
            <ac:spMk id="3" creationId="{E289E590-DC97-F990-C804-8BACBAA7CD84}"/>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C589AC-F8B4-5B49-99CA-919C250CD75E}" type="doc">
      <dgm:prSet loTypeId="urn:microsoft.com/office/officeart/2005/8/layout/matrix1" loCatId="" qsTypeId="urn:microsoft.com/office/officeart/2005/8/quickstyle/simple1" qsCatId="simple" csTypeId="urn:microsoft.com/office/officeart/2005/8/colors/accent0_2" csCatId="mainScheme" phldr="1"/>
      <dgm:spPr/>
      <dgm:t>
        <a:bodyPr/>
        <a:lstStyle/>
        <a:p>
          <a:endParaRPr lang="en-US"/>
        </a:p>
      </dgm:t>
    </dgm:pt>
    <dgm:pt modelId="{CDB5E5EE-3948-9642-B9AE-9B5B9FE96E84}">
      <dgm:prSet phldrT="[Text]"/>
      <dgm:spPr/>
      <dgm:t>
        <a:bodyPr/>
        <a:lstStyle/>
        <a:p>
          <a:r>
            <a:rPr lang="en-US" dirty="0"/>
            <a:t>Shifts</a:t>
          </a:r>
        </a:p>
      </dgm:t>
    </dgm:pt>
    <dgm:pt modelId="{8852D7D0-512D-8E48-B97C-CF01F85C77D5}" type="parTrans" cxnId="{A6BBDA0A-4DDE-C441-B84C-41244673D969}">
      <dgm:prSet/>
      <dgm:spPr/>
      <dgm:t>
        <a:bodyPr/>
        <a:lstStyle/>
        <a:p>
          <a:endParaRPr lang="en-US"/>
        </a:p>
      </dgm:t>
    </dgm:pt>
    <dgm:pt modelId="{88BAEB87-5981-A84F-A2BC-D12ED7E5F4AE}" type="sibTrans" cxnId="{A6BBDA0A-4DDE-C441-B84C-41244673D969}">
      <dgm:prSet/>
      <dgm:spPr/>
      <dgm:t>
        <a:bodyPr/>
        <a:lstStyle/>
        <a:p>
          <a:endParaRPr lang="en-US"/>
        </a:p>
      </dgm:t>
    </dgm:pt>
    <dgm:pt modelId="{D8CE7D86-BAB6-7844-B918-31AC7816FD02}">
      <dgm:prSet phldrT="[Text]"/>
      <dgm:spPr/>
      <dgm:t>
        <a:bodyPr/>
        <a:lstStyle/>
        <a:p>
          <a:r>
            <a:rPr lang="en-US" dirty="0"/>
            <a:t>Morning</a:t>
          </a:r>
        </a:p>
      </dgm:t>
    </dgm:pt>
    <dgm:pt modelId="{730E4612-D689-F541-86D7-98BD4439F406}" type="parTrans" cxnId="{7AB1AA2A-A5ED-3740-BC25-62B3190D51DD}">
      <dgm:prSet/>
      <dgm:spPr/>
      <dgm:t>
        <a:bodyPr/>
        <a:lstStyle/>
        <a:p>
          <a:endParaRPr lang="en-US"/>
        </a:p>
      </dgm:t>
    </dgm:pt>
    <dgm:pt modelId="{52323AAD-7336-3149-AC78-3F2FEA36B3F4}" type="sibTrans" cxnId="{7AB1AA2A-A5ED-3740-BC25-62B3190D51DD}">
      <dgm:prSet/>
      <dgm:spPr/>
      <dgm:t>
        <a:bodyPr/>
        <a:lstStyle/>
        <a:p>
          <a:endParaRPr lang="en-US"/>
        </a:p>
      </dgm:t>
    </dgm:pt>
    <dgm:pt modelId="{5D02A979-17F6-9745-85FC-3B197A3B98F9}">
      <dgm:prSet phldrT="[Text]"/>
      <dgm:spPr/>
      <dgm:t>
        <a:bodyPr/>
        <a:lstStyle/>
        <a:p>
          <a:r>
            <a:rPr lang="en-US" dirty="0"/>
            <a:t>Afternoon</a:t>
          </a:r>
        </a:p>
      </dgm:t>
    </dgm:pt>
    <dgm:pt modelId="{B9326E71-C443-6443-B37C-806923794440}" type="parTrans" cxnId="{BF38F861-5232-A349-8232-9279FECFF7AA}">
      <dgm:prSet/>
      <dgm:spPr/>
      <dgm:t>
        <a:bodyPr/>
        <a:lstStyle/>
        <a:p>
          <a:endParaRPr lang="en-US"/>
        </a:p>
      </dgm:t>
    </dgm:pt>
    <dgm:pt modelId="{CDAD31F3-BE10-894F-891B-72C3836C3369}" type="sibTrans" cxnId="{BF38F861-5232-A349-8232-9279FECFF7AA}">
      <dgm:prSet/>
      <dgm:spPr/>
      <dgm:t>
        <a:bodyPr/>
        <a:lstStyle/>
        <a:p>
          <a:endParaRPr lang="en-US"/>
        </a:p>
      </dgm:t>
    </dgm:pt>
    <dgm:pt modelId="{6706DD0D-D575-2C4E-A435-A6A7AD6140DA}">
      <dgm:prSet phldrT="[Text]"/>
      <dgm:spPr/>
      <dgm:t>
        <a:bodyPr/>
        <a:lstStyle/>
        <a:p>
          <a:r>
            <a:rPr lang="en-US" dirty="0"/>
            <a:t>Evening</a:t>
          </a:r>
        </a:p>
      </dgm:t>
    </dgm:pt>
    <dgm:pt modelId="{75E04B32-A241-C94F-94E8-2D90B8A69106}" type="parTrans" cxnId="{2856D885-E312-9D47-97D7-56F5407FFA52}">
      <dgm:prSet/>
      <dgm:spPr/>
      <dgm:t>
        <a:bodyPr/>
        <a:lstStyle/>
        <a:p>
          <a:endParaRPr lang="en-US"/>
        </a:p>
      </dgm:t>
    </dgm:pt>
    <dgm:pt modelId="{78FB4B01-6730-654D-80A3-EBDDF49A7534}" type="sibTrans" cxnId="{2856D885-E312-9D47-97D7-56F5407FFA52}">
      <dgm:prSet/>
      <dgm:spPr/>
      <dgm:t>
        <a:bodyPr/>
        <a:lstStyle/>
        <a:p>
          <a:endParaRPr lang="en-US"/>
        </a:p>
      </dgm:t>
    </dgm:pt>
    <dgm:pt modelId="{DD782BFC-E0F8-8C4E-881B-96F103802268}">
      <dgm:prSet phldrT="[Text]"/>
      <dgm:spPr/>
      <dgm:t>
        <a:bodyPr/>
        <a:lstStyle/>
        <a:p>
          <a:r>
            <a:rPr lang="en-US" dirty="0"/>
            <a:t>Night</a:t>
          </a:r>
        </a:p>
      </dgm:t>
    </dgm:pt>
    <dgm:pt modelId="{2A1C6082-0809-2140-9EC0-4D978EF9E186}" type="parTrans" cxnId="{E479C24D-10E2-D040-829B-5849ECE44B0E}">
      <dgm:prSet/>
      <dgm:spPr/>
      <dgm:t>
        <a:bodyPr/>
        <a:lstStyle/>
        <a:p>
          <a:endParaRPr lang="en-US"/>
        </a:p>
      </dgm:t>
    </dgm:pt>
    <dgm:pt modelId="{E647F5CC-9B22-C14C-B216-4B659A78629A}" type="sibTrans" cxnId="{E479C24D-10E2-D040-829B-5849ECE44B0E}">
      <dgm:prSet/>
      <dgm:spPr/>
      <dgm:t>
        <a:bodyPr/>
        <a:lstStyle/>
        <a:p>
          <a:endParaRPr lang="en-US"/>
        </a:p>
      </dgm:t>
    </dgm:pt>
    <dgm:pt modelId="{2D152D9B-2862-2240-B03D-2110AD889E9A}" type="pres">
      <dgm:prSet presAssocID="{FBC589AC-F8B4-5B49-99CA-919C250CD75E}" presName="diagram" presStyleCnt="0">
        <dgm:presLayoutVars>
          <dgm:chMax val="1"/>
          <dgm:dir/>
          <dgm:animLvl val="ctr"/>
          <dgm:resizeHandles val="exact"/>
        </dgm:presLayoutVars>
      </dgm:prSet>
      <dgm:spPr/>
    </dgm:pt>
    <dgm:pt modelId="{467BF3F9-B85C-114A-8E8B-F2FAB4A97A0C}" type="pres">
      <dgm:prSet presAssocID="{FBC589AC-F8B4-5B49-99CA-919C250CD75E}" presName="matrix" presStyleCnt="0"/>
      <dgm:spPr/>
    </dgm:pt>
    <dgm:pt modelId="{07315794-AB59-1946-A2F4-5EB9B0666645}" type="pres">
      <dgm:prSet presAssocID="{FBC589AC-F8B4-5B49-99CA-919C250CD75E}" presName="tile1" presStyleLbl="node1" presStyleIdx="0" presStyleCnt="4"/>
      <dgm:spPr/>
    </dgm:pt>
    <dgm:pt modelId="{B0F9396D-59A3-A844-94CC-E7B604D025FC}" type="pres">
      <dgm:prSet presAssocID="{FBC589AC-F8B4-5B49-99CA-919C250CD75E}" presName="tile1text" presStyleLbl="node1" presStyleIdx="0" presStyleCnt="4">
        <dgm:presLayoutVars>
          <dgm:chMax val="0"/>
          <dgm:chPref val="0"/>
          <dgm:bulletEnabled val="1"/>
        </dgm:presLayoutVars>
      </dgm:prSet>
      <dgm:spPr/>
    </dgm:pt>
    <dgm:pt modelId="{58EA3D45-0A34-374C-99B4-8F1DA51267B5}" type="pres">
      <dgm:prSet presAssocID="{FBC589AC-F8B4-5B49-99CA-919C250CD75E}" presName="tile2" presStyleLbl="node1" presStyleIdx="1" presStyleCnt="4"/>
      <dgm:spPr/>
    </dgm:pt>
    <dgm:pt modelId="{F0F17DFA-F55E-6B44-9D7C-B04265432198}" type="pres">
      <dgm:prSet presAssocID="{FBC589AC-F8B4-5B49-99CA-919C250CD75E}" presName="tile2text" presStyleLbl="node1" presStyleIdx="1" presStyleCnt="4">
        <dgm:presLayoutVars>
          <dgm:chMax val="0"/>
          <dgm:chPref val="0"/>
          <dgm:bulletEnabled val="1"/>
        </dgm:presLayoutVars>
      </dgm:prSet>
      <dgm:spPr/>
    </dgm:pt>
    <dgm:pt modelId="{F0CF586C-492D-ED44-AE47-4E687AE1B7CE}" type="pres">
      <dgm:prSet presAssocID="{FBC589AC-F8B4-5B49-99CA-919C250CD75E}" presName="tile3" presStyleLbl="node1" presStyleIdx="2" presStyleCnt="4"/>
      <dgm:spPr/>
    </dgm:pt>
    <dgm:pt modelId="{69721D29-D14E-6940-BE4F-9F8E8125F70F}" type="pres">
      <dgm:prSet presAssocID="{FBC589AC-F8B4-5B49-99CA-919C250CD75E}" presName="tile3text" presStyleLbl="node1" presStyleIdx="2" presStyleCnt="4">
        <dgm:presLayoutVars>
          <dgm:chMax val="0"/>
          <dgm:chPref val="0"/>
          <dgm:bulletEnabled val="1"/>
        </dgm:presLayoutVars>
      </dgm:prSet>
      <dgm:spPr/>
    </dgm:pt>
    <dgm:pt modelId="{39919427-88E9-3741-81F5-AFF1F15CA4A5}" type="pres">
      <dgm:prSet presAssocID="{FBC589AC-F8B4-5B49-99CA-919C250CD75E}" presName="tile4" presStyleLbl="node1" presStyleIdx="3" presStyleCnt="4"/>
      <dgm:spPr/>
    </dgm:pt>
    <dgm:pt modelId="{582AD0AF-D82F-2F4A-9DB6-C7574A4E9DD8}" type="pres">
      <dgm:prSet presAssocID="{FBC589AC-F8B4-5B49-99CA-919C250CD75E}" presName="tile4text" presStyleLbl="node1" presStyleIdx="3" presStyleCnt="4">
        <dgm:presLayoutVars>
          <dgm:chMax val="0"/>
          <dgm:chPref val="0"/>
          <dgm:bulletEnabled val="1"/>
        </dgm:presLayoutVars>
      </dgm:prSet>
      <dgm:spPr/>
    </dgm:pt>
    <dgm:pt modelId="{BE668E9A-A822-3043-97E6-8DED18DE4DEA}" type="pres">
      <dgm:prSet presAssocID="{FBC589AC-F8B4-5B49-99CA-919C250CD75E}" presName="centerTile" presStyleLbl="fgShp" presStyleIdx="0" presStyleCnt="1">
        <dgm:presLayoutVars>
          <dgm:chMax val="0"/>
          <dgm:chPref val="0"/>
        </dgm:presLayoutVars>
      </dgm:prSet>
      <dgm:spPr/>
    </dgm:pt>
  </dgm:ptLst>
  <dgm:cxnLst>
    <dgm:cxn modelId="{10612C07-E763-3640-904D-31A08CA16100}" type="presOf" srcId="{6706DD0D-D575-2C4E-A435-A6A7AD6140DA}" destId="{69721D29-D14E-6940-BE4F-9F8E8125F70F}" srcOrd="1" destOrd="0" presId="urn:microsoft.com/office/officeart/2005/8/layout/matrix1"/>
    <dgm:cxn modelId="{53715308-413E-854F-8C31-CB5C021DFC9D}" type="presOf" srcId="{5D02A979-17F6-9745-85FC-3B197A3B98F9}" destId="{58EA3D45-0A34-374C-99B4-8F1DA51267B5}" srcOrd="0" destOrd="0" presId="urn:microsoft.com/office/officeart/2005/8/layout/matrix1"/>
    <dgm:cxn modelId="{A6BBDA0A-4DDE-C441-B84C-41244673D969}" srcId="{FBC589AC-F8B4-5B49-99CA-919C250CD75E}" destId="{CDB5E5EE-3948-9642-B9AE-9B5B9FE96E84}" srcOrd="0" destOrd="0" parTransId="{8852D7D0-512D-8E48-B97C-CF01F85C77D5}" sibTransId="{88BAEB87-5981-A84F-A2BC-D12ED7E5F4AE}"/>
    <dgm:cxn modelId="{7D12FB0A-F62B-E24C-8389-9969E54E6D57}" type="presOf" srcId="{FBC589AC-F8B4-5B49-99CA-919C250CD75E}" destId="{2D152D9B-2862-2240-B03D-2110AD889E9A}" srcOrd="0" destOrd="0" presId="urn:microsoft.com/office/officeart/2005/8/layout/matrix1"/>
    <dgm:cxn modelId="{D617331D-6FA9-1745-AFAD-6A5B33E61F9D}" type="presOf" srcId="{6706DD0D-D575-2C4E-A435-A6A7AD6140DA}" destId="{F0CF586C-492D-ED44-AE47-4E687AE1B7CE}" srcOrd="0" destOrd="0" presId="urn:microsoft.com/office/officeart/2005/8/layout/matrix1"/>
    <dgm:cxn modelId="{7AB1AA2A-A5ED-3740-BC25-62B3190D51DD}" srcId="{CDB5E5EE-3948-9642-B9AE-9B5B9FE96E84}" destId="{D8CE7D86-BAB6-7844-B918-31AC7816FD02}" srcOrd="0" destOrd="0" parTransId="{730E4612-D689-F541-86D7-98BD4439F406}" sibTransId="{52323AAD-7336-3149-AC78-3F2FEA36B3F4}"/>
    <dgm:cxn modelId="{3FB31C33-0C50-5043-819C-D1459E2EC3AC}" type="presOf" srcId="{5D02A979-17F6-9745-85FC-3B197A3B98F9}" destId="{F0F17DFA-F55E-6B44-9D7C-B04265432198}" srcOrd="1" destOrd="0" presId="urn:microsoft.com/office/officeart/2005/8/layout/matrix1"/>
    <dgm:cxn modelId="{E479C24D-10E2-D040-829B-5849ECE44B0E}" srcId="{CDB5E5EE-3948-9642-B9AE-9B5B9FE96E84}" destId="{DD782BFC-E0F8-8C4E-881B-96F103802268}" srcOrd="3" destOrd="0" parTransId="{2A1C6082-0809-2140-9EC0-4D978EF9E186}" sibTransId="{E647F5CC-9B22-C14C-B216-4B659A78629A}"/>
    <dgm:cxn modelId="{B33AA552-E775-284E-94E4-5748A3475AD5}" type="presOf" srcId="{DD782BFC-E0F8-8C4E-881B-96F103802268}" destId="{39919427-88E9-3741-81F5-AFF1F15CA4A5}" srcOrd="0" destOrd="0" presId="urn:microsoft.com/office/officeart/2005/8/layout/matrix1"/>
    <dgm:cxn modelId="{0CB8F154-8445-314D-BBAA-5B36DA49AEE2}" type="presOf" srcId="{CDB5E5EE-3948-9642-B9AE-9B5B9FE96E84}" destId="{BE668E9A-A822-3043-97E6-8DED18DE4DEA}" srcOrd="0" destOrd="0" presId="urn:microsoft.com/office/officeart/2005/8/layout/matrix1"/>
    <dgm:cxn modelId="{4B2AF657-41FE-3441-A470-C94B5A3E2C22}" type="presOf" srcId="{DD782BFC-E0F8-8C4E-881B-96F103802268}" destId="{582AD0AF-D82F-2F4A-9DB6-C7574A4E9DD8}" srcOrd="1" destOrd="0" presId="urn:microsoft.com/office/officeart/2005/8/layout/matrix1"/>
    <dgm:cxn modelId="{BF38F861-5232-A349-8232-9279FECFF7AA}" srcId="{CDB5E5EE-3948-9642-B9AE-9B5B9FE96E84}" destId="{5D02A979-17F6-9745-85FC-3B197A3B98F9}" srcOrd="1" destOrd="0" parTransId="{B9326E71-C443-6443-B37C-806923794440}" sibTransId="{CDAD31F3-BE10-894F-891B-72C3836C3369}"/>
    <dgm:cxn modelId="{7559417E-A3EB-6445-A3B1-A4F13D4F6E96}" type="presOf" srcId="{D8CE7D86-BAB6-7844-B918-31AC7816FD02}" destId="{B0F9396D-59A3-A844-94CC-E7B604D025FC}" srcOrd="1" destOrd="0" presId="urn:microsoft.com/office/officeart/2005/8/layout/matrix1"/>
    <dgm:cxn modelId="{2856D885-E312-9D47-97D7-56F5407FFA52}" srcId="{CDB5E5EE-3948-9642-B9AE-9B5B9FE96E84}" destId="{6706DD0D-D575-2C4E-A435-A6A7AD6140DA}" srcOrd="2" destOrd="0" parTransId="{75E04B32-A241-C94F-94E8-2D90B8A69106}" sibTransId="{78FB4B01-6730-654D-80A3-EBDDF49A7534}"/>
    <dgm:cxn modelId="{355EB5E2-401F-8840-9B54-C614F2518900}" type="presOf" srcId="{D8CE7D86-BAB6-7844-B918-31AC7816FD02}" destId="{07315794-AB59-1946-A2F4-5EB9B0666645}" srcOrd="0" destOrd="0" presId="urn:microsoft.com/office/officeart/2005/8/layout/matrix1"/>
    <dgm:cxn modelId="{DE541DE1-A36B-2041-8344-879DE241BFC7}" type="presParOf" srcId="{2D152D9B-2862-2240-B03D-2110AD889E9A}" destId="{467BF3F9-B85C-114A-8E8B-F2FAB4A97A0C}" srcOrd="0" destOrd="0" presId="urn:microsoft.com/office/officeart/2005/8/layout/matrix1"/>
    <dgm:cxn modelId="{0DC4DF66-0DB6-E046-80BF-D82BB48B2C22}" type="presParOf" srcId="{467BF3F9-B85C-114A-8E8B-F2FAB4A97A0C}" destId="{07315794-AB59-1946-A2F4-5EB9B0666645}" srcOrd="0" destOrd="0" presId="urn:microsoft.com/office/officeart/2005/8/layout/matrix1"/>
    <dgm:cxn modelId="{1B989E64-5C1F-E64F-B432-258EE8C06541}" type="presParOf" srcId="{467BF3F9-B85C-114A-8E8B-F2FAB4A97A0C}" destId="{B0F9396D-59A3-A844-94CC-E7B604D025FC}" srcOrd="1" destOrd="0" presId="urn:microsoft.com/office/officeart/2005/8/layout/matrix1"/>
    <dgm:cxn modelId="{9F765FE4-BDD3-4E45-8A6E-87E1636C82C1}" type="presParOf" srcId="{467BF3F9-B85C-114A-8E8B-F2FAB4A97A0C}" destId="{58EA3D45-0A34-374C-99B4-8F1DA51267B5}" srcOrd="2" destOrd="0" presId="urn:microsoft.com/office/officeart/2005/8/layout/matrix1"/>
    <dgm:cxn modelId="{03C3DFD9-784D-FC47-9F05-084251DC8B66}" type="presParOf" srcId="{467BF3F9-B85C-114A-8E8B-F2FAB4A97A0C}" destId="{F0F17DFA-F55E-6B44-9D7C-B04265432198}" srcOrd="3" destOrd="0" presId="urn:microsoft.com/office/officeart/2005/8/layout/matrix1"/>
    <dgm:cxn modelId="{92BA466E-337D-0D4E-A0D1-8A32CAA5F330}" type="presParOf" srcId="{467BF3F9-B85C-114A-8E8B-F2FAB4A97A0C}" destId="{F0CF586C-492D-ED44-AE47-4E687AE1B7CE}" srcOrd="4" destOrd="0" presId="urn:microsoft.com/office/officeart/2005/8/layout/matrix1"/>
    <dgm:cxn modelId="{F85A434C-0EA8-0E44-9CAD-9359DA820BD9}" type="presParOf" srcId="{467BF3F9-B85C-114A-8E8B-F2FAB4A97A0C}" destId="{69721D29-D14E-6940-BE4F-9F8E8125F70F}" srcOrd="5" destOrd="0" presId="urn:microsoft.com/office/officeart/2005/8/layout/matrix1"/>
    <dgm:cxn modelId="{0B7A7165-C0DA-AA44-B077-89581BC2CC88}" type="presParOf" srcId="{467BF3F9-B85C-114A-8E8B-F2FAB4A97A0C}" destId="{39919427-88E9-3741-81F5-AFF1F15CA4A5}" srcOrd="6" destOrd="0" presId="urn:microsoft.com/office/officeart/2005/8/layout/matrix1"/>
    <dgm:cxn modelId="{B885F570-4326-4C47-B11D-1CED6067FFAA}" type="presParOf" srcId="{467BF3F9-B85C-114A-8E8B-F2FAB4A97A0C}" destId="{582AD0AF-D82F-2F4A-9DB6-C7574A4E9DD8}" srcOrd="7" destOrd="0" presId="urn:microsoft.com/office/officeart/2005/8/layout/matrix1"/>
    <dgm:cxn modelId="{24114B90-1E7D-FA4B-AA77-33FBE6E0E967}" type="presParOf" srcId="{2D152D9B-2862-2240-B03D-2110AD889E9A}" destId="{BE668E9A-A822-3043-97E6-8DED18DE4DEA}"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315794-AB59-1946-A2F4-5EB9B0666645}">
      <dsp:nvSpPr>
        <dsp:cNvPr id="0" name=""/>
        <dsp:cNvSpPr/>
      </dsp:nvSpPr>
      <dsp:spPr>
        <a:xfrm rot="16200000">
          <a:off x="295693" y="-295693"/>
          <a:ext cx="1686934" cy="2278320"/>
        </a:xfrm>
        <a:prstGeom prst="round1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t>Morning</a:t>
          </a:r>
        </a:p>
      </dsp:txBody>
      <dsp:txXfrm rot="5400000">
        <a:off x="-1" y="1"/>
        <a:ext cx="2278320" cy="1265200"/>
      </dsp:txXfrm>
    </dsp:sp>
    <dsp:sp modelId="{58EA3D45-0A34-374C-99B4-8F1DA51267B5}">
      <dsp:nvSpPr>
        <dsp:cNvPr id="0" name=""/>
        <dsp:cNvSpPr/>
      </dsp:nvSpPr>
      <dsp:spPr>
        <a:xfrm>
          <a:off x="2278320" y="0"/>
          <a:ext cx="2278320" cy="1686934"/>
        </a:xfrm>
        <a:prstGeom prst="round1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t>Afternoon</a:t>
          </a:r>
        </a:p>
      </dsp:txBody>
      <dsp:txXfrm>
        <a:off x="2278320" y="0"/>
        <a:ext cx="2278320" cy="1265200"/>
      </dsp:txXfrm>
    </dsp:sp>
    <dsp:sp modelId="{F0CF586C-492D-ED44-AE47-4E687AE1B7CE}">
      <dsp:nvSpPr>
        <dsp:cNvPr id="0" name=""/>
        <dsp:cNvSpPr/>
      </dsp:nvSpPr>
      <dsp:spPr>
        <a:xfrm rot="10800000">
          <a:off x="0" y="1686934"/>
          <a:ext cx="2278320" cy="1686934"/>
        </a:xfrm>
        <a:prstGeom prst="round1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t>Evening</a:t>
          </a:r>
        </a:p>
      </dsp:txBody>
      <dsp:txXfrm rot="10800000">
        <a:off x="0" y="2108667"/>
        <a:ext cx="2278320" cy="1265200"/>
      </dsp:txXfrm>
    </dsp:sp>
    <dsp:sp modelId="{39919427-88E9-3741-81F5-AFF1F15CA4A5}">
      <dsp:nvSpPr>
        <dsp:cNvPr id="0" name=""/>
        <dsp:cNvSpPr/>
      </dsp:nvSpPr>
      <dsp:spPr>
        <a:xfrm rot="5400000">
          <a:off x="2574013" y="1391240"/>
          <a:ext cx="1686934" cy="2278320"/>
        </a:xfrm>
        <a:prstGeom prst="round1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t>Night</a:t>
          </a:r>
        </a:p>
      </dsp:txBody>
      <dsp:txXfrm rot="-5400000">
        <a:off x="2278320" y="2108667"/>
        <a:ext cx="2278320" cy="1265200"/>
      </dsp:txXfrm>
    </dsp:sp>
    <dsp:sp modelId="{BE668E9A-A822-3043-97E6-8DED18DE4DEA}">
      <dsp:nvSpPr>
        <dsp:cNvPr id="0" name=""/>
        <dsp:cNvSpPr/>
      </dsp:nvSpPr>
      <dsp:spPr>
        <a:xfrm>
          <a:off x="1594824" y="1265200"/>
          <a:ext cx="1366992" cy="843467"/>
        </a:xfrm>
        <a:prstGeom prst="roundRect">
          <a:avLst/>
        </a:prstGeom>
        <a:solidFill>
          <a:schemeClr val="dk2">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Shifts</a:t>
          </a:r>
        </a:p>
      </dsp:txBody>
      <dsp:txXfrm>
        <a:off x="1635999" y="1306375"/>
        <a:ext cx="1284642" cy="761117"/>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E087BDC-0568-47E6-983D-40B15FAC113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a:extLst>
              <a:ext uri="{FF2B5EF4-FFF2-40B4-BE49-F238E27FC236}">
                <a16:creationId xmlns:a16="http://schemas.microsoft.com/office/drawing/2014/main" id="{49340FF6-35E2-4D14-98EE-413BD6DED65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1EBE3AF-AA5E-424B-836D-ED750FFFCCEF}" type="datetimeFigureOut">
              <a:rPr lang="en-CA" smtClean="0"/>
              <a:t>2022-08-25</a:t>
            </a:fld>
            <a:endParaRPr lang="en-CA"/>
          </a:p>
        </p:txBody>
      </p:sp>
      <p:sp>
        <p:nvSpPr>
          <p:cNvPr id="4" name="Footer Placeholder 3">
            <a:extLst>
              <a:ext uri="{FF2B5EF4-FFF2-40B4-BE49-F238E27FC236}">
                <a16:creationId xmlns:a16="http://schemas.microsoft.com/office/drawing/2014/main" id="{1F955AC0-7F82-4600-8558-894C694C385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C89CDA47-6102-4032-90D2-A8DD44343EA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522CA21-9A26-4DCC-A973-A4FE3128362E}" type="slidenum">
              <a:rPr lang="en-CA" smtClean="0"/>
              <a:t>‹#›</a:t>
            </a:fld>
            <a:endParaRPr lang="en-CA"/>
          </a:p>
        </p:txBody>
      </p:sp>
    </p:spTree>
    <p:extLst>
      <p:ext uri="{BB962C8B-B14F-4D97-AF65-F5344CB8AC3E}">
        <p14:creationId xmlns:p14="http://schemas.microsoft.com/office/powerpoint/2010/main" val="191709222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1F64A5-6369-4CBA-82C8-6C98826C6576}" type="datetimeFigureOut">
              <a:rPr lang="en-US" smtClean="0"/>
              <a:t>8/25/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3711C4-5078-4CEE-B8E9-3BD6F99B7999}" type="slidenum">
              <a:rPr lang="en-US" smtClean="0"/>
              <a:t>‹#›</a:t>
            </a:fld>
            <a:endParaRPr lang="en-US"/>
          </a:p>
        </p:txBody>
      </p:sp>
    </p:spTree>
    <p:extLst>
      <p:ext uri="{BB962C8B-B14F-4D97-AF65-F5344CB8AC3E}">
        <p14:creationId xmlns:p14="http://schemas.microsoft.com/office/powerpoint/2010/main" val="306190520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D3711C4-5078-4CEE-B8E9-3BD6F99B7999}" type="slidenum">
              <a:rPr lang="en-US" smtClean="0"/>
              <a:t>1</a:t>
            </a:fld>
            <a:endParaRPr lang="en-US"/>
          </a:p>
        </p:txBody>
      </p:sp>
      <p:sp>
        <p:nvSpPr>
          <p:cNvPr id="5" name="Footer Placeholder 4">
            <a:extLst>
              <a:ext uri="{FF2B5EF4-FFF2-40B4-BE49-F238E27FC236}">
                <a16:creationId xmlns:a16="http://schemas.microsoft.com/office/drawing/2014/main" id="{04158D9A-BDEA-43BC-8147-EB55D88EFF3F}"/>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53327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432E72-3E77-F542-9090-CD1EF4CFE4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64966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432E72-3E77-F542-9090-CD1EF4CFE4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5359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432E72-3E77-F542-9090-CD1EF4CFE4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87797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432E72-3E77-F542-9090-CD1EF4CFE4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4442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8830">
              <a:defRPr/>
            </a:pPr>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432E72-3E77-F542-9090-CD1EF4CFE4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82504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432E72-3E77-F542-9090-CD1EF4CFE4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28819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824B83-97B9-9547-A1CE-26ED41E2418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658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824B83-97B9-9547-A1CE-26ED41E2418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944B4EF-4CF0-419A-A22A-F0562B820E41}"/>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726068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4D3711C4-5078-4CEE-B8E9-3BD6F99B7999}" type="slidenum">
              <a:rPr lang="en-US" smtClean="0"/>
              <a:t>26</a:t>
            </a:fld>
            <a:endParaRPr lang="en-US"/>
          </a:p>
        </p:txBody>
      </p:sp>
    </p:spTree>
    <p:extLst>
      <p:ext uri="{BB962C8B-B14F-4D97-AF65-F5344CB8AC3E}">
        <p14:creationId xmlns:p14="http://schemas.microsoft.com/office/powerpoint/2010/main" val="350593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CC0C64-6849-4462-8403-39F728F3D37D}"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7627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432E72-3E77-F542-9090-CD1EF4CFE4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7349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432E72-3E77-F542-9090-CD1EF4CFE4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7849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432E72-3E77-F542-9090-CD1EF4CFE4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65929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mn-lt"/>
                <a:ea typeface="+mn-ea"/>
                <a:cs typeface="+mn-cs"/>
              </a:rPr>
              <a:t>By comparison last year alone we flew over 50 Million customers in a single year</a:t>
            </a:r>
            <a:endParaRPr lang="en-CA"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432E72-3E77-F542-9090-CD1EF4CFE4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4914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432E72-3E77-F542-9090-CD1EF4CFE4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93750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8.png"/><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9.xml"/><Relationship Id="rId7" Type="http://schemas.openxmlformats.org/officeDocument/2006/relationships/image" Target="../media/image12.png"/><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oleObject" Target="../embeddings/oleObject10.bin"/><Relationship Id="rId4" Type="http://schemas.openxmlformats.org/officeDocument/2006/relationships/slideMaster" Target="../slideMasters/slideMaster3.xml"/><Relationship Id="rId9" Type="http://schemas.openxmlformats.org/officeDocument/2006/relationships/image" Target="../media/image14.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8.png"/><Relationship Id="rId2" Type="http://schemas.openxmlformats.org/officeDocument/2006/relationships/tags" Target="../tags/tag47.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3.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14.vml"/><Relationship Id="rId6" Type="http://schemas.openxmlformats.org/officeDocument/2006/relationships/image" Target="../media/image10.emf"/><Relationship Id="rId5" Type="http://schemas.openxmlformats.org/officeDocument/2006/relationships/oleObject" Target="../embeddings/oleObject14.bin"/><Relationship Id="rId4"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Slide-black">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0" y="6318000"/>
            <a:ext cx="12192000" cy="540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hasCustomPrompt="1"/>
          </p:nvPr>
        </p:nvSpPr>
        <p:spPr>
          <a:xfrm>
            <a:off x="864000" y="2925220"/>
            <a:ext cx="10464000" cy="1023931"/>
          </a:xfrm>
        </p:spPr>
        <p:txBody>
          <a:bodyPr anchor="t">
            <a:noAutofit/>
          </a:bodyPr>
          <a:lstStyle>
            <a:lvl1pPr algn="l">
              <a:defRPr sz="2800">
                <a:solidFill>
                  <a:schemeClr val="bg1"/>
                </a:solidFill>
              </a:defRPr>
            </a:lvl1pPr>
          </a:lstStyle>
          <a:p>
            <a:r>
              <a:rPr lang="en-US"/>
              <a:t>Title / </a:t>
            </a:r>
            <a:r>
              <a:rPr lang="en-US" err="1"/>
              <a:t>Titre</a:t>
            </a:r>
            <a:endParaRPr lang="en-US"/>
          </a:p>
        </p:txBody>
      </p:sp>
      <p:sp>
        <p:nvSpPr>
          <p:cNvPr id="3" name="Subtitle 2"/>
          <p:cNvSpPr>
            <a:spLocks noGrp="1"/>
          </p:cNvSpPr>
          <p:nvPr>
            <p:ph type="subTitle" idx="1" hasCustomPrompt="1"/>
          </p:nvPr>
        </p:nvSpPr>
        <p:spPr>
          <a:xfrm>
            <a:off x="864000" y="4068003"/>
            <a:ext cx="10464000" cy="578069"/>
          </a:xfrm>
        </p:spPr>
        <p:txBody>
          <a:bodyPr>
            <a:noAutofit/>
          </a:bodyPr>
          <a:lstStyle>
            <a:lvl1pPr marL="0" indent="0" algn="l">
              <a:lnSpc>
                <a:spcPts val="1600"/>
              </a:lnSpc>
              <a:spcBef>
                <a:spcPts val="0"/>
              </a:spcBef>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 / Nom du </a:t>
            </a:r>
            <a:r>
              <a:rPr lang="en-US" err="1"/>
              <a:t>présentateur</a:t>
            </a:r>
            <a:br>
              <a:rPr lang="en-US"/>
            </a:br>
            <a:r>
              <a:rPr lang="en-US"/>
              <a:t>Department / </a:t>
            </a:r>
            <a:r>
              <a:rPr lang="en-US" err="1"/>
              <a:t>Département</a:t>
            </a:r>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0046" y="6513238"/>
            <a:ext cx="1947956" cy="174559"/>
          </a:xfrm>
          <a:prstGeom prst="rect">
            <a:avLst/>
          </a:prstGeom>
        </p:spPr>
      </p:pic>
      <p:sp>
        <p:nvSpPr>
          <p:cNvPr id="5" name="Text Placeholder 4"/>
          <p:cNvSpPr>
            <a:spLocks noGrp="1"/>
          </p:cNvSpPr>
          <p:nvPr>
            <p:ph type="body" sz="quarter" idx="10" hasCustomPrompt="1"/>
          </p:nvPr>
        </p:nvSpPr>
        <p:spPr>
          <a:xfrm>
            <a:off x="863600" y="4742319"/>
            <a:ext cx="10464800" cy="666750"/>
          </a:xfrm>
        </p:spPr>
        <p:txBody>
          <a:bodyPr/>
          <a:lstStyle>
            <a:lvl1pPr>
              <a:lnSpc>
                <a:spcPts val="1600"/>
              </a:lnSpc>
              <a:defRPr sz="1200" b="1">
                <a:solidFill>
                  <a:schemeClr val="bg1"/>
                </a:solidFill>
              </a:defRPr>
            </a:lvl1pPr>
          </a:lstStyle>
          <a:p>
            <a:pPr lvl="0"/>
            <a:r>
              <a:rPr lang="en-US"/>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74072" y="583030"/>
            <a:ext cx="1657158" cy="1626365"/>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871520" y="6453296"/>
            <a:ext cx="2221596" cy="294437"/>
          </a:xfrm>
          <a:prstGeom prst="rect">
            <a:avLst/>
          </a:prstGeom>
        </p:spPr>
      </p:pic>
    </p:spTree>
    <p:extLst>
      <p:ext uri="{BB962C8B-B14F-4D97-AF65-F5344CB8AC3E}">
        <p14:creationId xmlns:p14="http://schemas.microsoft.com/office/powerpoint/2010/main" val="30354377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OrTable">
    <p:spTree>
      <p:nvGrpSpPr>
        <p:cNvPr id="1" name=""/>
        <p:cNvGrpSpPr/>
        <p:nvPr/>
      </p:nvGrpSpPr>
      <p:grpSpPr>
        <a:xfrm>
          <a:off x="0" y="0"/>
          <a:ext cx="0" cy="0"/>
          <a:chOff x="0" y="0"/>
          <a:chExt cx="0" cy="0"/>
        </a:xfrm>
      </p:grpSpPr>
      <p:sp>
        <p:nvSpPr>
          <p:cNvPr id="9" name="Rectangle 8"/>
          <p:cNvSpPr/>
          <p:nvPr userDrawn="1"/>
        </p:nvSpPr>
        <p:spPr>
          <a:xfrm>
            <a:off x="0"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a:xfrm>
            <a:off x="864000" y="576001"/>
            <a:ext cx="10464000" cy="719400"/>
          </a:xfrm>
        </p:spPr>
        <p:txBody>
          <a:bodyPr/>
          <a:lstStyle>
            <a:lvl1pPr>
              <a:defRPr/>
            </a:lvl1pPr>
          </a:lstStyle>
          <a:p>
            <a:r>
              <a:rPr lang="en-US"/>
              <a:t>Title / </a:t>
            </a:r>
            <a:r>
              <a:rPr lang="en-US" err="1"/>
              <a:t>Titre</a:t>
            </a:r>
            <a:br>
              <a:rPr lang="en-US"/>
            </a:br>
            <a:br>
              <a:rPr lang="en-US"/>
            </a:br>
            <a:endParaRPr lang="en-US"/>
          </a:p>
        </p:txBody>
      </p:sp>
      <p:sp>
        <p:nvSpPr>
          <p:cNvPr id="7" name="Text Placeholder 6"/>
          <p:cNvSpPr>
            <a:spLocks noGrp="1"/>
          </p:cNvSpPr>
          <p:nvPr>
            <p:ph type="body" sz="quarter" idx="13" hasCustomPrompt="1"/>
          </p:nvPr>
        </p:nvSpPr>
        <p:spPr>
          <a:xfrm>
            <a:off x="864000" y="1524000"/>
            <a:ext cx="10464400" cy="528319"/>
          </a:xfrm>
        </p:spPr>
        <p:txBody>
          <a:bodyPr/>
          <a:lstStyle>
            <a:lvl1pPr>
              <a:lnSpc>
                <a:spcPts val="2400"/>
              </a:lnSpc>
              <a:defRPr sz="1700" spc="40" baseline="0"/>
            </a:lvl1pPr>
            <a:lvl2pPr marL="0" indent="216000">
              <a:lnSpc>
                <a:spcPts val="2400"/>
              </a:lnSpc>
              <a:buFont typeface="CambriaMath" charset="0"/>
              <a:buChar char="–"/>
              <a:defRPr lang="en-US" sz="1700" kern="1200" spc="40" baseline="0" dirty="0" smtClean="0">
                <a:solidFill>
                  <a:schemeClr val="tx1"/>
                </a:solidFill>
                <a:latin typeface="+mn-lt"/>
                <a:ea typeface="+mn-ea"/>
                <a:cs typeface="+mn-cs"/>
              </a:defRPr>
            </a:lvl2pPr>
            <a:lvl3pPr marL="450000" indent="-180000">
              <a:lnSpc>
                <a:spcPts val="2400"/>
              </a:lnSpc>
              <a:defRPr sz="1700" spc="40" baseline="0"/>
            </a:lvl3pPr>
            <a:lvl4pPr>
              <a:lnSpc>
                <a:spcPts val="2400"/>
              </a:lnSpc>
              <a:defRPr sz="1700" spc="40" baseline="0"/>
            </a:lvl4pPr>
            <a:lvl5pPr>
              <a:lnSpc>
                <a:spcPts val="2400"/>
              </a:lnSpc>
              <a:defRPr sz="1700" spc="40" baseline="0"/>
            </a:lvl5pPr>
          </a:lstStyle>
          <a:p>
            <a:pPr lvl="0"/>
            <a:r>
              <a:rPr lang="en-US"/>
              <a:t>Master text styles / Styles du </a:t>
            </a:r>
            <a:r>
              <a:rPr lang="en-US" err="1"/>
              <a:t>texte</a:t>
            </a:r>
            <a:endParaRPr lang="en-US"/>
          </a:p>
          <a:p>
            <a:pPr marL="0" lvl="1" indent="283464" algn="l" defTabSz="914400" rtl="0" eaLnBrk="1" latinLnBrk="0" hangingPunct="1">
              <a:lnSpc>
                <a:spcPts val="2400"/>
              </a:lnSpc>
              <a:spcBef>
                <a:spcPts val="0"/>
              </a:spcBef>
              <a:buSzPct val="100000"/>
              <a:buFont typeface="Arial" panose="020B0604020202020204" pitchFamily="34" charset="0"/>
              <a:buChar char="•"/>
              <a:tabLst/>
            </a:pPr>
            <a:r>
              <a:rPr lang="en-US"/>
              <a:t>2nd level / 2e </a:t>
            </a:r>
            <a:r>
              <a:rPr lang="en-US" err="1"/>
              <a:t>niveau</a:t>
            </a:r>
            <a:endParaRPr lang="en-US"/>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11" name="Content Placeholder 2"/>
          <p:cNvSpPr>
            <a:spLocks noGrp="1"/>
          </p:cNvSpPr>
          <p:nvPr>
            <p:ph idx="1" hasCustomPrompt="1"/>
          </p:nvPr>
        </p:nvSpPr>
        <p:spPr>
          <a:xfrm>
            <a:off x="864000" y="2148988"/>
            <a:ext cx="10464000" cy="3955382"/>
          </a:xfrm>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854075" indent="-285750">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1055177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8" name="Rectangle 7"/>
          <p:cNvSpPr/>
          <p:nvPr userDrawn="1"/>
        </p:nvSpPr>
        <p:spPr>
          <a:xfrm>
            <a:off x="0"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a:xfrm>
            <a:off x="864000" y="962080"/>
            <a:ext cx="10464000" cy="714320"/>
          </a:xfrm>
        </p:spPr>
        <p:txBody>
          <a:bodyPr/>
          <a:lstStyle>
            <a:lvl1pPr>
              <a:defRPr/>
            </a:lvl1pPr>
          </a:lstStyle>
          <a:p>
            <a:r>
              <a:rPr lang="en-US"/>
              <a:t>Click to edit Master title style</a:t>
            </a:r>
            <a:br>
              <a:rPr lang="en-US"/>
            </a:br>
            <a:endParaRPr lang="en-CA"/>
          </a:p>
        </p:txBody>
      </p:sp>
      <p:sp>
        <p:nvSpPr>
          <p:cNvPr id="7" name="Slide Number Placeholder 5"/>
          <p:cNvSpPr>
            <a:spLocks noGrp="1"/>
          </p:cNvSpPr>
          <p:nvPr>
            <p:ph type="sldNum" sz="quarter" idx="12"/>
          </p:nvPr>
        </p:nvSpPr>
        <p:spPr>
          <a:xfrm>
            <a:off x="8610600" y="6408003"/>
            <a:ext cx="2743200" cy="365125"/>
          </a:xfrm>
        </p:spPr>
        <p:txBody>
          <a:bodyPr/>
          <a:lstStyle/>
          <a:p>
            <a:fld id="{D7012407-5950-B949-8BF3-E7EA9ADCB58D}" type="slidenum">
              <a:rPr lang="en-GB" smtClean="0"/>
              <a:t>‹#›</a:t>
            </a:fld>
            <a:endParaRPr lang="en-GB"/>
          </a:p>
        </p:txBody>
      </p:sp>
      <p:sp>
        <p:nvSpPr>
          <p:cNvPr id="10" name="Text Placeholder 6"/>
          <p:cNvSpPr>
            <a:spLocks noGrp="1"/>
          </p:cNvSpPr>
          <p:nvPr>
            <p:ph type="body" sz="quarter" idx="13" hasCustomPrompt="1"/>
          </p:nvPr>
        </p:nvSpPr>
        <p:spPr>
          <a:xfrm>
            <a:off x="864000" y="574358"/>
            <a:ext cx="10464400" cy="387722"/>
          </a:xfrm>
        </p:spPr>
        <p:txBody>
          <a:bodyPr/>
          <a:lstStyle>
            <a:lvl1pPr>
              <a:lnSpc>
                <a:spcPts val="2400"/>
              </a:lnSpc>
              <a:defRPr sz="1700" spc="40" baseline="0"/>
            </a:lvl1pPr>
            <a:lvl2pPr marL="0" indent="216000">
              <a:lnSpc>
                <a:spcPts val="2400"/>
              </a:lnSpc>
              <a:buFont typeface="CambriaMath" charset="0"/>
              <a:buChar char="–"/>
              <a:defRPr lang="en-US" sz="1700" kern="1200" spc="40" baseline="0" dirty="0" smtClean="0">
                <a:solidFill>
                  <a:schemeClr val="tx1"/>
                </a:solidFill>
                <a:latin typeface="+mn-lt"/>
                <a:ea typeface="+mn-ea"/>
                <a:cs typeface="+mn-cs"/>
              </a:defRPr>
            </a:lvl2pPr>
            <a:lvl3pPr marL="450000" indent="-180000">
              <a:lnSpc>
                <a:spcPts val="2400"/>
              </a:lnSpc>
              <a:defRPr sz="1700" spc="40" baseline="0"/>
            </a:lvl3pPr>
            <a:lvl4pPr>
              <a:lnSpc>
                <a:spcPts val="2400"/>
              </a:lnSpc>
              <a:defRPr sz="1700" spc="40" baseline="0"/>
            </a:lvl4pPr>
            <a:lvl5pPr>
              <a:lnSpc>
                <a:spcPts val="2400"/>
              </a:lnSpc>
              <a:defRPr sz="1700" spc="40" baseline="0"/>
            </a:lvl5pPr>
          </a:lstStyle>
          <a:p>
            <a:pPr lvl="0"/>
            <a:r>
              <a:rPr lang="en-US"/>
              <a:t>Master text styles</a:t>
            </a:r>
          </a:p>
        </p:txBody>
      </p:sp>
      <p:sp>
        <p:nvSpPr>
          <p:cNvPr id="12" name="Content Placeholder 2"/>
          <p:cNvSpPr>
            <a:spLocks noGrp="1"/>
          </p:cNvSpPr>
          <p:nvPr>
            <p:ph idx="1" hasCustomPrompt="1"/>
          </p:nvPr>
        </p:nvSpPr>
        <p:spPr>
          <a:xfrm>
            <a:off x="864000" y="1889760"/>
            <a:ext cx="10464000" cy="4214610"/>
          </a:xfrm>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854075" indent="-285750">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10443894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Quote-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4000" y="1320803"/>
            <a:ext cx="10464000" cy="2712117"/>
          </a:xfrm>
        </p:spPr>
        <p:txBody>
          <a:bodyPr anchor="b">
            <a:noAutofit/>
          </a:bodyPr>
          <a:lstStyle>
            <a:lvl1pPr algn="ctr">
              <a:defRPr sz="2400">
                <a:solidFill>
                  <a:schemeClr val="bg1"/>
                </a:solidFill>
              </a:defRPr>
            </a:lvl1pPr>
          </a:lstStyle>
          <a:p>
            <a:r>
              <a:rPr lang="en-US"/>
              <a:t>Quote / Citation</a:t>
            </a:r>
          </a:p>
        </p:txBody>
      </p:sp>
      <p:sp>
        <p:nvSpPr>
          <p:cNvPr id="3" name="Subtitle 2"/>
          <p:cNvSpPr>
            <a:spLocks noGrp="1"/>
          </p:cNvSpPr>
          <p:nvPr>
            <p:ph type="subTitle" idx="1" hasCustomPrompt="1"/>
          </p:nvPr>
        </p:nvSpPr>
        <p:spPr>
          <a:xfrm>
            <a:off x="864000" y="4891437"/>
            <a:ext cx="10464000" cy="782320"/>
          </a:xfrm>
        </p:spPr>
        <p:txBody>
          <a:bodyPr>
            <a:noAutofit/>
          </a:bodyPr>
          <a:lstStyle>
            <a:lvl1pPr marL="0" indent="0" algn="ctr">
              <a:lnSpc>
                <a:spcPct val="100000"/>
              </a:lnSpc>
              <a:spcBef>
                <a:spcPts val="0"/>
              </a:spcBef>
              <a:buNone/>
              <a:defRPr sz="1700" b="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 Nom </a:t>
            </a:r>
            <a:br>
              <a:rPr lang="en-US"/>
            </a:br>
            <a:r>
              <a:rPr lang="en-US"/>
              <a:t>Role / </a:t>
            </a:r>
            <a:r>
              <a:rPr lang="en-US" err="1"/>
              <a:t>Rôle</a:t>
            </a:r>
            <a:r>
              <a:rPr lang="en-US"/>
              <a:t>, Company / </a:t>
            </a:r>
            <a:r>
              <a:rPr lang="en-US" err="1"/>
              <a:t>Compagnie</a:t>
            </a:r>
            <a:endParaRPr lang="en-US"/>
          </a:p>
        </p:txBody>
      </p:sp>
      <p:sp>
        <p:nvSpPr>
          <p:cNvPr id="13" name="Slide Number Placeholder 12"/>
          <p:cNvSpPr>
            <a:spLocks noGrp="1"/>
          </p:cNvSpPr>
          <p:nvPr>
            <p:ph type="sldNum" sz="quarter" idx="12"/>
          </p:nvPr>
        </p:nvSpPr>
        <p:spPr/>
        <p:txBody>
          <a:bodyPr/>
          <a:lstStyle>
            <a:lvl1pPr>
              <a:defRPr>
                <a:solidFill>
                  <a:schemeClr val="bg1"/>
                </a:solidFill>
              </a:defRPr>
            </a:lvl1pPr>
          </a:lstStyle>
          <a:p>
            <a:fld id="{D7012407-5950-B949-8BF3-E7EA9ADCB58D}" type="slidenum">
              <a:rPr lang="en-GB" smtClean="0"/>
              <a:pPr/>
              <a:t>‹#›</a:t>
            </a:fld>
            <a:endParaRPr lang="en-GB"/>
          </a:p>
        </p:txBody>
      </p:sp>
      <p:cxnSp>
        <p:nvCxnSpPr>
          <p:cNvPr id="6" name="Straight Connector 5"/>
          <p:cNvCxnSpPr/>
          <p:nvPr userDrawn="1"/>
        </p:nvCxnSpPr>
        <p:spPr>
          <a:xfrm>
            <a:off x="864000" y="6318208"/>
            <a:ext cx="1046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28894976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Quote-grey">
    <p:bg>
      <p:bgPr>
        <a:solidFill>
          <a:schemeClr val="bg2"/>
        </a:solidFill>
        <a:effectLst/>
      </p:bgPr>
    </p:bg>
    <p:spTree>
      <p:nvGrpSpPr>
        <p:cNvPr id="1" name=""/>
        <p:cNvGrpSpPr/>
        <p:nvPr/>
      </p:nvGrpSpPr>
      <p:grpSpPr>
        <a:xfrm>
          <a:off x="0" y="0"/>
          <a:ext cx="0" cy="0"/>
          <a:chOff x="0" y="0"/>
          <a:chExt cx="0" cy="0"/>
        </a:xfrm>
      </p:grpSpPr>
      <p:sp>
        <p:nvSpPr>
          <p:cNvPr id="8" name="Rectangle 7"/>
          <p:cNvSpPr/>
          <p:nvPr userDrawn="1"/>
        </p:nvSpPr>
        <p:spPr>
          <a:xfrm>
            <a:off x="0"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hasCustomPrompt="1"/>
          </p:nvPr>
        </p:nvSpPr>
        <p:spPr>
          <a:xfrm>
            <a:off x="864000" y="1320803"/>
            <a:ext cx="10464000" cy="2712117"/>
          </a:xfrm>
        </p:spPr>
        <p:txBody>
          <a:bodyPr anchor="b">
            <a:noAutofit/>
          </a:bodyPr>
          <a:lstStyle>
            <a:lvl1pPr algn="ctr">
              <a:defRPr sz="2400">
                <a:solidFill>
                  <a:schemeClr val="tx1"/>
                </a:solidFill>
              </a:defRPr>
            </a:lvl1pPr>
          </a:lstStyle>
          <a:p>
            <a:r>
              <a:rPr lang="en-US"/>
              <a:t>Quote / Citation</a:t>
            </a:r>
          </a:p>
        </p:txBody>
      </p:sp>
      <p:sp>
        <p:nvSpPr>
          <p:cNvPr id="3" name="Subtitle 2"/>
          <p:cNvSpPr>
            <a:spLocks noGrp="1"/>
          </p:cNvSpPr>
          <p:nvPr>
            <p:ph type="subTitle" idx="1" hasCustomPrompt="1"/>
          </p:nvPr>
        </p:nvSpPr>
        <p:spPr>
          <a:xfrm>
            <a:off x="864000" y="4891437"/>
            <a:ext cx="10464000" cy="782320"/>
          </a:xfrm>
        </p:spPr>
        <p:txBody>
          <a:bodyPr>
            <a:noAutofit/>
          </a:bodyPr>
          <a:lstStyle>
            <a:lvl1pPr marL="0" indent="0" algn="ctr">
              <a:lnSpc>
                <a:spcPct val="100000"/>
              </a:lnSpc>
              <a:spcBef>
                <a:spcPts val="0"/>
              </a:spcBef>
              <a:buNone/>
              <a:defRPr sz="17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 Nom </a:t>
            </a:r>
            <a:br>
              <a:rPr lang="en-US"/>
            </a:br>
            <a:r>
              <a:rPr lang="en-US"/>
              <a:t>Role / </a:t>
            </a:r>
            <a:r>
              <a:rPr lang="en-US" err="1"/>
              <a:t>Rôle</a:t>
            </a:r>
            <a:r>
              <a:rPr lang="en-US"/>
              <a:t>, Company / </a:t>
            </a:r>
            <a:r>
              <a:rPr lang="en-US" err="1"/>
              <a:t>Compagnie</a:t>
            </a:r>
            <a:endParaRPr lang="en-US"/>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D7012407-5950-B949-8BF3-E7EA9ADCB58D}" type="slidenum">
              <a:rPr lang="en-GB" smtClean="0"/>
              <a:pPr/>
              <a:t>‹#›</a:t>
            </a:fld>
            <a:endParaRPr lang="en-GB"/>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16127322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Quote-white">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hasCustomPrompt="1"/>
          </p:nvPr>
        </p:nvSpPr>
        <p:spPr>
          <a:xfrm>
            <a:off x="864000" y="1320803"/>
            <a:ext cx="10464000" cy="2712117"/>
          </a:xfrm>
        </p:spPr>
        <p:txBody>
          <a:bodyPr anchor="b">
            <a:noAutofit/>
          </a:bodyPr>
          <a:lstStyle>
            <a:lvl1pPr algn="ctr">
              <a:defRPr sz="2400">
                <a:solidFill>
                  <a:schemeClr val="tx1"/>
                </a:solidFill>
              </a:defRPr>
            </a:lvl1pPr>
          </a:lstStyle>
          <a:p>
            <a:r>
              <a:rPr lang="en-US"/>
              <a:t>Quote / Citation</a:t>
            </a:r>
          </a:p>
        </p:txBody>
      </p:sp>
      <p:sp>
        <p:nvSpPr>
          <p:cNvPr id="3" name="Subtitle 2"/>
          <p:cNvSpPr>
            <a:spLocks noGrp="1"/>
          </p:cNvSpPr>
          <p:nvPr>
            <p:ph type="subTitle" idx="1" hasCustomPrompt="1"/>
          </p:nvPr>
        </p:nvSpPr>
        <p:spPr>
          <a:xfrm>
            <a:off x="864000" y="4891437"/>
            <a:ext cx="10464000" cy="782320"/>
          </a:xfrm>
        </p:spPr>
        <p:txBody>
          <a:bodyPr>
            <a:noAutofit/>
          </a:bodyPr>
          <a:lstStyle>
            <a:lvl1pPr marL="0" indent="0" algn="ctr">
              <a:lnSpc>
                <a:spcPct val="100000"/>
              </a:lnSpc>
              <a:spcBef>
                <a:spcPts val="0"/>
              </a:spcBef>
              <a:buNone/>
              <a:defRPr sz="17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 Nom </a:t>
            </a:r>
            <a:br>
              <a:rPr lang="en-US"/>
            </a:br>
            <a:r>
              <a:rPr lang="en-US"/>
              <a:t>Role / </a:t>
            </a:r>
            <a:r>
              <a:rPr lang="en-US" err="1"/>
              <a:t>Rôle</a:t>
            </a:r>
            <a:r>
              <a:rPr lang="en-US"/>
              <a:t>, Company / </a:t>
            </a:r>
            <a:r>
              <a:rPr lang="en-US" err="1"/>
              <a:t>Compagnie</a:t>
            </a:r>
            <a:endParaRPr lang="en-US"/>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D7012407-5950-B949-8BF3-E7EA9ADCB58D}" type="slidenum">
              <a:rPr lang="en-GB" smtClean="0"/>
              <a:pPr/>
              <a:t>‹#›</a:t>
            </a:fld>
            <a:endParaRPr lang="en-GB"/>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29692897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Divider-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4000" y="2184400"/>
            <a:ext cx="10489800" cy="2378076"/>
          </a:xfrm>
        </p:spPr>
        <p:txBody>
          <a:bodyPr anchor="t">
            <a:noAutofit/>
          </a:bodyPr>
          <a:lstStyle>
            <a:lvl1pPr>
              <a:defRPr sz="2400">
                <a:solidFill>
                  <a:schemeClr val="bg1"/>
                </a:solidFill>
              </a:defRPr>
            </a:lvl1pPr>
          </a:lstStyle>
          <a:p>
            <a:r>
              <a:rPr lang="en-US"/>
              <a:t>Section title</a:t>
            </a:r>
            <a:br>
              <a:rPr lang="en-US"/>
            </a:br>
            <a:r>
              <a:rPr lang="en-US" err="1"/>
              <a:t>Titre</a:t>
            </a:r>
            <a:r>
              <a:rPr lang="en-US"/>
              <a:t> de la sec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7012407-5950-B949-8BF3-E7EA9ADCB58D}" type="slidenum">
              <a:rPr lang="en-GB" smtClean="0"/>
              <a:pPr/>
              <a:t>‹#›</a:t>
            </a:fld>
            <a:endParaRPr lang="en-GB"/>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73283" y="639394"/>
            <a:ext cx="938815" cy="922248"/>
          </a:xfrm>
          <a:prstGeom prst="rect">
            <a:avLst/>
          </a:prstGeom>
        </p:spPr>
      </p:pic>
    </p:spTree>
    <p:extLst>
      <p:ext uri="{BB962C8B-B14F-4D97-AF65-F5344CB8AC3E}">
        <p14:creationId xmlns:p14="http://schemas.microsoft.com/office/powerpoint/2010/main" val="281665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Divider-gre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4000" y="2184400"/>
            <a:ext cx="10489800" cy="2378076"/>
          </a:xfrm>
        </p:spPr>
        <p:txBody>
          <a:bodyPr anchor="t">
            <a:noAutofit/>
          </a:bodyPr>
          <a:lstStyle>
            <a:lvl1pPr>
              <a:defRPr sz="2400">
                <a:solidFill>
                  <a:schemeClr val="tx1"/>
                </a:solidFill>
              </a:defRPr>
            </a:lvl1pPr>
          </a:lstStyle>
          <a:p>
            <a:r>
              <a:rPr lang="en-US"/>
              <a:t>Section title</a:t>
            </a:r>
            <a:br>
              <a:rPr lang="en-US"/>
            </a:br>
            <a:r>
              <a:rPr lang="en-US" err="1"/>
              <a:t>Titre</a:t>
            </a:r>
            <a:r>
              <a:rPr lang="en-US"/>
              <a:t> de la section</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D7012407-5950-B949-8BF3-E7EA9ADCB58D}" type="slidenum">
              <a:rPr lang="en-GB" smtClean="0"/>
              <a:pPr/>
              <a:t>‹#›</a:t>
            </a:fld>
            <a:endParaRPr lang="en-GB"/>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73283" y="639394"/>
            <a:ext cx="938815" cy="922248"/>
          </a:xfrm>
          <a:prstGeom prst="rect">
            <a:avLst/>
          </a:prstGeom>
        </p:spPr>
      </p:pic>
    </p:spTree>
    <p:extLst>
      <p:ext uri="{BB962C8B-B14F-4D97-AF65-F5344CB8AC3E}">
        <p14:creationId xmlns:p14="http://schemas.microsoft.com/office/powerpoint/2010/main" val="39905326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Divider-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4000" y="2184400"/>
            <a:ext cx="10489800" cy="2378076"/>
          </a:xfrm>
        </p:spPr>
        <p:txBody>
          <a:bodyPr anchor="ctr">
            <a:noAutofit/>
          </a:bodyPr>
          <a:lstStyle>
            <a:lvl1pPr>
              <a:defRPr sz="3200">
                <a:solidFill>
                  <a:schemeClr val="tx1"/>
                </a:solidFill>
              </a:defRPr>
            </a:lvl1pPr>
          </a:lstStyle>
          <a:p>
            <a:r>
              <a:rPr lang="en-US"/>
              <a:t>Section title</a:t>
            </a:r>
            <a:br>
              <a:rPr lang="en-US"/>
            </a:br>
            <a:r>
              <a:rPr lang="en-US" err="1"/>
              <a:t>Titre</a:t>
            </a:r>
            <a:r>
              <a:rPr lang="en-US"/>
              <a:t> de la section</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D7012407-5950-B949-8BF3-E7EA9ADCB58D}" type="slidenum">
              <a:rPr lang="en-GB" smtClean="0"/>
              <a:pPr/>
              <a:t>‹#›</a:t>
            </a:fld>
            <a:endParaRPr lang="en-GB"/>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73283" y="639394"/>
            <a:ext cx="938815" cy="922248"/>
          </a:xfrm>
          <a:prstGeom prst="rect">
            <a:avLst/>
          </a:prstGeom>
        </p:spPr>
      </p:pic>
    </p:spTree>
    <p:extLst>
      <p:ext uri="{BB962C8B-B14F-4D97-AF65-F5344CB8AC3E}">
        <p14:creationId xmlns:p14="http://schemas.microsoft.com/office/powerpoint/2010/main" val="25012529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Divider-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4000" y="2912314"/>
            <a:ext cx="10489800" cy="2378076"/>
          </a:xfrm>
        </p:spPr>
        <p:txBody>
          <a:bodyPr lIns="0" anchor="t">
            <a:noAutofit/>
          </a:bodyPr>
          <a:lstStyle>
            <a:lvl1pPr algn="r">
              <a:defRPr sz="3600" b="1">
                <a:solidFill>
                  <a:schemeClr val="tx1"/>
                </a:solidFill>
              </a:defRPr>
            </a:lvl1pPr>
          </a:lstStyle>
          <a:p>
            <a:r>
              <a:rPr lang="en-US"/>
              <a:t>Section title</a:t>
            </a:r>
            <a:br>
              <a:rPr lang="en-US"/>
            </a:br>
            <a:r>
              <a:rPr lang="en-US" err="1"/>
              <a:t>Titre</a:t>
            </a:r>
            <a:r>
              <a:rPr lang="en-US"/>
              <a:t> de la section</a:t>
            </a:r>
            <a:br>
              <a:rPr lang="en-US"/>
            </a:br>
            <a:endParaRPr lang="en-US"/>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D7012407-5950-B949-8BF3-E7EA9ADCB58D}" type="slidenum">
              <a:rPr lang="en-GB" smtClean="0"/>
              <a:pPr/>
              <a:t>‹#›</a:t>
            </a:fld>
            <a:endParaRPr lang="en-GB"/>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90403" y="2737054"/>
            <a:ext cx="938815" cy="922248"/>
          </a:xfrm>
          <a:prstGeom prst="rect">
            <a:avLst/>
          </a:prstGeom>
        </p:spPr>
      </p:pic>
    </p:spTree>
    <p:extLst>
      <p:ext uri="{BB962C8B-B14F-4D97-AF65-F5344CB8AC3E}">
        <p14:creationId xmlns:p14="http://schemas.microsoft.com/office/powerpoint/2010/main" val="6024947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p:bg>
      <p:bgPr>
        <a:solidFill>
          <a:schemeClr val="bg2"/>
        </a:solidFill>
        <a:effectLst/>
      </p:bgPr>
    </p:bg>
    <p:spTree>
      <p:nvGrpSpPr>
        <p:cNvPr id="1" name=""/>
        <p:cNvGrpSpPr/>
        <p:nvPr/>
      </p:nvGrpSpPr>
      <p:grpSpPr>
        <a:xfrm>
          <a:off x="0" y="0"/>
          <a:ext cx="0" cy="0"/>
          <a:chOff x="0" y="0"/>
          <a:chExt cx="0" cy="0"/>
        </a:xfrm>
      </p:grpSpPr>
      <p:sp>
        <p:nvSpPr>
          <p:cNvPr id="8" name="Rectangle 7"/>
          <p:cNvSpPr/>
          <p:nvPr userDrawn="1"/>
        </p:nvSpPr>
        <p:spPr>
          <a:xfrm>
            <a:off x="0" y="6318000"/>
            <a:ext cx="12192000" cy="540000"/>
          </a:xfrm>
          <a:prstGeom prst="rect">
            <a:avLst/>
          </a:prstGeom>
          <a:solidFill>
            <a:schemeClr val="tx1"/>
          </a:solidFill>
          <a:ln>
            <a:solidFill>
              <a:srgbClr val="D2D0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5" name="Picture Placeholder 4"/>
          <p:cNvSpPr>
            <a:spLocks noGrp="1"/>
          </p:cNvSpPr>
          <p:nvPr>
            <p:ph type="pic" sz="quarter" idx="13" hasCustomPrompt="1"/>
          </p:nvPr>
        </p:nvSpPr>
        <p:spPr>
          <a:xfrm>
            <a:off x="0" y="0"/>
            <a:ext cx="12192000" cy="6317168"/>
          </a:xfrm>
        </p:spPr>
        <p:txBody>
          <a:bodyPr lIns="1440000" rIns="1440000" anchor="ctr"/>
          <a:lstStyle>
            <a:lvl1pPr algn="ctr">
              <a:defRPr/>
            </a:lvl1pPr>
          </a:lstStyle>
          <a:p>
            <a:r>
              <a:rPr lang="en-GB"/>
              <a:t>Photo</a:t>
            </a:r>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1105606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0" y="0"/>
            <a:ext cx="12192000" cy="6318000"/>
          </a:xfrm>
        </p:spPr>
        <p:txBody>
          <a:bodyPr lIns="720000" rIns="720000" anchor="ctr"/>
          <a:lstStyle>
            <a:lvl1pPr algn="ctr">
              <a:defRPr/>
            </a:lvl1pPr>
          </a:lstStyle>
          <a:p>
            <a:r>
              <a:rPr lang="en-GB"/>
              <a:t>Photo</a:t>
            </a:r>
          </a:p>
        </p:txBody>
      </p:sp>
      <p:sp>
        <p:nvSpPr>
          <p:cNvPr id="2" name="Title 1"/>
          <p:cNvSpPr>
            <a:spLocks noGrp="1"/>
          </p:cNvSpPr>
          <p:nvPr>
            <p:ph type="ctrTitle" hasCustomPrompt="1"/>
          </p:nvPr>
        </p:nvSpPr>
        <p:spPr>
          <a:xfrm>
            <a:off x="864000" y="649358"/>
            <a:ext cx="10464000" cy="980660"/>
          </a:xfrm>
        </p:spPr>
        <p:txBody>
          <a:bodyPr anchor="t">
            <a:noAutofit/>
          </a:bodyPr>
          <a:lstStyle>
            <a:lvl1pPr algn="l">
              <a:defRPr sz="2800">
                <a:solidFill>
                  <a:schemeClr val="bg1"/>
                </a:solidFill>
              </a:defRPr>
            </a:lvl1pPr>
          </a:lstStyle>
          <a:p>
            <a:r>
              <a:rPr lang="en-US"/>
              <a:t>Title / </a:t>
            </a:r>
            <a:r>
              <a:rPr lang="en-US" err="1"/>
              <a:t>Titre</a:t>
            </a:r>
            <a:endParaRPr lang="en-US"/>
          </a:p>
        </p:txBody>
      </p:sp>
      <p:sp>
        <p:nvSpPr>
          <p:cNvPr id="11" name="Rectangle 10"/>
          <p:cNvSpPr/>
          <p:nvPr userDrawn="1"/>
        </p:nvSpPr>
        <p:spPr>
          <a:xfrm>
            <a:off x="0" y="6318000"/>
            <a:ext cx="12192000" cy="540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hasCustomPrompt="1"/>
          </p:nvPr>
        </p:nvSpPr>
        <p:spPr>
          <a:xfrm>
            <a:off x="864000" y="1764002"/>
            <a:ext cx="10464000" cy="584563"/>
          </a:xfrm>
        </p:spPr>
        <p:txBody>
          <a:bodyPr>
            <a:noAutofit/>
          </a:bodyPr>
          <a:lstStyle>
            <a:lvl1pPr marL="0" indent="0" algn="l">
              <a:lnSpc>
                <a:spcPts val="1600"/>
              </a:lnSpc>
              <a:spcBef>
                <a:spcPts val="0"/>
              </a:spcBef>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 / Nom du </a:t>
            </a:r>
            <a:r>
              <a:rPr lang="en-US" err="1"/>
              <a:t>présentateur</a:t>
            </a:r>
            <a:br>
              <a:rPr lang="en-US"/>
            </a:br>
            <a:r>
              <a:rPr lang="en-US"/>
              <a:t>Department / </a:t>
            </a:r>
            <a:r>
              <a:rPr lang="en-US" err="1"/>
              <a:t>Département</a:t>
            </a:r>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0046" y="6513238"/>
            <a:ext cx="1947956" cy="174559"/>
          </a:xfrm>
          <a:prstGeom prst="rect">
            <a:avLst/>
          </a:prstGeom>
        </p:spPr>
      </p:pic>
      <p:sp>
        <p:nvSpPr>
          <p:cNvPr id="9" name="Text Placeholder 4"/>
          <p:cNvSpPr>
            <a:spLocks noGrp="1"/>
          </p:cNvSpPr>
          <p:nvPr>
            <p:ph type="body" sz="quarter" idx="11" hasCustomPrompt="1"/>
          </p:nvPr>
        </p:nvSpPr>
        <p:spPr>
          <a:xfrm>
            <a:off x="863600" y="2444814"/>
            <a:ext cx="10464800" cy="666750"/>
          </a:xfrm>
        </p:spPr>
        <p:txBody>
          <a:bodyPr/>
          <a:lstStyle>
            <a:lvl1pPr>
              <a:lnSpc>
                <a:spcPts val="1600"/>
              </a:lnSpc>
              <a:defRPr sz="1200" b="1">
                <a:solidFill>
                  <a:schemeClr val="bg1"/>
                </a:solidFill>
              </a:defRPr>
            </a:lvl1pPr>
          </a:lstStyle>
          <a:p>
            <a:pPr lvl="0"/>
            <a:r>
              <a:rPr lang="en-US"/>
              <a:t>Da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71520" y="6453296"/>
            <a:ext cx="2221596" cy="294437"/>
          </a:xfrm>
          <a:prstGeom prst="rect">
            <a:avLst/>
          </a:prstGeom>
        </p:spPr>
      </p:pic>
    </p:spTree>
    <p:extLst>
      <p:ext uri="{BB962C8B-B14F-4D97-AF65-F5344CB8AC3E}">
        <p14:creationId xmlns:p14="http://schemas.microsoft.com/office/powerpoint/2010/main" val="7639624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image">
    <p:bg>
      <p:bgPr>
        <a:solidFill>
          <a:schemeClr val="bg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0" y="0"/>
            <a:ext cx="12192000" cy="6858000"/>
          </a:xfrm>
        </p:spPr>
        <p:txBody>
          <a:bodyPr lIns="1440000" rIns="1440000" anchor="ctr"/>
          <a:lstStyle>
            <a:lvl1pPr algn="ctr">
              <a:defRPr/>
            </a:lvl1pPr>
          </a:lstStyle>
          <a:p>
            <a:r>
              <a:rPr lang="en-GB"/>
              <a:t>Photo</a:t>
            </a:r>
          </a:p>
        </p:txBody>
      </p:sp>
    </p:spTree>
    <p:extLst>
      <p:ext uri="{BB962C8B-B14F-4D97-AF65-F5344CB8AC3E}">
        <p14:creationId xmlns:p14="http://schemas.microsoft.com/office/powerpoint/2010/main" val="18613310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Text">
    <p:bg>
      <p:bgPr>
        <a:solidFill>
          <a:schemeClr val="bg2"/>
        </a:solidFill>
        <a:effectLst/>
      </p:bgPr>
    </p:bg>
    <p:spTree>
      <p:nvGrpSpPr>
        <p:cNvPr id="1" name=""/>
        <p:cNvGrpSpPr/>
        <p:nvPr/>
      </p:nvGrpSpPr>
      <p:grpSpPr>
        <a:xfrm>
          <a:off x="0" y="0"/>
          <a:ext cx="0" cy="0"/>
          <a:chOff x="0" y="0"/>
          <a:chExt cx="0" cy="0"/>
        </a:xfrm>
      </p:grpSpPr>
      <p:sp>
        <p:nvSpPr>
          <p:cNvPr id="9" name="Rectangle 8"/>
          <p:cNvSpPr/>
          <p:nvPr userDrawn="1"/>
        </p:nvSpPr>
        <p:spPr>
          <a:xfrm>
            <a:off x="0"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334362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066" name="think-cell Slide" r:id="rId4" imgW="473" imgH="476" progId="TCLayout.ActiveDocument.1">
                  <p:embed/>
                </p:oleObj>
              </mc:Choice>
              <mc:Fallback>
                <p:oleObj name="think-cell Slide" r:id="rId4" imgW="473" imgH="476" progId="TCLayout.ActiveDocument.1">
                  <p:embed/>
                  <p:pic>
                    <p:nvPicPr>
                      <p:cNvPr id="2" name="Object 1"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5" name="Picture Placeholder 4"/>
          <p:cNvSpPr>
            <a:spLocks noGrp="1"/>
          </p:cNvSpPr>
          <p:nvPr>
            <p:ph type="pic" sz="quarter" idx="13" hasCustomPrompt="1"/>
          </p:nvPr>
        </p:nvSpPr>
        <p:spPr>
          <a:xfrm>
            <a:off x="0" y="0"/>
            <a:ext cx="12192000" cy="6317168"/>
          </a:xfrm>
        </p:spPr>
        <p:txBody>
          <a:bodyPr lIns="1440000" rIns="1440000" anchor="ctr"/>
          <a:lstStyle>
            <a:lvl1pPr algn="ctr">
              <a:defRPr/>
            </a:lvl1pPr>
          </a:lstStyle>
          <a:p>
            <a:r>
              <a:rPr lang="en-GB"/>
              <a:t>Photo</a:t>
            </a:r>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10" name="Content Placeholder 2"/>
          <p:cNvSpPr>
            <a:spLocks noGrp="1"/>
          </p:cNvSpPr>
          <p:nvPr>
            <p:ph idx="1" hasCustomPrompt="1"/>
          </p:nvPr>
        </p:nvSpPr>
        <p:spPr>
          <a:xfrm>
            <a:off x="869871" y="1290696"/>
            <a:ext cx="5904001" cy="4320000"/>
          </a:xfrm>
        </p:spPr>
        <p:txBody>
          <a:bodyPr/>
          <a:lstStyle>
            <a:lvl1pPr>
              <a:lnSpc>
                <a:spcPts val="2400"/>
              </a:lnSpc>
              <a:defRPr sz="2200" b="1" spc="40" baseline="0">
                <a:solidFill>
                  <a:schemeClr val="bg1"/>
                </a:solidFill>
              </a:defRPr>
            </a:lvl1pPr>
            <a:lvl2pPr marL="0" indent="283464">
              <a:lnSpc>
                <a:spcPts val="2400"/>
              </a:lnSpc>
              <a:buSzPct val="100000"/>
              <a:buFont typeface="Arial" panose="020B0604020202020204" pitchFamily="34" charset="0"/>
              <a:buChar char="•"/>
              <a:defRPr sz="2200" b="1" spc="40" baseline="0">
                <a:solidFill>
                  <a:schemeClr val="bg1"/>
                </a:solidFill>
              </a:defRPr>
            </a:lvl2pPr>
            <a:lvl3pPr marL="284163" indent="283464">
              <a:lnSpc>
                <a:spcPts val="2400"/>
              </a:lnSpc>
              <a:buSzPct val="120000"/>
              <a:buFont typeface="Verdana" panose="020B0604030504040204" pitchFamily="34" charset="0"/>
              <a:buChar char="–"/>
              <a:defRPr sz="2200" b="1" spc="40" baseline="0">
                <a:solidFill>
                  <a:schemeClr val="bg1"/>
                </a:solidFill>
              </a:defRPr>
            </a:lvl3pPr>
            <a:lvl4pPr marL="568325" indent="285750">
              <a:buSzPct val="120000"/>
              <a:buFont typeface="Verdana" panose="020B0604030504040204" pitchFamily="34" charset="0"/>
              <a:buChar char="–"/>
              <a:tabLst/>
              <a:defRPr lang="en-US" sz="1700" b="1" kern="1200" spc="40" baseline="0" dirty="0" smtClean="0">
                <a:solidFill>
                  <a:schemeClr val="bg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lvl="3"/>
            <a:r>
              <a:rPr lang="en-US"/>
              <a:t>4th level / 4e </a:t>
            </a:r>
            <a:r>
              <a:rPr lang="en-US" err="1"/>
              <a:t>niveau</a:t>
            </a:r>
            <a:endParaRPr lang="en-US"/>
          </a:p>
          <a:p>
            <a:pPr marL="568325" lvl="3" indent="285750"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32100188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image+Text">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6918137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90" name="think-cell Slide" r:id="rId4" imgW="473" imgH="476" progId="TCLayout.ActiveDocument.1">
                  <p:embed/>
                </p:oleObj>
              </mc:Choice>
              <mc:Fallback>
                <p:oleObj name="think-cell Slide" r:id="rId4" imgW="473" imgH="476" progId="TCLayout.ActiveDocument.1">
                  <p:embed/>
                  <p:pic>
                    <p:nvPicPr>
                      <p:cNvPr id="2" name="Object 1"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5" name="Picture Placeholder 4"/>
          <p:cNvSpPr>
            <a:spLocks noGrp="1"/>
          </p:cNvSpPr>
          <p:nvPr>
            <p:ph type="pic" sz="quarter" idx="13" hasCustomPrompt="1"/>
          </p:nvPr>
        </p:nvSpPr>
        <p:spPr>
          <a:xfrm>
            <a:off x="0" y="0"/>
            <a:ext cx="12192000" cy="6858000"/>
          </a:xfrm>
        </p:spPr>
        <p:txBody>
          <a:bodyPr lIns="1440000" rIns="1440000" anchor="ctr"/>
          <a:lstStyle>
            <a:lvl1pPr algn="ctr">
              <a:defRPr/>
            </a:lvl1pPr>
          </a:lstStyle>
          <a:p>
            <a:r>
              <a:rPr lang="en-GB"/>
              <a:t>Photo</a:t>
            </a:r>
          </a:p>
        </p:txBody>
      </p:sp>
      <p:sp>
        <p:nvSpPr>
          <p:cNvPr id="7" name="Content Placeholder 2"/>
          <p:cNvSpPr>
            <a:spLocks noGrp="1"/>
          </p:cNvSpPr>
          <p:nvPr>
            <p:ph idx="1" hasCustomPrompt="1"/>
          </p:nvPr>
        </p:nvSpPr>
        <p:spPr>
          <a:xfrm>
            <a:off x="869871" y="1290696"/>
            <a:ext cx="5904001" cy="4320000"/>
          </a:xfrm>
        </p:spPr>
        <p:txBody>
          <a:bodyPr/>
          <a:lstStyle>
            <a:lvl1pPr>
              <a:lnSpc>
                <a:spcPts val="2400"/>
              </a:lnSpc>
              <a:defRPr sz="2200" b="1" spc="40" baseline="0">
                <a:solidFill>
                  <a:schemeClr val="bg1"/>
                </a:solidFill>
              </a:defRPr>
            </a:lvl1pPr>
            <a:lvl2pPr marL="0" indent="283464">
              <a:lnSpc>
                <a:spcPts val="2400"/>
              </a:lnSpc>
              <a:buSzPct val="100000"/>
              <a:buFont typeface="Arial" panose="020B0604020202020204" pitchFamily="34" charset="0"/>
              <a:buChar char="•"/>
              <a:defRPr sz="2200" b="1" spc="40" baseline="0">
                <a:solidFill>
                  <a:schemeClr val="bg1"/>
                </a:solidFill>
              </a:defRPr>
            </a:lvl2pPr>
            <a:lvl3pPr marL="284163" indent="283464">
              <a:lnSpc>
                <a:spcPts val="2400"/>
              </a:lnSpc>
              <a:buSzPct val="120000"/>
              <a:buFont typeface="Verdana" panose="020B0604030504040204" pitchFamily="34" charset="0"/>
              <a:buChar char="–"/>
              <a:defRPr sz="2200" b="1" spc="40" baseline="0">
                <a:solidFill>
                  <a:schemeClr val="bg1"/>
                </a:solidFill>
              </a:defRPr>
            </a:lvl3pPr>
            <a:lvl4pPr marL="854075" indent="-285750">
              <a:buSzPct val="120000"/>
              <a:buFont typeface="Verdana" panose="020B0604030504040204" pitchFamily="34" charset="0"/>
              <a:buChar char="–"/>
              <a:tabLst/>
              <a:defRPr lang="en-US" sz="1700" b="1" kern="1200" spc="40" baseline="0" dirty="0" smtClean="0">
                <a:solidFill>
                  <a:schemeClr val="bg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5750"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5750"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spTree>
    <p:extLst>
      <p:ext uri="{BB962C8B-B14F-4D97-AF65-F5344CB8AC3E}">
        <p14:creationId xmlns:p14="http://schemas.microsoft.com/office/powerpoint/2010/main" val="1452184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p:bg>
      <p:bgPr>
        <a:solidFill>
          <a:schemeClr val="tx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hasCustomPrompt="1"/>
          </p:nvPr>
        </p:nvSpPr>
        <p:spPr>
          <a:xfrm>
            <a:off x="0" y="855000"/>
            <a:ext cx="12192000" cy="5148000"/>
          </a:xfrm>
          <a:noFill/>
        </p:spPr>
        <p:txBody>
          <a:bodyPr lIns="1440000" rIns="1440000" bIns="0" anchor="ctr"/>
          <a:lstStyle>
            <a:lvl1pPr algn="ctr">
              <a:defRPr>
                <a:solidFill>
                  <a:schemeClr val="bg1"/>
                </a:solidFill>
              </a:defRPr>
            </a:lvl1pPr>
          </a:lstStyle>
          <a:p>
            <a:r>
              <a:rPr lang="en-GB"/>
              <a:t>Video</a:t>
            </a:r>
          </a:p>
        </p:txBody>
      </p:sp>
    </p:spTree>
    <p:extLst>
      <p:ext uri="{BB962C8B-B14F-4D97-AF65-F5344CB8AC3E}">
        <p14:creationId xmlns:p14="http://schemas.microsoft.com/office/powerpoint/2010/main" val="2491549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864002" y="4774964"/>
            <a:ext cx="3290751" cy="1063131"/>
          </a:xfrm>
        </p:spPr>
        <p:txBody>
          <a:bodyPr/>
          <a:lstStyle>
            <a:lvl1pPr>
              <a:lnSpc>
                <a:spcPct val="100000"/>
              </a:lnSpc>
              <a:defRPr lang="en-GB" sz="1150" kern="1200" spc="40" baseline="0" dirty="0">
                <a:solidFill>
                  <a:schemeClr val="bg1"/>
                </a:solidFill>
                <a:latin typeface="+mn-lt"/>
                <a:ea typeface="+mn-ea"/>
                <a:cs typeface="+mn-cs"/>
              </a:defRPr>
            </a:lvl1pPr>
            <a:lvl2pPr>
              <a:defRPr sz="1150">
                <a:solidFill>
                  <a:schemeClr val="bg1"/>
                </a:solidFill>
              </a:defRPr>
            </a:lvl2pPr>
            <a:lvl3pPr>
              <a:defRPr sz="1150">
                <a:solidFill>
                  <a:schemeClr val="bg1"/>
                </a:solidFill>
              </a:defRPr>
            </a:lvl3pPr>
            <a:lvl4pPr>
              <a:defRPr sz="1150">
                <a:solidFill>
                  <a:schemeClr val="bg1"/>
                </a:solidFill>
              </a:defRPr>
            </a:lvl4pPr>
            <a:lvl5pPr>
              <a:defRPr sz="1150">
                <a:solidFill>
                  <a:schemeClr val="bg1"/>
                </a:solidFill>
              </a:defRPr>
            </a:lvl5pPr>
          </a:lstStyle>
          <a:p>
            <a:pPr lvl="0"/>
            <a:r>
              <a:rPr lang="en-US"/>
              <a:t>Address / </a:t>
            </a:r>
            <a:r>
              <a:rPr lang="en-US" err="1"/>
              <a:t>Adressse</a:t>
            </a:r>
            <a:endParaRPr lang="en-GB"/>
          </a:p>
          <a:p>
            <a:pPr marL="0" lvl="0" indent="0" algn="l" defTabSz="914400" rtl="0" eaLnBrk="1" latinLnBrk="0" hangingPunct="1">
              <a:lnSpc>
                <a:spcPts val="1300"/>
              </a:lnSpc>
              <a:spcBef>
                <a:spcPts val="0"/>
              </a:spcBef>
              <a:buFont typeface="Arial" charset="0"/>
              <a:buNone/>
            </a:pPr>
            <a:r>
              <a:rPr lang="en-US"/>
              <a:t>Second level</a:t>
            </a:r>
          </a:p>
          <a:p>
            <a:pPr marL="0" lvl="0" indent="0" algn="l" defTabSz="914400" rtl="0" eaLnBrk="1" latinLnBrk="0" hangingPunct="1">
              <a:lnSpc>
                <a:spcPts val="1300"/>
              </a:lnSpc>
              <a:spcBef>
                <a:spcPts val="0"/>
              </a:spcBef>
              <a:buFont typeface="Arial" charset="0"/>
              <a:buNone/>
            </a:pPr>
            <a:r>
              <a:rPr lang="en-US"/>
              <a:t>Third level</a:t>
            </a:r>
          </a:p>
          <a:p>
            <a:pPr marL="0" lvl="0" indent="0" algn="l" defTabSz="914400" rtl="0" eaLnBrk="1" latinLnBrk="0" hangingPunct="1">
              <a:lnSpc>
                <a:spcPts val="1300"/>
              </a:lnSpc>
              <a:spcBef>
                <a:spcPts val="0"/>
              </a:spcBef>
              <a:buFont typeface="Arial" charset="0"/>
              <a:buNone/>
            </a:pPr>
            <a:r>
              <a:rPr lang="en-US"/>
              <a:t>Fourth level</a:t>
            </a:r>
          </a:p>
          <a:p>
            <a:pPr marL="0" lvl="0" indent="0" algn="l" defTabSz="914400" rtl="0" eaLnBrk="1" latinLnBrk="0" hangingPunct="1">
              <a:lnSpc>
                <a:spcPts val="1300"/>
              </a:lnSpc>
              <a:spcBef>
                <a:spcPts val="0"/>
              </a:spcBef>
              <a:buFont typeface="Arial" charset="0"/>
              <a:buNone/>
            </a:pPr>
            <a:r>
              <a:rPr lang="en-US"/>
              <a:t>Fifth level</a:t>
            </a:r>
            <a:endParaRPr lang="en-GB"/>
          </a:p>
        </p:txBody>
      </p:sp>
      <p:sp>
        <p:nvSpPr>
          <p:cNvPr id="2" name="Title 1"/>
          <p:cNvSpPr>
            <a:spLocks noGrp="1"/>
          </p:cNvSpPr>
          <p:nvPr>
            <p:ph type="title" hasCustomPrompt="1"/>
          </p:nvPr>
        </p:nvSpPr>
        <p:spPr>
          <a:xfrm>
            <a:off x="864000" y="2915920"/>
            <a:ext cx="10489800" cy="1646556"/>
          </a:xfrm>
        </p:spPr>
        <p:txBody>
          <a:bodyPr anchor="t">
            <a:noAutofit/>
          </a:bodyPr>
          <a:lstStyle>
            <a:lvl1pPr>
              <a:defRPr sz="2800">
                <a:solidFill>
                  <a:schemeClr val="bg1"/>
                </a:solidFill>
              </a:defRPr>
            </a:lvl1pPr>
          </a:lstStyle>
          <a:p>
            <a:r>
              <a:rPr lang="en-US"/>
              <a:t>Title / </a:t>
            </a:r>
            <a:r>
              <a:rPr lang="en-US" err="1"/>
              <a:t>Titre</a:t>
            </a:r>
            <a:endParaRPr lang="en-US"/>
          </a:p>
        </p:txBody>
      </p:sp>
      <p:sp>
        <p:nvSpPr>
          <p:cNvPr id="6" name="TextBox 5"/>
          <p:cNvSpPr txBox="1"/>
          <p:nvPr userDrawn="1"/>
        </p:nvSpPr>
        <p:spPr>
          <a:xfrm>
            <a:off x="864003" y="6053814"/>
            <a:ext cx="4039893" cy="166712"/>
          </a:xfrm>
          <a:prstGeom prst="rect">
            <a:avLst/>
          </a:prstGeom>
          <a:noFill/>
        </p:spPr>
        <p:txBody>
          <a:bodyPr wrap="square" lIns="0" tIns="0" rIns="0" bIns="0" rtlCol="0">
            <a:spAutoFit/>
          </a:bodyPr>
          <a:lstStyle/>
          <a:p>
            <a:pPr>
              <a:lnSpc>
                <a:spcPts val="1300"/>
              </a:lnSpc>
            </a:pPr>
            <a:r>
              <a:rPr lang="en-GB" sz="1150">
                <a:solidFill>
                  <a:schemeClr val="bg1"/>
                </a:solidFill>
              </a:rPr>
              <a:t>aircanada.com</a:t>
            </a: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74072" y="583030"/>
            <a:ext cx="1657158" cy="1626365"/>
          </a:xfrm>
          <a:prstGeom prst="rect">
            <a:avLst/>
          </a:prstGeom>
        </p:spPr>
      </p:pic>
    </p:spTree>
    <p:extLst>
      <p:ext uri="{BB962C8B-B14F-4D97-AF65-F5344CB8AC3E}">
        <p14:creationId xmlns:p14="http://schemas.microsoft.com/office/powerpoint/2010/main" val="20296754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Segoe UI Semilight" panose="020B0402040204020203" pitchFamily="34" charset="0"/>
                <a:cs typeface="Segoe UI Semilight" panose="020B0402040204020203"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atin typeface="Segoe UI Semilight" panose="020B0402040204020203" pitchFamily="34" charset="0"/>
                <a:cs typeface="Segoe UI Semilight" panose="020B0402040204020203" pitchFamily="34" charset="0"/>
              </a:defRPr>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9969967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4F325B-C38C-45AE-B966-E5BF7CC7B46F}"/>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6EEEA7F0-C5E1-499B-B705-96A4B9FAA574}"/>
              </a:ext>
            </a:extLst>
          </p:cNvPr>
          <p:cNvSpPr>
            <a:spLocks noGrp="1"/>
          </p:cNvSpPr>
          <p:nvPr>
            <p:ph type="ftr" sz="quarter" idx="11"/>
          </p:nvPr>
        </p:nvSpPr>
        <p:spPr/>
        <p:txBody>
          <a:bodyPr/>
          <a:lstStyle/>
          <a:p>
            <a:r>
              <a:rPr lang="en-US"/>
              <a:t>Priveledged and Confidential</a:t>
            </a:r>
          </a:p>
        </p:txBody>
      </p:sp>
      <p:sp>
        <p:nvSpPr>
          <p:cNvPr id="4" name="Slide Number Placeholder 3">
            <a:extLst>
              <a:ext uri="{FF2B5EF4-FFF2-40B4-BE49-F238E27FC236}">
                <a16:creationId xmlns:a16="http://schemas.microsoft.com/office/drawing/2014/main" id="{1EFE00C0-B45B-4E87-8798-262AF28DC644}"/>
              </a:ext>
            </a:extLst>
          </p:cNvPr>
          <p:cNvSpPr>
            <a:spLocks noGrp="1"/>
          </p:cNvSpPr>
          <p:nvPr>
            <p:ph type="sldNum" sz="quarter" idx="12"/>
          </p:nvPr>
        </p:nvSpPr>
        <p:spPr/>
        <p:txBody>
          <a:bodyPr/>
          <a:lstStyle/>
          <a:p>
            <a:fld id="{DCFAC8E4-265A-400A-B2B2-5BD69FF8DA72}" type="slidenum">
              <a:rPr lang="en-US" smtClean="0"/>
              <a:t>‹#›</a:t>
            </a:fld>
            <a:endParaRPr lang="en-US"/>
          </a:p>
        </p:txBody>
      </p:sp>
      <p:sp>
        <p:nvSpPr>
          <p:cNvPr id="5" name="Rectangle 4">
            <a:extLst>
              <a:ext uri="{FF2B5EF4-FFF2-40B4-BE49-F238E27FC236}">
                <a16:creationId xmlns:a16="http://schemas.microsoft.com/office/drawing/2014/main" id="{3F396F5F-1889-43D3-9C8A-E8E8F52E88E5}"/>
              </a:ext>
            </a:extLst>
          </p:cNvPr>
          <p:cNvSpPr/>
          <p:nvPr userDrawn="1"/>
        </p:nvSpPr>
        <p:spPr bwMode="auto">
          <a:xfrm>
            <a:off x="0" y="0"/>
            <a:ext cx="12192000" cy="6286500"/>
          </a:xfrm>
          <a:prstGeom prst="rect">
            <a:avLst/>
          </a:prstGeom>
          <a:solidFill>
            <a:schemeClr val="bg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400"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a:ln>
                <a:noFill/>
              </a:ln>
              <a:solidFill>
                <a:srgbClr val="000000"/>
              </a:solidFill>
              <a:effectLst/>
              <a:uLnTx/>
              <a:uFillTx/>
              <a:latin typeface="Verdana" panose="020B0604030504040204"/>
              <a:ea typeface="+mn-ea"/>
              <a:cs typeface="+mn-cs"/>
            </a:endParaRPr>
          </a:p>
        </p:txBody>
      </p:sp>
    </p:spTree>
    <p:extLst>
      <p:ext uri="{BB962C8B-B14F-4D97-AF65-F5344CB8AC3E}">
        <p14:creationId xmlns:p14="http://schemas.microsoft.com/office/powerpoint/2010/main" val="26578069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Slide-black">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0" y="6318000"/>
            <a:ext cx="12192000" cy="540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hasCustomPrompt="1"/>
          </p:nvPr>
        </p:nvSpPr>
        <p:spPr>
          <a:xfrm>
            <a:off x="864000" y="2925220"/>
            <a:ext cx="10464000" cy="1023931"/>
          </a:xfrm>
        </p:spPr>
        <p:txBody>
          <a:bodyPr anchor="t">
            <a:noAutofit/>
          </a:bodyPr>
          <a:lstStyle>
            <a:lvl1pPr algn="l">
              <a:defRPr sz="2800">
                <a:solidFill>
                  <a:schemeClr val="bg1"/>
                </a:solidFill>
              </a:defRPr>
            </a:lvl1pPr>
          </a:lstStyle>
          <a:p>
            <a:r>
              <a:rPr lang="en-US"/>
              <a:t>Title / </a:t>
            </a:r>
            <a:r>
              <a:rPr lang="en-US" err="1"/>
              <a:t>Titre</a:t>
            </a:r>
            <a:endParaRPr lang="en-US"/>
          </a:p>
        </p:txBody>
      </p:sp>
      <p:sp>
        <p:nvSpPr>
          <p:cNvPr id="3" name="Subtitle 2"/>
          <p:cNvSpPr>
            <a:spLocks noGrp="1"/>
          </p:cNvSpPr>
          <p:nvPr>
            <p:ph type="subTitle" idx="1" hasCustomPrompt="1"/>
          </p:nvPr>
        </p:nvSpPr>
        <p:spPr>
          <a:xfrm>
            <a:off x="864000" y="4068003"/>
            <a:ext cx="10464000" cy="578069"/>
          </a:xfrm>
        </p:spPr>
        <p:txBody>
          <a:bodyPr>
            <a:noAutofit/>
          </a:bodyPr>
          <a:lstStyle>
            <a:lvl1pPr marL="0" indent="0" algn="l">
              <a:lnSpc>
                <a:spcPts val="1600"/>
              </a:lnSpc>
              <a:spcBef>
                <a:spcPts val="0"/>
              </a:spcBef>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 / Nom du </a:t>
            </a:r>
            <a:r>
              <a:rPr lang="en-US" err="1"/>
              <a:t>présentateur</a:t>
            </a:r>
            <a:br>
              <a:rPr lang="en-US"/>
            </a:br>
            <a:r>
              <a:rPr lang="en-US"/>
              <a:t>Department / </a:t>
            </a:r>
            <a:r>
              <a:rPr lang="en-US" err="1"/>
              <a:t>Département</a:t>
            </a:r>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80046" y="6513238"/>
            <a:ext cx="1947956" cy="174559"/>
          </a:xfrm>
          <a:prstGeom prst="rect">
            <a:avLst/>
          </a:prstGeom>
        </p:spPr>
      </p:pic>
      <p:sp>
        <p:nvSpPr>
          <p:cNvPr id="5" name="Text Placeholder 4"/>
          <p:cNvSpPr>
            <a:spLocks noGrp="1"/>
          </p:cNvSpPr>
          <p:nvPr>
            <p:ph type="body" sz="quarter" idx="10" hasCustomPrompt="1"/>
          </p:nvPr>
        </p:nvSpPr>
        <p:spPr>
          <a:xfrm>
            <a:off x="863600" y="4742319"/>
            <a:ext cx="10464800" cy="666750"/>
          </a:xfrm>
        </p:spPr>
        <p:txBody>
          <a:bodyPr/>
          <a:lstStyle>
            <a:lvl1pPr>
              <a:lnSpc>
                <a:spcPts val="1600"/>
              </a:lnSpc>
              <a:defRPr sz="1200" b="1">
                <a:solidFill>
                  <a:schemeClr val="bg1"/>
                </a:solidFill>
              </a:defRPr>
            </a:lvl1pPr>
          </a:lstStyle>
          <a:p>
            <a:pPr lvl="0"/>
            <a:r>
              <a:rPr lang="en-US"/>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4072" y="583030"/>
            <a:ext cx="1657158" cy="1626365"/>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71520" y="6453296"/>
            <a:ext cx="2221596" cy="294437"/>
          </a:xfrm>
          <a:prstGeom prst="rect">
            <a:avLst/>
          </a:prstGeom>
        </p:spPr>
      </p:pic>
    </p:spTree>
    <p:extLst>
      <p:ext uri="{BB962C8B-B14F-4D97-AF65-F5344CB8AC3E}">
        <p14:creationId xmlns:p14="http://schemas.microsoft.com/office/powerpoint/2010/main" val="2930511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Slide-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0" y="0"/>
            <a:ext cx="12192000" cy="6318000"/>
          </a:xfrm>
        </p:spPr>
        <p:txBody>
          <a:bodyPr lIns="720000" rIns="720000" anchor="ctr"/>
          <a:lstStyle>
            <a:lvl1pPr algn="ctr">
              <a:defRPr/>
            </a:lvl1pPr>
          </a:lstStyle>
          <a:p>
            <a:r>
              <a:rPr lang="en-GB"/>
              <a:t>Photo</a:t>
            </a:r>
          </a:p>
        </p:txBody>
      </p:sp>
      <p:sp>
        <p:nvSpPr>
          <p:cNvPr id="2" name="Title 1"/>
          <p:cNvSpPr>
            <a:spLocks noGrp="1"/>
          </p:cNvSpPr>
          <p:nvPr>
            <p:ph type="ctrTitle" hasCustomPrompt="1"/>
          </p:nvPr>
        </p:nvSpPr>
        <p:spPr>
          <a:xfrm>
            <a:off x="864000" y="649358"/>
            <a:ext cx="10464000" cy="980660"/>
          </a:xfrm>
        </p:spPr>
        <p:txBody>
          <a:bodyPr anchor="t">
            <a:noAutofit/>
          </a:bodyPr>
          <a:lstStyle>
            <a:lvl1pPr algn="l">
              <a:defRPr sz="2800">
                <a:solidFill>
                  <a:schemeClr val="bg1"/>
                </a:solidFill>
              </a:defRPr>
            </a:lvl1pPr>
          </a:lstStyle>
          <a:p>
            <a:r>
              <a:rPr lang="en-US"/>
              <a:t>Title / </a:t>
            </a:r>
            <a:r>
              <a:rPr lang="en-US" err="1"/>
              <a:t>Titre</a:t>
            </a:r>
            <a:endParaRPr lang="en-US"/>
          </a:p>
        </p:txBody>
      </p:sp>
      <p:sp>
        <p:nvSpPr>
          <p:cNvPr id="11" name="Rectangle 10"/>
          <p:cNvSpPr/>
          <p:nvPr userDrawn="1"/>
        </p:nvSpPr>
        <p:spPr>
          <a:xfrm>
            <a:off x="0" y="6318000"/>
            <a:ext cx="12192000" cy="540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hasCustomPrompt="1"/>
          </p:nvPr>
        </p:nvSpPr>
        <p:spPr>
          <a:xfrm>
            <a:off x="864000" y="1764002"/>
            <a:ext cx="10464000" cy="584563"/>
          </a:xfrm>
        </p:spPr>
        <p:txBody>
          <a:bodyPr>
            <a:noAutofit/>
          </a:bodyPr>
          <a:lstStyle>
            <a:lvl1pPr marL="0" indent="0" algn="l">
              <a:lnSpc>
                <a:spcPts val="1600"/>
              </a:lnSpc>
              <a:spcBef>
                <a:spcPts val="0"/>
              </a:spcBef>
              <a:buNone/>
              <a:defRPr sz="1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 / Nom du </a:t>
            </a:r>
            <a:r>
              <a:rPr lang="en-US" err="1"/>
              <a:t>présentateur</a:t>
            </a:r>
            <a:br>
              <a:rPr lang="en-US"/>
            </a:br>
            <a:r>
              <a:rPr lang="en-US"/>
              <a:t>Department / </a:t>
            </a:r>
            <a:r>
              <a:rPr lang="en-US" err="1"/>
              <a:t>Département</a:t>
            </a:r>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80046" y="6513238"/>
            <a:ext cx="1947956" cy="174559"/>
          </a:xfrm>
          <a:prstGeom prst="rect">
            <a:avLst/>
          </a:prstGeom>
        </p:spPr>
      </p:pic>
      <p:sp>
        <p:nvSpPr>
          <p:cNvPr id="9" name="Text Placeholder 4"/>
          <p:cNvSpPr>
            <a:spLocks noGrp="1"/>
          </p:cNvSpPr>
          <p:nvPr>
            <p:ph type="body" sz="quarter" idx="11" hasCustomPrompt="1"/>
          </p:nvPr>
        </p:nvSpPr>
        <p:spPr>
          <a:xfrm>
            <a:off x="863600" y="2444814"/>
            <a:ext cx="10464800" cy="666750"/>
          </a:xfrm>
        </p:spPr>
        <p:txBody>
          <a:bodyPr/>
          <a:lstStyle>
            <a:lvl1pPr>
              <a:lnSpc>
                <a:spcPts val="1600"/>
              </a:lnSpc>
              <a:defRPr sz="1200" b="1">
                <a:solidFill>
                  <a:schemeClr val="bg1"/>
                </a:solidFill>
              </a:defRPr>
            </a:lvl1pPr>
          </a:lstStyle>
          <a:p>
            <a:pPr lvl="0"/>
            <a:r>
              <a:rPr lang="en-US"/>
              <a:t>Da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1520" y="6453296"/>
            <a:ext cx="2221596" cy="294437"/>
          </a:xfrm>
          <a:prstGeom prst="rect">
            <a:avLst/>
          </a:prstGeom>
        </p:spPr>
      </p:pic>
    </p:spTree>
    <p:extLst>
      <p:ext uri="{BB962C8B-B14F-4D97-AF65-F5344CB8AC3E}">
        <p14:creationId xmlns:p14="http://schemas.microsoft.com/office/powerpoint/2010/main" val="3478401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Slide-white">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6318000"/>
            <a:ext cx="12192000" cy="540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hasCustomPrompt="1"/>
          </p:nvPr>
        </p:nvSpPr>
        <p:spPr>
          <a:xfrm>
            <a:off x="864000" y="2925220"/>
            <a:ext cx="10464000" cy="1023931"/>
          </a:xfrm>
        </p:spPr>
        <p:txBody>
          <a:bodyPr anchor="t">
            <a:noAutofit/>
          </a:bodyPr>
          <a:lstStyle>
            <a:lvl1pPr algn="l">
              <a:defRPr sz="2800">
                <a:solidFill>
                  <a:schemeClr val="tx1"/>
                </a:solidFill>
              </a:defRPr>
            </a:lvl1pPr>
          </a:lstStyle>
          <a:p>
            <a:r>
              <a:rPr lang="en-US"/>
              <a:t>Title / </a:t>
            </a:r>
            <a:r>
              <a:rPr lang="en-US" err="1"/>
              <a:t>Titre</a:t>
            </a:r>
            <a:endParaRPr lang="en-US"/>
          </a:p>
        </p:txBody>
      </p:sp>
      <p:sp>
        <p:nvSpPr>
          <p:cNvPr id="3" name="Subtitle 2"/>
          <p:cNvSpPr>
            <a:spLocks noGrp="1"/>
          </p:cNvSpPr>
          <p:nvPr>
            <p:ph type="subTitle" idx="1" hasCustomPrompt="1"/>
          </p:nvPr>
        </p:nvSpPr>
        <p:spPr>
          <a:xfrm>
            <a:off x="864000" y="4068000"/>
            <a:ext cx="10464000" cy="579600"/>
          </a:xfrm>
        </p:spPr>
        <p:txBody>
          <a:bodyPr>
            <a:noAutofit/>
          </a:bodyPr>
          <a:lstStyle>
            <a:lvl1pPr marL="0" indent="0" algn="l">
              <a:lnSpc>
                <a:spcPts val="1600"/>
              </a:lnSpc>
              <a:spcBef>
                <a:spcPts val="0"/>
              </a:spcBef>
              <a:buNone/>
              <a:defRPr sz="12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 / Nom du </a:t>
            </a:r>
            <a:r>
              <a:rPr lang="en-US" err="1"/>
              <a:t>présentateur</a:t>
            </a:r>
            <a:br>
              <a:rPr lang="en-US"/>
            </a:br>
            <a:r>
              <a:rPr lang="en-US"/>
              <a:t>Department / </a:t>
            </a:r>
            <a:r>
              <a:rPr lang="en-US" err="1"/>
              <a:t>Département</a:t>
            </a:r>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80046" y="6513238"/>
            <a:ext cx="1947956" cy="174559"/>
          </a:xfrm>
          <a:prstGeom prst="rect">
            <a:avLst/>
          </a:prstGeom>
        </p:spPr>
      </p:pic>
      <p:cxnSp>
        <p:nvCxnSpPr>
          <p:cNvPr id="9" name="Straight Connector 8"/>
          <p:cNvCxnSpPr/>
          <p:nvPr userDrawn="1"/>
        </p:nvCxnSpPr>
        <p:spPr>
          <a:xfrm>
            <a:off x="864000" y="6318208"/>
            <a:ext cx="10464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4"/>
          <p:cNvSpPr>
            <a:spLocks noGrp="1"/>
          </p:cNvSpPr>
          <p:nvPr>
            <p:ph type="body" sz="quarter" idx="10" hasCustomPrompt="1"/>
          </p:nvPr>
        </p:nvSpPr>
        <p:spPr>
          <a:xfrm>
            <a:off x="863600" y="4742319"/>
            <a:ext cx="10464800" cy="666750"/>
          </a:xfrm>
        </p:spPr>
        <p:txBody>
          <a:bodyPr/>
          <a:lstStyle>
            <a:lvl1pPr>
              <a:lnSpc>
                <a:spcPts val="1600"/>
              </a:lnSpc>
              <a:defRPr sz="1200" b="1">
                <a:solidFill>
                  <a:schemeClr val="tx1"/>
                </a:solidFill>
              </a:defRPr>
            </a:lvl1pPr>
          </a:lstStyle>
          <a:p>
            <a:pPr lvl="0"/>
            <a:r>
              <a:rPr lang="en-US"/>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4072" y="583030"/>
            <a:ext cx="1657158" cy="1626365"/>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71520" y="6453296"/>
            <a:ext cx="2221596" cy="294437"/>
          </a:xfrm>
          <a:prstGeom prst="rect">
            <a:avLst/>
          </a:prstGeom>
        </p:spPr>
      </p:pic>
    </p:spTree>
    <p:extLst>
      <p:ext uri="{BB962C8B-B14F-4D97-AF65-F5344CB8AC3E}">
        <p14:creationId xmlns:p14="http://schemas.microsoft.com/office/powerpoint/2010/main" val="2554921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Slide-white">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6318000"/>
            <a:ext cx="12192000" cy="540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hasCustomPrompt="1"/>
          </p:nvPr>
        </p:nvSpPr>
        <p:spPr>
          <a:xfrm>
            <a:off x="864000" y="2925220"/>
            <a:ext cx="10464000" cy="1023931"/>
          </a:xfrm>
        </p:spPr>
        <p:txBody>
          <a:bodyPr anchor="t">
            <a:noAutofit/>
          </a:bodyPr>
          <a:lstStyle>
            <a:lvl1pPr algn="l">
              <a:defRPr sz="2800">
                <a:solidFill>
                  <a:schemeClr val="tx1"/>
                </a:solidFill>
              </a:defRPr>
            </a:lvl1pPr>
          </a:lstStyle>
          <a:p>
            <a:r>
              <a:rPr lang="en-US"/>
              <a:t>Title / </a:t>
            </a:r>
            <a:r>
              <a:rPr lang="en-US" err="1"/>
              <a:t>Titre</a:t>
            </a:r>
            <a:endParaRPr lang="en-US"/>
          </a:p>
        </p:txBody>
      </p:sp>
      <p:sp>
        <p:nvSpPr>
          <p:cNvPr id="3" name="Subtitle 2"/>
          <p:cNvSpPr>
            <a:spLocks noGrp="1"/>
          </p:cNvSpPr>
          <p:nvPr>
            <p:ph type="subTitle" idx="1" hasCustomPrompt="1"/>
          </p:nvPr>
        </p:nvSpPr>
        <p:spPr>
          <a:xfrm>
            <a:off x="864000" y="4068000"/>
            <a:ext cx="10464000" cy="579600"/>
          </a:xfrm>
        </p:spPr>
        <p:txBody>
          <a:bodyPr>
            <a:noAutofit/>
          </a:bodyPr>
          <a:lstStyle>
            <a:lvl1pPr marL="0" indent="0" algn="l">
              <a:lnSpc>
                <a:spcPts val="1600"/>
              </a:lnSpc>
              <a:spcBef>
                <a:spcPts val="0"/>
              </a:spcBef>
              <a:buNone/>
              <a:defRPr sz="12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 / Nom du </a:t>
            </a:r>
            <a:r>
              <a:rPr lang="en-US" err="1"/>
              <a:t>présentateur</a:t>
            </a:r>
            <a:br>
              <a:rPr lang="en-US"/>
            </a:br>
            <a:r>
              <a:rPr lang="en-US"/>
              <a:t>Department / </a:t>
            </a:r>
            <a:r>
              <a:rPr lang="en-US" err="1"/>
              <a:t>Département</a:t>
            </a:r>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0046" y="6513238"/>
            <a:ext cx="1947956" cy="174559"/>
          </a:xfrm>
          <a:prstGeom prst="rect">
            <a:avLst/>
          </a:prstGeom>
        </p:spPr>
      </p:pic>
      <p:cxnSp>
        <p:nvCxnSpPr>
          <p:cNvPr id="9" name="Straight Connector 8"/>
          <p:cNvCxnSpPr/>
          <p:nvPr userDrawn="1"/>
        </p:nvCxnSpPr>
        <p:spPr>
          <a:xfrm>
            <a:off x="864000" y="6318208"/>
            <a:ext cx="10464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4"/>
          <p:cNvSpPr>
            <a:spLocks noGrp="1"/>
          </p:cNvSpPr>
          <p:nvPr>
            <p:ph type="body" sz="quarter" idx="10" hasCustomPrompt="1"/>
          </p:nvPr>
        </p:nvSpPr>
        <p:spPr>
          <a:xfrm>
            <a:off x="863600" y="4742319"/>
            <a:ext cx="10464800" cy="666750"/>
          </a:xfrm>
        </p:spPr>
        <p:txBody>
          <a:bodyPr/>
          <a:lstStyle>
            <a:lvl1pPr>
              <a:lnSpc>
                <a:spcPts val="1600"/>
              </a:lnSpc>
              <a:defRPr sz="1200" b="1">
                <a:solidFill>
                  <a:schemeClr val="tx1"/>
                </a:solidFill>
              </a:defRPr>
            </a:lvl1pPr>
          </a:lstStyle>
          <a:p>
            <a:pPr lvl="0"/>
            <a:r>
              <a:rPr lang="en-US"/>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74072" y="583030"/>
            <a:ext cx="1657158" cy="1626365"/>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871520" y="6453296"/>
            <a:ext cx="2221596" cy="294437"/>
          </a:xfrm>
          <a:prstGeom prst="rect">
            <a:avLst/>
          </a:prstGeom>
        </p:spPr>
      </p:pic>
    </p:spTree>
    <p:extLst>
      <p:ext uri="{BB962C8B-B14F-4D97-AF65-F5344CB8AC3E}">
        <p14:creationId xmlns:p14="http://schemas.microsoft.com/office/powerpoint/2010/main" val="22200600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Content-white">
    <p:spTree>
      <p:nvGrpSpPr>
        <p:cNvPr id="1" name=""/>
        <p:cNvGrpSpPr/>
        <p:nvPr/>
      </p:nvGrpSpPr>
      <p:grpSpPr>
        <a:xfrm>
          <a:off x="0" y="0"/>
          <a:ext cx="0" cy="0"/>
          <a:chOff x="0" y="0"/>
          <a:chExt cx="0" cy="0"/>
        </a:xfrm>
      </p:grpSpPr>
      <p:sp>
        <p:nvSpPr>
          <p:cNvPr id="8" name="Rectangle 7"/>
          <p:cNvSpPr/>
          <p:nvPr userDrawn="1"/>
        </p:nvSpPr>
        <p:spPr>
          <a:xfrm>
            <a:off x="0" y="6318000"/>
            <a:ext cx="12192000" cy="540000"/>
          </a:xfrm>
          <a:prstGeom prst="rect">
            <a:avLst/>
          </a:prstGeom>
          <a:solidFill>
            <a:schemeClr val="tx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p>
            <a:r>
              <a:rPr lang="en-US"/>
              <a:t>Title / </a:t>
            </a:r>
            <a:r>
              <a:rPr lang="en-US" err="1"/>
              <a:t>Titre</a:t>
            </a:r>
            <a:endParaRPr lang="en-US"/>
          </a:p>
        </p:txBody>
      </p:sp>
      <p:sp>
        <p:nvSpPr>
          <p:cNvPr id="3" name="Content Placeholder 2"/>
          <p:cNvSpPr>
            <a:spLocks noGrp="1"/>
          </p:cNvSpPr>
          <p:nvPr>
            <p:ph idx="1" hasCustomPrompt="1"/>
          </p:nvPr>
        </p:nvSpPr>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568325" indent="283464">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lvl="3"/>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sp>
        <p:nvSpPr>
          <p:cNvPr id="6" name="Slide Number Placeholder 5"/>
          <p:cNvSpPr>
            <a:spLocks noGrp="1"/>
          </p:cNvSpPr>
          <p:nvPr>
            <p:ph type="sldNum" sz="quarter" idx="12"/>
          </p:nvPr>
        </p:nvSpPr>
        <p:spPr>
          <a:xfrm>
            <a:off x="8610600" y="6406477"/>
            <a:ext cx="2743200" cy="365125"/>
          </a:xfrm>
        </p:spPr>
        <p:txBody>
          <a:bodyPr/>
          <a:lstStyle/>
          <a:p>
            <a:fld id="{D7012407-5950-B949-8BF3-E7EA9ADCB58D}" type="slidenum">
              <a:rPr lang="en-GB" smtClean="0"/>
              <a:t>‹#›</a:t>
            </a:fld>
            <a:endParaRPr lang="en-GB"/>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2850927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Content-black">
    <p:bg>
      <p:bgPr>
        <a:solidFill>
          <a:schemeClr val="tx1"/>
        </a:solidFill>
        <a:effectLst/>
      </p:bgPr>
    </p:bg>
    <p:spTree>
      <p:nvGrpSpPr>
        <p:cNvPr id="1" name=""/>
        <p:cNvGrpSpPr/>
        <p:nvPr/>
      </p:nvGrpSpPr>
      <p:grpSpPr>
        <a:xfrm>
          <a:off x="0" y="0"/>
          <a:ext cx="0" cy="0"/>
          <a:chOff x="0" y="0"/>
          <a:chExt cx="0" cy="0"/>
        </a:xfrm>
      </p:grpSpPr>
      <p:sp>
        <p:nvSpPr>
          <p:cNvPr id="8" name="Rectangle 7"/>
          <p:cNvSpPr/>
          <p:nvPr userDrawn="1"/>
        </p:nvSpPr>
        <p:spPr>
          <a:xfrm>
            <a:off x="0" y="6174000"/>
            <a:ext cx="12192000" cy="684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lvl1pPr>
              <a:defRPr>
                <a:solidFill>
                  <a:schemeClr val="bg1"/>
                </a:solidFill>
              </a:defRPr>
            </a:lvl1pPr>
          </a:lstStyle>
          <a:p>
            <a:r>
              <a:rPr lang="en-US"/>
              <a:t>Title / </a:t>
            </a:r>
            <a:r>
              <a:rPr lang="en-US" err="1"/>
              <a:t>Titre</a:t>
            </a:r>
            <a:endParaRPr lang="en-US"/>
          </a:p>
        </p:txBody>
      </p:sp>
      <p:sp>
        <p:nvSpPr>
          <p:cNvPr id="6" name="Slide Number Placeholder 5"/>
          <p:cNvSpPr>
            <a:spLocks noGrp="1"/>
          </p:cNvSpPr>
          <p:nvPr>
            <p:ph type="sldNum" sz="quarter" idx="12"/>
          </p:nvPr>
        </p:nvSpPr>
        <p:spPr>
          <a:xfrm>
            <a:off x="8610600" y="6408003"/>
            <a:ext cx="2743200" cy="365125"/>
          </a:xfrm>
        </p:spPr>
        <p:txBody>
          <a:bodyPr/>
          <a:lstStyle/>
          <a:p>
            <a:fld id="{D7012407-5950-B949-8BF3-E7EA9ADCB58D}" type="slidenum">
              <a:rPr lang="en-GB" smtClean="0"/>
              <a:t>‹#›</a:t>
            </a:fld>
            <a:endParaRPr lang="en-GB"/>
          </a:p>
        </p:txBody>
      </p:sp>
      <p:cxnSp>
        <p:nvCxnSpPr>
          <p:cNvPr id="9" name="Straight Connector 8"/>
          <p:cNvCxnSpPr/>
          <p:nvPr userDrawn="1"/>
        </p:nvCxnSpPr>
        <p:spPr>
          <a:xfrm>
            <a:off x="864000" y="6318208"/>
            <a:ext cx="1046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idx="1" hasCustomPrompt="1"/>
          </p:nvPr>
        </p:nvSpPr>
        <p:spPr>
          <a:xfrm>
            <a:off x="864000" y="1524323"/>
            <a:ext cx="10464000" cy="4681647"/>
          </a:xfrm>
        </p:spPr>
        <p:txBody>
          <a:bodyPr/>
          <a:lstStyle>
            <a:lvl1pPr>
              <a:lnSpc>
                <a:spcPts val="2400"/>
              </a:lnSpc>
              <a:defRPr spc="40" baseline="0">
                <a:solidFill>
                  <a:schemeClr val="bg1"/>
                </a:solidFill>
              </a:defRPr>
            </a:lvl1pPr>
            <a:lvl2pPr marL="0" indent="283464">
              <a:lnSpc>
                <a:spcPts val="2400"/>
              </a:lnSpc>
              <a:buSzPct val="100000"/>
              <a:buFont typeface="Arial" panose="020B0604020202020204" pitchFamily="34" charset="0"/>
              <a:buChar char="•"/>
              <a:defRPr spc="40" baseline="0">
                <a:solidFill>
                  <a:schemeClr val="bg1"/>
                </a:solidFill>
              </a:defRPr>
            </a:lvl2pPr>
            <a:lvl3pPr marL="284163" indent="283464">
              <a:lnSpc>
                <a:spcPts val="2400"/>
              </a:lnSpc>
              <a:buSzPct val="120000"/>
              <a:buFont typeface="Verdana" panose="020B0604030504040204" pitchFamily="34" charset="0"/>
              <a:buChar char="–"/>
              <a:defRPr spc="40" baseline="0">
                <a:solidFill>
                  <a:schemeClr val="bg1"/>
                </a:solidFill>
              </a:defRPr>
            </a:lvl3pPr>
            <a:lvl4pPr marL="854075" indent="-285750">
              <a:buSzPct val="120000"/>
              <a:buFont typeface="Verdana" panose="020B0604030504040204" pitchFamily="34" charset="0"/>
              <a:buChar char="–"/>
              <a:tabLst/>
              <a:defRPr lang="en-US" sz="1400" kern="1200" spc="40" baseline="0" dirty="0" smtClean="0">
                <a:solidFill>
                  <a:schemeClr val="bg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22604560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Content-grey">
    <p:bg>
      <p:bgPr>
        <a:solidFill>
          <a:schemeClr val="bg2"/>
        </a:solidFill>
        <a:effectLst/>
      </p:bgPr>
    </p:bg>
    <p:spTree>
      <p:nvGrpSpPr>
        <p:cNvPr id="1" name=""/>
        <p:cNvGrpSpPr/>
        <p:nvPr/>
      </p:nvGrpSpPr>
      <p:grpSpPr>
        <a:xfrm>
          <a:off x="0" y="0"/>
          <a:ext cx="0" cy="0"/>
          <a:chOff x="0" y="0"/>
          <a:chExt cx="0" cy="0"/>
        </a:xfrm>
      </p:grpSpPr>
      <p:sp>
        <p:nvSpPr>
          <p:cNvPr id="8" name="Rectangle 7"/>
          <p:cNvSpPr/>
          <p:nvPr userDrawn="1"/>
        </p:nvSpPr>
        <p:spPr>
          <a:xfrm>
            <a:off x="0" y="6318000"/>
            <a:ext cx="12192000" cy="540000"/>
          </a:xfrm>
          <a:prstGeom prst="rect">
            <a:avLst/>
          </a:prstGeom>
          <a:solidFill>
            <a:schemeClr val="tx1"/>
          </a:solidFill>
          <a:ln>
            <a:solidFill>
              <a:srgbClr val="D2D0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p>
            <a:r>
              <a:rPr lang="en-US"/>
              <a:t>Title / </a:t>
            </a:r>
            <a:r>
              <a:rPr lang="en-US" err="1"/>
              <a:t>Titre</a:t>
            </a:r>
            <a:endParaRPr lang="en-US"/>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10" name="Content Placeholder 2"/>
          <p:cNvSpPr>
            <a:spLocks noGrp="1"/>
          </p:cNvSpPr>
          <p:nvPr>
            <p:ph idx="1" hasCustomPrompt="1"/>
          </p:nvPr>
        </p:nvSpPr>
        <p:spPr>
          <a:xfrm>
            <a:off x="864000" y="1524000"/>
            <a:ext cx="10464000" cy="4681970"/>
          </a:xfrm>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854075" indent="-285750">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20870459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nt+image-white">
    <p:spTree>
      <p:nvGrpSpPr>
        <p:cNvPr id="1" name=""/>
        <p:cNvGrpSpPr/>
        <p:nvPr/>
      </p:nvGrpSpPr>
      <p:grpSpPr>
        <a:xfrm>
          <a:off x="0" y="0"/>
          <a:ext cx="0" cy="0"/>
          <a:chOff x="0" y="0"/>
          <a:chExt cx="0" cy="0"/>
        </a:xfrm>
      </p:grpSpPr>
      <p:sp>
        <p:nvSpPr>
          <p:cNvPr id="8" name="Rectangle 7"/>
          <p:cNvSpPr/>
          <p:nvPr userDrawn="1"/>
        </p:nvSpPr>
        <p:spPr>
          <a:xfrm>
            <a:off x="0" y="6318000"/>
            <a:ext cx="12192000" cy="540000"/>
          </a:xfrm>
          <a:prstGeom prst="rect">
            <a:avLst/>
          </a:prstGeom>
          <a:solidFill>
            <a:schemeClr val="tx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p>
            <a:r>
              <a:rPr lang="en-US"/>
              <a:t>Title / </a:t>
            </a:r>
            <a:r>
              <a:rPr lang="en-US" err="1"/>
              <a:t>Titre</a:t>
            </a:r>
            <a:endParaRPr lang="en-US"/>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5" name="Picture Placeholder 4"/>
          <p:cNvSpPr>
            <a:spLocks noGrp="1"/>
          </p:cNvSpPr>
          <p:nvPr>
            <p:ph type="pic" sz="quarter" idx="13" hasCustomPrompt="1"/>
          </p:nvPr>
        </p:nvSpPr>
        <p:spPr>
          <a:xfrm>
            <a:off x="7056000" y="1524000"/>
            <a:ext cx="4272000" cy="4033970"/>
          </a:xfrm>
        </p:spPr>
        <p:txBody>
          <a:bodyPr lIns="720000" rIns="720000" anchor="ctr"/>
          <a:lstStyle>
            <a:lvl1pPr algn="ctr">
              <a:defRPr>
                <a:solidFill>
                  <a:schemeClr val="tx1"/>
                </a:solidFill>
              </a:defRPr>
            </a:lvl1pPr>
          </a:lstStyle>
          <a:p>
            <a:r>
              <a:rPr lang="en-GB"/>
              <a:t>Photo</a:t>
            </a:r>
          </a:p>
        </p:txBody>
      </p:sp>
      <p:sp>
        <p:nvSpPr>
          <p:cNvPr id="11" name="Content Placeholder 2"/>
          <p:cNvSpPr>
            <a:spLocks noGrp="1"/>
          </p:cNvSpPr>
          <p:nvPr>
            <p:ph idx="1" hasCustomPrompt="1"/>
          </p:nvPr>
        </p:nvSpPr>
        <p:spPr>
          <a:xfrm>
            <a:off x="864001" y="1524000"/>
            <a:ext cx="6058347" cy="4681970"/>
          </a:xfrm>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854075" indent="-285750">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14007463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nt+image-black">
    <p:bg>
      <p:bgPr>
        <a:solidFill>
          <a:schemeClr val="tx1"/>
        </a:solidFill>
        <a:effectLst/>
      </p:bgPr>
    </p:bg>
    <p:spTree>
      <p:nvGrpSpPr>
        <p:cNvPr id="1" name=""/>
        <p:cNvGrpSpPr/>
        <p:nvPr/>
      </p:nvGrpSpPr>
      <p:grpSpPr>
        <a:xfrm>
          <a:off x="0" y="0"/>
          <a:ext cx="0" cy="0"/>
          <a:chOff x="0" y="0"/>
          <a:chExt cx="0" cy="0"/>
        </a:xfrm>
      </p:grpSpPr>
      <p:sp>
        <p:nvSpPr>
          <p:cNvPr id="8" name="Rectangle 7"/>
          <p:cNvSpPr/>
          <p:nvPr userDrawn="1"/>
        </p:nvSpPr>
        <p:spPr>
          <a:xfrm>
            <a:off x="0" y="6174000"/>
            <a:ext cx="12192000" cy="684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lvl1pPr>
              <a:defRPr>
                <a:solidFill>
                  <a:schemeClr val="bg1"/>
                </a:solidFill>
              </a:defRPr>
            </a:lvl1pPr>
          </a:lstStyle>
          <a:p>
            <a:r>
              <a:rPr lang="en-US"/>
              <a:t>Title / </a:t>
            </a:r>
            <a:r>
              <a:rPr lang="en-US" err="1"/>
              <a:t>Titre</a:t>
            </a:r>
            <a:endParaRPr lang="en-US"/>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7" name="Picture Placeholder 6"/>
          <p:cNvSpPr>
            <a:spLocks noGrp="1"/>
          </p:cNvSpPr>
          <p:nvPr>
            <p:ph type="pic" sz="quarter" idx="13" hasCustomPrompt="1"/>
          </p:nvPr>
        </p:nvSpPr>
        <p:spPr>
          <a:xfrm>
            <a:off x="7056000" y="1524000"/>
            <a:ext cx="4272000" cy="4033970"/>
          </a:xfrm>
        </p:spPr>
        <p:txBody>
          <a:bodyPr lIns="720000" rIns="720000" anchor="ctr"/>
          <a:lstStyle>
            <a:lvl1pPr algn="ctr">
              <a:defRPr>
                <a:solidFill>
                  <a:schemeClr val="bg1"/>
                </a:solidFill>
              </a:defRPr>
            </a:lvl1pPr>
          </a:lstStyle>
          <a:p>
            <a:r>
              <a:rPr lang="en-GB"/>
              <a:t>Photo</a:t>
            </a:r>
          </a:p>
        </p:txBody>
      </p:sp>
      <p:cxnSp>
        <p:nvCxnSpPr>
          <p:cNvPr id="9" name="Straight Connector 8"/>
          <p:cNvCxnSpPr/>
          <p:nvPr userDrawn="1"/>
        </p:nvCxnSpPr>
        <p:spPr>
          <a:xfrm>
            <a:off x="864000" y="6318208"/>
            <a:ext cx="1046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 hasCustomPrompt="1"/>
          </p:nvPr>
        </p:nvSpPr>
        <p:spPr>
          <a:xfrm>
            <a:off x="864001" y="1524000"/>
            <a:ext cx="6058347" cy="4681970"/>
          </a:xfrm>
        </p:spPr>
        <p:txBody>
          <a:bodyPr/>
          <a:lstStyle>
            <a:lvl1pPr>
              <a:lnSpc>
                <a:spcPts val="2400"/>
              </a:lnSpc>
              <a:defRPr spc="40" baseline="0">
                <a:solidFill>
                  <a:schemeClr val="bg1"/>
                </a:solidFill>
              </a:defRPr>
            </a:lvl1pPr>
            <a:lvl2pPr marL="0" indent="283464">
              <a:lnSpc>
                <a:spcPts val="2400"/>
              </a:lnSpc>
              <a:buSzPct val="100000"/>
              <a:buFont typeface="Arial" panose="020B0604020202020204" pitchFamily="34" charset="0"/>
              <a:buChar char="•"/>
              <a:defRPr spc="40" baseline="0">
                <a:solidFill>
                  <a:schemeClr val="bg1"/>
                </a:solidFill>
              </a:defRPr>
            </a:lvl2pPr>
            <a:lvl3pPr marL="284163" indent="283464">
              <a:lnSpc>
                <a:spcPts val="2400"/>
              </a:lnSpc>
              <a:buSzPct val="120000"/>
              <a:buFont typeface="Verdana" panose="020B0604030504040204" pitchFamily="34" charset="0"/>
              <a:buChar char="–"/>
              <a:defRPr spc="40" baseline="0">
                <a:solidFill>
                  <a:schemeClr val="bg1"/>
                </a:solidFill>
              </a:defRPr>
            </a:lvl3pPr>
            <a:lvl4pPr marL="854075" indent="-285750">
              <a:buSzPct val="120000"/>
              <a:buFont typeface="Verdana" panose="020B0604030504040204" pitchFamily="34" charset="0"/>
              <a:buChar char="–"/>
              <a:tabLst/>
              <a:defRPr lang="en-US" sz="1400" kern="1200" spc="40" baseline="0" dirty="0" smtClean="0">
                <a:solidFill>
                  <a:schemeClr val="bg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3028481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nt+image-grey">
    <p:bg>
      <p:bgPr>
        <a:solidFill>
          <a:schemeClr val="bg2"/>
        </a:solidFill>
        <a:effectLst/>
      </p:bgPr>
    </p:bg>
    <p:spTree>
      <p:nvGrpSpPr>
        <p:cNvPr id="1" name=""/>
        <p:cNvGrpSpPr/>
        <p:nvPr/>
      </p:nvGrpSpPr>
      <p:grpSpPr>
        <a:xfrm>
          <a:off x="0" y="0"/>
          <a:ext cx="0" cy="0"/>
          <a:chOff x="0" y="0"/>
          <a:chExt cx="0" cy="0"/>
        </a:xfrm>
      </p:grpSpPr>
      <p:sp>
        <p:nvSpPr>
          <p:cNvPr id="8" name="Rectangle 7"/>
          <p:cNvSpPr/>
          <p:nvPr userDrawn="1"/>
        </p:nvSpPr>
        <p:spPr>
          <a:xfrm>
            <a:off x="0" y="6318000"/>
            <a:ext cx="12192000" cy="540000"/>
          </a:xfrm>
          <a:prstGeom prst="rect">
            <a:avLst/>
          </a:prstGeom>
          <a:solidFill>
            <a:schemeClr val="tx1"/>
          </a:solidFill>
          <a:ln>
            <a:solidFill>
              <a:srgbClr val="D2D0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p>
            <a:r>
              <a:rPr lang="en-US"/>
              <a:t>Title / </a:t>
            </a:r>
            <a:r>
              <a:rPr lang="en-US" err="1"/>
              <a:t>Titre</a:t>
            </a:r>
            <a:endParaRPr lang="en-US"/>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5" name="Picture Placeholder 4"/>
          <p:cNvSpPr>
            <a:spLocks noGrp="1"/>
          </p:cNvSpPr>
          <p:nvPr>
            <p:ph type="pic" sz="quarter" idx="13" hasCustomPrompt="1"/>
          </p:nvPr>
        </p:nvSpPr>
        <p:spPr>
          <a:xfrm>
            <a:off x="7056000" y="1524000"/>
            <a:ext cx="4272000" cy="4033970"/>
          </a:xfrm>
        </p:spPr>
        <p:txBody>
          <a:bodyPr lIns="720000" rIns="720000" anchor="ctr"/>
          <a:lstStyle>
            <a:lvl1pPr algn="ctr">
              <a:defRPr/>
            </a:lvl1pPr>
          </a:lstStyle>
          <a:p>
            <a:r>
              <a:rPr lang="en-GB"/>
              <a:t>Photo</a:t>
            </a:r>
          </a:p>
        </p:txBody>
      </p:sp>
      <p:sp>
        <p:nvSpPr>
          <p:cNvPr id="11" name="Content Placeholder 2"/>
          <p:cNvSpPr>
            <a:spLocks noGrp="1"/>
          </p:cNvSpPr>
          <p:nvPr>
            <p:ph idx="1" hasCustomPrompt="1"/>
          </p:nvPr>
        </p:nvSpPr>
        <p:spPr>
          <a:xfrm>
            <a:off x="864001" y="1524000"/>
            <a:ext cx="6058347" cy="4681970"/>
          </a:xfrm>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854075" indent="-285750">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14595533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aphOrTable">
    <p:spTree>
      <p:nvGrpSpPr>
        <p:cNvPr id="1" name=""/>
        <p:cNvGrpSpPr/>
        <p:nvPr/>
      </p:nvGrpSpPr>
      <p:grpSpPr>
        <a:xfrm>
          <a:off x="0" y="0"/>
          <a:ext cx="0" cy="0"/>
          <a:chOff x="0" y="0"/>
          <a:chExt cx="0" cy="0"/>
        </a:xfrm>
      </p:grpSpPr>
      <p:sp>
        <p:nvSpPr>
          <p:cNvPr id="8" name="Rectangle 7"/>
          <p:cNvSpPr/>
          <p:nvPr userDrawn="1"/>
        </p:nvSpPr>
        <p:spPr>
          <a:xfrm>
            <a:off x="0" y="6318000"/>
            <a:ext cx="12192000" cy="540000"/>
          </a:xfrm>
          <a:prstGeom prst="rect">
            <a:avLst/>
          </a:prstGeom>
          <a:solidFill>
            <a:schemeClr val="tx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a:xfrm>
            <a:off x="864000" y="576001"/>
            <a:ext cx="10464000" cy="719400"/>
          </a:xfrm>
        </p:spPr>
        <p:txBody>
          <a:bodyPr/>
          <a:lstStyle>
            <a:lvl1pPr>
              <a:defRPr/>
            </a:lvl1pPr>
          </a:lstStyle>
          <a:p>
            <a:r>
              <a:rPr lang="en-US"/>
              <a:t>Title / </a:t>
            </a:r>
            <a:r>
              <a:rPr lang="en-US" err="1"/>
              <a:t>Titre</a:t>
            </a:r>
            <a:br>
              <a:rPr lang="en-US"/>
            </a:br>
            <a:br>
              <a:rPr lang="en-US"/>
            </a:br>
            <a:endParaRPr lang="en-US"/>
          </a:p>
        </p:txBody>
      </p:sp>
      <p:sp>
        <p:nvSpPr>
          <p:cNvPr id="7" name="Text Placeholder 6"/>
          <p:cNvSpPr>
            <a:spLocks noGrp="1"/>
          </p:cNvSpPr>
          <p:nvPr>
            <p:ph type="body" sz="quarter" idx="13" hasCustomPrompt="1"/>
          </p:nvPr>
        </p:nvSpPr>
        <p:spPr>
          <a:xfrm>
            <a:off x="864000" y="1524000"/>
            <a:ext cx="10464400" cy="528319"/>
          </a:xfrm>
        </p:spPr>
        <p:txBody>
          <a:bodyPr/>
          <a:lstStyle>
            <a:lvl1pPr>
              <a:lnSpc>
                <a:spcPts val="2400"/>
              </a:lnSpc>
              <a:defRPr sz="1700" spc="40" baseline="0"/>
            </a:lvl1pPr>
            <a:lvl2pPr marL="0" indent="216000">
              <a:lnSpc>
                <a:spcPts val="2400"/>
              </a:lnSpc>
              <a:buFont typeface="CambriaMath" charset="0"/>
              <a:buChar char="–"/>
              <a:defRPr lang="en-US" sz="1700" kern="1200" spc="40" baseline="0" dirty="0" smtClean="0">
                <a:solidFill>
                  <a:schemeClr val="tx1"/>
                </a:solidFill>
                <a:latin typeface="+mn-lt"/>
                <a:ea typeface="+mn-ea"/>
                <a:cs typeface="+mn-cs"/>
              </a:defRPr>
            </a:lvl2pPr>
            <a:lvl3pPr marL="450000" indent="-180000">
              <a:lnSpc>
                <a:spcPts val="2400"/>
              </a:lnSpc>
              <a:defRPr sz="1700" spc="40" baseline="0"/>
            </a:lvl3pPr>
            <a:lvl4pPr>
              <a:lnSpc>
                <a:spcPts val="2400"/>
              </a:lnSpc>
              <a:defRPr sz="1700" spc="40" baseline="0"/>
            </a:lvl4pPr>
            <a:lvl5pPr>
              <a:lnSpc>
                <a:spcPts val="2400"/>
              </a:lnSpc>
              <a:defRPr sz="1700" spc="40" baseline="0"/>
            </a:lvl5pPr>
          </a:lstStyle>
          <a:p>
            <a:pPr lvl="0"/>
            <a:r>
              <a:rPr lang="en-US"/>
              <a:t>Master text styles / Styles du </a:t>
            </a:r>
            <a:r>
              <a:rPr lang="en-US" err="1"/>
              <a:t>texte</a:t>
            </a:r>
            <a:endParaRPr lang="en-US"/>
          </a:p>
          <a:p>
            <a:pPr marL="0" lvl="1" indent="283464" algn="l" defTabSz="914400" rtl="0" eaLnBrk="1" latinLnBrk="0" hangingPunct="1">
              <a:lnSpc>
                <a:spcPts val="2400"/>
              </a:lnSpc>
              <a:spcBef>
                <a:spcPts val="0"/>
              </a:spcBef>
              <a:buSzPct val="100000"/>
              <a:buFont typeface="Arial" panose="020B0604020202020204" pitchFamily="34" charset="0"/>
              <a:buChar char="•"/>
              <a:tabLst/>
            </a:pPr>
            <a:r>
              <a:rPr lang="en-US"/>
              <a:t>2nd level / 2e </a:t>
            </a:r>
            <a:r>
              <a:rPr lang="en-US" err="1"/>
              <a:t>niveau</a:t>
            </a:r>
            <a:endParaRPr lang="en-US"/>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11" name="Content Placeholder 2"/>
          <p:cNvSpPr>
            <a:spLocks noGrp="1"/>
          </p:cNvSpPr>
          <p:nvPr>
            <p:ph idx="1" hasCustomPrompt="1"/>
          </p:nvPr>
        </p:nvSpPr>
        <p:spPr>
          <a:xfrm>
            <a:off x="864000" y="2148988"/>
            <a:ext cx="10464000" cy="3955382"/>
          </a:xfrm>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854075" indent="-285750">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8660733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4000" y="962080"/>
            <a:ext cx="10464000" cy="714320"/>
          </a:xfrm>
        </p:spPr>
        <p:txBody>
          <a:bodyPr/>
          <a:lstStyle>
            <a:lvl1pPr>
              <a:defRPr/>
            </a:lvl1pPr>
          </a:lstStyle>
          <a:p>
            <a:r>
              <a:rPr lang="en-US"/>
              <a:t>Click to edit Master title style</a:t>
            </a:r>
            <a:br>
              <a:rPr lang="en-US"/>
            </a:br>
            <a:endParaRPr lang="en-CA"/>
          </a:p>
        </p:txBody>
      </p:sp>
      <p:sp>
        <p:nvSpPr>
          <p:cNvPr id="6" name="Rectangle 5"/>
          <p:cNvSpPr/>
          <p:nvPr userDrawn="1"/>
        </p:nvSpPr>
        <p:spPr>
          <a:xfrm>
            <a:off x="0" y="6318000"/>
            <a:ext cx="12192000" cy="540000"/>
          </a:xfrm>
          <a:prstGeom prst="rect">
            <a:avLst/>
          </a:prstGeom>
          <a:solidFill>
            <a:schemeClr val="tx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7" name="Slide Number Placeholder 5"/>
          <p:cNvSpPr>
            <a:spLocks noGrp="1"/>
          </p:cNvSpPr>
          <p:nvPr>
            <p:ph type="sldNum" sz="quarter" idx="12"/>
          </p:nvPr>
        </p:nvSpPr>
        <p:spPr>
          <a:xfrm>
            <a:off x="8610600" y="6408003"/>
            <a:ext cx="2743200" cy="365125"/>
          </a:xfrm>
        </p:spPr>
        <p:txBody>
          <a:bodyPr/>
          <a:lstStyle/>
          <a:p>
            <a:fld id="{D7012407-5950-B949-8BF3-E7EA9ADCB58D}" type="slidenum">
              <a:rPr lang="en-GB" smtClean="0"/>
              <a:t>‹#›</a:t>
            </a:fld>
            <a:endParaRPr lang="en-GB"/>
          </a:p>
        </p:txBody>
      </p:sp>
      <p:sp>
        <p:nvSpPr>
          <p:cNvPr id="10" name="Text Placeholder 6"/>
          <p:cNvSpPr>
            <a:spLocks noGrp="1"/>
          </p:cNvSpPr>
          <p:nvPr>
            <p:ph type="body" sz="quarter" idx="13" hasCustomPrompt="1"/>
          </p:nvPr>
        </p:nvSpPr>
        <p:spPr>
          <a:xfrm>
            <a:off x="864000" y="574358"/>
            <a:ext cx="10464400" cy="387722"/>
          </a:xfrm>
        </p:spPr>
        <p:txBody>
          <a:bodyPr/>
          <a:lstStyle>
            <a:lvl1pPr>
              <a:lnSpc>
                <a:spcPts val="2400"/>
              </a:lnSpc>
              <a:defRPr sz="1700" spc="40" baseline="0"/>
            </a:lvl1pPr>
            <a:lvl2pPr marL="0" indent="216000">
              <a:lnSpc>
                <a:spcPts val="2400"/>
              </a:lnSpc>
              <a:buFont typeface="CambriaMath" charset="0"/>
              <a:buChar char="–"/>
              <a:defRPr lang="en-US" sz="1700" kern="1200" spc="40" baseline="0" dirty="0" smtClean="0">
                <a:solidFill>
                  <a:schemeClr val="tx1"/>
                </a:solidFill>
                <a:latin typeface="+mn-lt"/>
                <a:ea typeface="+mn-ea"/>
                <a:cs typeface="+mn-cs"/>
              </a:defRPr>
            </a:lvl2pPr>
            <a:lvl3pPr marL="450000" indent="-180000">
              <a:lnSpc>
                <a:spcPts val="2400"/>
              </a:lnSpc>
              <a:defRPr sz="1700" spc="40" baseline="0"/>
            </a:lvl3pPr>
            <a:lvl4pPr>
              <a:lnSpc>
                <a:spcPts val="2400"/>
              </a:lnSpc>
              <a:defRPr sz="1700" spc="40" baseline="0"/>
            </a:lvl4pPr>
            <a:lvl5pPr>
              <a:lnSpc>
                <a:spcPts val="2400"/>
              </a:lnSpc>
              <a:defRPr sz="1700" spc="40" baseline="0"/>
            </a:lvl5pPr>
          </a:lstStyle>
          <a:p>
            <a:pPr lvl="0"/>
            <a:r>
              <a:rPr lang="en-US"/>
              <a:t>Master text styles</a:t>
            </a:r>
          </a:p>
        </p:txBody>
      </p:sp>
      <p:sp>
        <p:nvSpPr>
          <p:cNvPr id="12" name="Content Placeholder 2"/>
          <p:cNvSpPr>
            <a:spLocks noGrp="1"/>
          </p:cNvSpPr>
          <p:nvPr>
            <p:ph idx="1" hasCustomPrompt="1"/>
          </p:nvPr>
        </p:nvSpPr>
        <p:spPr>
          <a:xfrm>
            <a:off x="864000" y="1889760"/>
            <a:ext cx="10464000" cy="4214610"/>
          </a:xfrm>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854075" indent="-285750">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4285813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Quote-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4000" y="1320803"/>
            <a:ext cx="10464000" cy="2712117"/>
          </a:xfrm>
        </p:spPr>
        <p:txBody>
          <a:bodyPr anchor="b">
            <a:noAutofit/>
          </a:bodyPr>
          <a:lstStyle>
            <a:lvl1pPr algn="ctr">
              <a:defRPr sz="2400">
                <a:solidFill>
                  <a:schemeClr val="bg1"/>
                </a:solidFill>
              </a:defRPr>
            </a:lvl1pPr>
          </a:lstStyle>
          <a:p>
            <a:r>
              <a:rPr lang="en-US"/>
              <a:t>Quote / Citation</a:t>
            </a:r>
          </a:p>
        </p:txBody>
      </p:sp>
      <p:sp>
        <p:nvSpPr>
          <p:cNvPr id="3" name="Subtitle 2"/>
          <p:cNvSpPr>
            <a:spLocks noGrp="1"/>
          </p:cNvSpPr>
          <p:nvPr>
            <p:ph type="subTitle" idx="1" hasCustomPrompt="1"/>
          </p:nvPr>
        </p:nvSpPr>
        <p:spPr>
          <a:xfrm>
            <a:off x="864000" y="4891437"/>
            <a:ext cx="10464000" cy="782320"/>
          </a:xfrm>
        </p:spPr>
        <p:txBody>
          <a:bodyPr>
            <a:noAutofit/>
          </a:bodyPr>
          <a:lstStyle>
            <a:lvl1pPr marL="0" indent="0" algn="ctr">
              <a:lnSpc>
                <a:spcPct val="100000"/>
              </a:lnSpc>
              <a:spcBef>
                <a:spcPts val="0"/>
              </a:spcBef>
              <a:buNone/>
              <a:defRPr sz="1700" b="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 Nom </a:t>
            </a:r>
            <a:br>
              <a:rPr lang="en-US"/>
            </a:br>
            <a:r>
              <a:rPr lang="en-US"/>
              <a:t>Role / </a:t>
            </a:r>
            <a:r>
              <a:rPr lang="en-US" err="1"/>
              <a:t>Rôle</a:t>
            </a:r>
            <a:r>
              <a:rPr lang="en-US"/>
              <a:t>, Company / </a:t>
            </a:r>
            <a:r>
              <a:rPr lang="en-US" err="1"/>
              <a:t>Compagnie</a:t>
            </a:r>
            <a:endParaRPr lang="en-US"/>
          </a:p>
        </p:txBody>
      </p:sp>
      <p:sp>
        <p:nvSpPr>
          <p:cNvPr id="13" name="Slide Number Placeholder 12"/>
          <p:cNvSpPr>
            <a:spLocks noGrp="1"/>
          </p:cNvSpPr>
          <p:nvPr>
            <p:ph type="sldNum" sz="quarter" idx="12"/>
          </p:nvPr>
        </p:nvSpPr>
        <p:spPr/>
        <p:txBody>
          <a:bodyPr/>
          <a:lstStyle>
            <a:lvl1pPr>
              <a:defRPr>
                <a:solidFill>
                  <a:schemeClr val="bg1"/>
                </a:solidFill>
              </a:defRPr>
            </a:lvl1pPr>
          </a:lstStyle>
          <a:p>
            <a:fld id="{D7012407-5950-B949-8BF3-E7EA9ADCB58D}" type="slidenum">
              <a:rPr lang="en-GB" smtClean="0"/>
              <a:pPr/>
              <a:t>‹#›</a:t>
            </a:fld>
            <a:endParaRPr lang="en-GB"/>
          </a:p>
        </p:txBody>
      </p:sp>
      <p:cxnSp>
        <p:nvCxnSpPr>
          <p:cNvPr id="6" name="Straight Connector 5"/>
          <p:cNvCxnSpPr/>
          <p:nvPr userDrawn="1"/>
        </p:nvCxnSpPr>
        <p:spPr>
          <a:xfrm>
            <a:off x="864000" y="6318208"/>
            <a:ext cx="1046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33214075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Quote-gre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4000" y="1320803"/>
            <a:ext cx="10464000" cy="2712117"/>
          </a:xfrm>
        </p:spPr>
        <p:txBody>
          <a:bodyPr anchor="b">
            <a:noAutofit/>
          </a:bodyPr>
          <a:lstStyle>
            <a:lvl1pPr algn="ctr">
              <a:defRPr sz="2400">
                <a:solidFill>
                  <a:schemeClr val="tx1"/>
                </a:solidFill>
              </a:defRPr>
            </a:lvl1pPr>
          </a:lstStyle>
          <a:p>
            <a:r>
              <a:rPr lang="en-US"/>
              <a:t>Quote / Citation</a:t>
            </a:r>
          </a:p>
        </p:txBody>
      </p:sp>
      <p:sp>
        <p:nvSpPr>
          <p:cNvPr id="6" name="Rectangle 5"/>
          <p:cNvSpPr/>
          <p:nvPr userDrawn="1"/>
        </p:nvSpPr>
        <p:spPr>
          <a:xfrm>
            <a:off x="0" y="6318000"/>
            <a:ext cx="12192000" cy="540000"/>
          </a:xfrm>
          <a:prstGeom prst="rect">
            <a:avLst/>
          </a:prstGeom>
          <a:solidFill>
            <a:schemeClr val="tx1"/>
          </a:solidFill>
          <a:ln>
            <a:solidFill>
              <a:srgbClr val="D2D0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hasCustomPrompt="1"/>
          </p:nvPr>
        </p:nvSpPr>
        <p:spPr>
          <a:xfrm>
            <a:off x="864000" y="4891437"/>
            <a:ext cx="10464000" cy="782320"/>
          </a:xfrm>
        </p:spPr>
        <p:txBody>
          <a:bodyPr>
            <a:noAutofit/>
          </a:bodyPr>
          <a:lstStyle>
            <a:lvl1pPr marL="0" indent="0" algn="ctr">
              <a:lnSpc>
                <a:spcPct val="100000"/>
              </a:lnSpc>
              <a:spcBef>
                <a:spcPts val="0"/>
              </a:spcBef>
              <a:buNone/>
              <a:defRPr sz="17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 Nom </a:t>
            </a:r>
            <a:br>
              <a:rPr lang="en-US"/>
            </a:br>
            <a:r>
              <a:rPr lang="en-US"/>
              <a:t>Role / </a:t>
            </a:r>
            <a:r>
              <a:rPr lang="en-US" err="1"/>
              <a:t>Rôle</a:t>
            </a:r>
            <a:r>
              <a:rPr lang="en-US"/>
              <a:t>, Company / </a:t>
            </a:r>
            <a:r>
              <a:rPr lang="en-US" err="1"/>
              <a:t>Compagnie</a:t>
            </a:r>
            <a:endParaRPr lang="en-US"/>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D7012407-5950-B949-8BF3-E7EA9ADCB58D}" type="slidenum">
              <a:rPr lang="en-GB" smtClean="0"/>
              <a:pPr/>
              <a:t>‹#›</a:t>
            </a:fld>
            <a:endParaRPr lang="en-GB"/>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26145657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Content-white">
    <p:spTree>
      <p:nvGrpSpPr>
        <p:cNvPr id="1" name=""/>
        <p:cNvGrpSpPr/>
        <p:nvPr/>
      </p:nvGrpSpPr>
      <p:grpSpPr>
        <a:xfrm>
          <a:off x="0" y="0"/>
          <a:ext cx="0" cy="0"/>
          <a:chOff x="0" y="0"/>
          <a:chExt cx="0" cy="0"/>
        </a:xfrm>
      </p:grpSpPr>
      <p:sp>
        <p:nvSpPr>
          <p:cNvPr id="9" name="Rectangle 8"/>
          <p:cNvSpPr/>
          <p:nvPr userDrawn="1"/>
        </p:nvSpPr>
        <p:spPr>
          <a:xfrm>
            <a:off x="0"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p>
            <a:r>
              <a:rPr lang="en-US"/>
              <a:t>Title / </a:t>
            </a:r>
            <a:r>
              <a:rPr lang="en-US" err="1"/>
              <a:t>Titre</a:t>
            </a:r>
            <a:endParaRPr lang="en-US"/>
          </a:p>
        </p:txBody>
      </p:sp>
      <p:sp>
        <p:nvSpPr>
          <p:cNvPr id="3" name="Content Placeholder 2"/>
          <p:cNvSpPr>
            <a:spLocks noGrp="1"/>
          </p:cNvSpPr>
          <p:nvPr>
            <p:ph idx="1" hasCustomPrompt="1"/>
          </p:nvPr>
        </p:nvSpPr>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568325" indent="283464">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lvl="3"/>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sp>
        <p:nvSpPr>
          <p:cNvPr id="6" name="Slide Number Placeholder 5"/>
          <p:cNvSpPr>
            <a:spLocks noGrp="1"/>
          </p:cNvSpPr>
          <p:nvPr>
            <p:ph type="sldNum" sz="quarter" idx="12"/>
          </p:nvPr>
        </p:nvSpPr>
        <p:spPr>
          <a:xfrm>
            <a:off x="8610600" y="6406477"/>
            <a:ext cx="2743200" cy="365125"/>
          </a:xfrm>
        </p:spPr>
        <p:txBody>
          <a:bodyPr/>
          <a:lstStyle/>
          <a:p>
            <a:fld id="{D7012407-5950-B949-8BF3-E7EA9ADCB58D}" type="slidenum">
              <a:rPr lang="en-GB" smtClean="0"/>
              <a:t>‹#›</a:t>
            </a:fld>
            <a:endParaRPr lang="en-GB"/>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34863764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Quote-white">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6318000"/>
            <a:ext cx="12192000" cy="540000"/>
          </a:xfrm>
          <a:prstGeom prst="rect">
            <a:avLst/>
          </a:prstGeom>
          <a:solidFill>
            <a:schemeClr val="tx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hasCustomPrompt="1"/>
          </p:nvPr>
        </p:nvSpPr>
        <p:spPr>
          <a:xfrm>
            <a:off x="864000" y="1320803"/>
            <a:ext cx="10464000" cy="2712117"/>
          </a:xfrm>
        </p:spPr>
        <p:txBody>
          <a:bodyPr anchor="b">
            <a:noAutofit/>
          </a:bodyPr>
          <a:lstStyle>
            <a:lvl1pPr algn="ctr">
              <a:defRPr sz="2400">
                <a:solidFill>
                  <a:schemeClr val="tx1"/>
                </a:solidFill>
              </a:defRPr>
            </a:lvl1pPr>
          </a:lstStyle>
          <a:p>
            <a:r>
              <a:rPr lang="en-US"/>
              <a:t>Quote / Citation</a:t>
            </a:r>
          </a:p>
        </p:txBody>
      </p:sp>
      <p:sp>
        <p:nvSpPr>
          <p:cNvPr id="3" name="Subtitle 2"/>
          <p:cNvSpPr>
            <a:spLocks noGrp="1"/>
          </p:cNvSpPr>
          <p:nvPr>
            <p:ph type="subTitle" idx="1" hasCustomPrompt="1"/>
          </p:nvPr>
        </p:nvSpPr>
        <p:spPr>
          <a:xfrm>
            <a:off x="864000" y="4891437"/>
            <a:ext cx="10464000" cy="782320"/>
          </a:xfrm>
        </p:spPr>
        <p:txBody>
          <a:bodyPr>
            <a:noAutofit/>
          </a:bodyPr>
          <a:lstStyle>
            <a:lvl1pPr marL="0" indent="0" algn="ctr">
              <a:lnSpc>
                <a:spcPct val="100000"/>
              </a:lnSpc>
              <a:spcBef>
                <a:spcPts val="0"/>
              </a:spcBef>
              <a:buNone/>
              <a:defRPr sz="17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 Nom </a:t>
            </a:r>
            <a:br>
              <a:rPr lang="en-US"/>
            </a:br>
            <a:r>
              <a:rPr lang="en-US"/>
              <a:t>Role / </a:t>
            </a:r>
            <a:r>
              <a:rPr lang="en-US" err="1"/>
              <a:t>Rôle</a:t>
            </a:r>
            <a:r>
              <a:rPr lang="en-US"/>
              <a:t>, Company / </a:t>
            </a:r>
            <a:r>
              <a:rPr lang="en-US" err="1"/>
              <a:t>Compagnie</a:t>
            </a:r>
            <a:endParaRPr lang="en-US"/>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D7012407-5950-B949-8BF3-E7EA9ADCB58D}" type="slidenum">
              <a:rPr lang="en-GB" smtClean="0"/>
              <a:pPr/>
              <a:t>‹#›</a:t>
            </a:fld>
            <a:endParaRPr lang="en-GB"/>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19439539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Divider-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4000" y="2184400"/>
            <a:ext cx="10489800" cy="2378076"/>
          </a:xfrm>
        </p:spPr>
        <p:txBody>
          <a:bodyPr anchor="t">
            <a:noAutofit/>
          </a:bodyPr>
          <a:lstStyle>
            <a:lvl1pPr>
              <a:defRPr sz="2400">
                <a:solidFill>
                  <a:schemeClr val="bg1"/>
                </a:solidFill>
              </a:defRPr>
            </a:lvl1pPr>
          </a:lstStyle>
          <a:p>
            <a:r>
              <a:rPr lang="en-US"/>
              <a:t>Section title</a:t>
            </a:r>
            <a:br>
              <a:rPr lang="en-US"/>
            </a:br>
            <a:r>
              <a:rPr lang="en-US" err="1"/>
              <a:t>Titre</a:t>
            </a:r>
            <a:r>
              <a:rPr lang="en-US"/>
              <a:t> de la sec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7012407-5950-B949-8BF3-E7EA9ADCB58D}" type="slidenum">
              <a:rPr lang="en-GB" smtClean="0"/>
              <a:pPr/>
              <a:t>‹#›</a:t>
            </a:fld>
            <a:endParaRPr lang="en-GB"/>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3283" y="639394"/>
            <a:ext cx="938815" cy="922248"/>
          </a:xfrm>
          <a:prstGeom prst="rect">
            <a:avLst/>
          </a:prstGeom>
        </p:spPr>
      </p:pic>
    </p:spTree>
    <p:extLst>
      <p:ext uri="{BB962C8B-B14F-4D97-AF65-F5344CB8AC3E}">
        <p14:creationId xmlns:p14="http://schemas.microsoft.com/office/powerpoint/2010/main" val="17462045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Divider-gre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4000" y="2184400"/>
            <a:ext cx="10489800" cy="2378076"/>
          </a:xfrm>
        </p:spPr>
        <p:txBody>
          <a:bodyPr anchor="t">
            <a:noAutofit/>
          </a:bodyPr>
          <a:lstStyle>
            <a:lvl1pPr>
              <a:defRPr sz="2400">
                <a:solidFill>
                  <a:schemeClr val="tx1"/>
                </a:solidFill>
              </a:defRPr>
            </a:lvl1pPr>
          </a:lstStyle>
          <a:p>
            <a:r>
              <a:rPr lang="en-US"/>
              <a:t>Section title</a:t>
            </a:r>
            <a:br>
              <a:rPr lang="en-US"/>
            </a:br>
            <a:r>
              <a:rPr lang="en-US" err="1"/>
              <a:t>Titre</a:t>
            </a:r>
            <a:r>
              <a:rPr lang="en-US"/>
              <a:t> de la section</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D7012407-5950-B949-8BF3-E7EA9ADCB58D}" type="slidenum">
              <a:rPr lang="en-GB" smtClean="0"/>
              <a:pPr/>
              <a:t>‹#›</a:t>
            </a:fld>
            <a:endParaRPr lang="en-GB"/>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3283" y="639394"/>
            <a:ext cx="938815" cy="922248"/>
          </a:xfrm>
          <a:prstGeom prst="rect">
            <a:avLst/>
          </a:prstGeom>
        </p:spPr>
      </p:pic>
    </p:spTree>
    <p:extLst>
      <p:ext uri="{BB962C8B-B14F-4D97-AF65-F5344CB8AC3E}">
        <p14:creationId xmlns:p14="http://schemas.microsoft.com/office/powerpoint/2010/main" val="13521093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Divider-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4000" y="2184400"/>
            <a:ext cx="10489800" cy="2378076"/>
          </a:xfrm>
        </p:spPr>
        <p:txBody>
          <a:bodyPr anchor="t">
            <a:noAutofit/>
          </a:bodyPr>
          <a:lstStyle>
            <a:lvl1pPr>
              <a:defRPr sz="2400">
                <a:solidFill>
                  <a:schemeClr val="tx1"/>
                </a:solidFill>
              </a:defRPr>
            </a:lvl1pPr>
          </a:lstStyle>
          <a:p>
            <a:r>
              <a:rPr lang="en-US"/>
              <a:t>Section title</a:t>
            </a:r>
            <a:br>
              <a:rPr lang="en-US"/>
            </a:br>
            <a:r>
              <a:rPr lang="en-US" err="1"/>
              <a:t>Titre</a:t>
            </a:r>
            <a:r>
              <a:rPr lang="en-US"/>
              <a:t> de la section</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D7012407-5950-B949-8BF3-E7EA9ADCB58D}" type="slidenum">
              <a:rPr lang="en-GB" smtClean="0"/>
              <a:pPr/>
              <a:t>‹#›</a:t>
            </a:fld>
            <a:endParaRPr lang="en-GB"/>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3283" y="639394"/>
            <a:ext cx="938815" cy="922248"/>
          </a:xfrm>
          <a:prstGeom prst="rect">
            <a:avLst/>
          </a:prstGeom>
        </p:spPr>
      </p:pic>
    </p:spTree>
    <p:extLst>
      <p:ext uri="{BB962C8B-B14F-4D97-AF65-F5344CB8AC3E}">
        <p14:creationId xmlns:p14="http://schemas.microsoft.com/office/powerpoint/2010/main" val="16754265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p:bg>
      <p:bgPr>
        <a:solidFill>
          <a:schemeClr val="bg2"/>
        </a:solidFill>
        <a:effectLst/>
      </p:bgPr>
    </p:bg>
    <p:spTree>
      <p:nvGrpSpPr>
        <p:cNvPr id="1" name=""/>
        <p:cNvGrpSpPr/>
        <p:nvPr/>
      </p:nvGrpSpPr>
      <p:grpSpPr>
        <a:xfrm>
          <a:off x="0" y="0"/>
          <a:ext cx="0" cy="0"/>
          <a:chOff x="0" y="0"/>
          <a:chExt cx="0" cy="0"/>
        </a:xfrm>
      </p:grpSpPr>
      <p:sp>
        <p:nvSpPr>
          <p:cNvPr id="8" name="Rectangle 7"/>
          <p:cNvSpPr/>
          <p:nvPr userDrawn="1"/>
        </p:nvSpPr>
        <p:spPr>
          <a:xfrm>
            <a:off x="0" y="6318000"/>
            <a:ext cx="12192000" cy="540000"/>
          </a:xfrm>
          <a:prstGeom prst="rect">
            <a:avLst/>
          </a:prstGeom>
          <a:solidFill>
            <a:schemeClr val="tx1"/>
          </a:solidFill>
          <a:ln>
            <a:solidFill>
              <a:srgbClr val="D2D0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5" name="Picture Placeholder 4"/>
          <p:cNvSpPr>
            <a:spLocks noGrp="1"/>
          </p:cNvSpPr>
          <p:nvPr>
            <p:ph type="pic" sz="quarter" idx="13" hasCustomPrompt="1"/>
          </p:nvPr>
        </p:nvSpPr>
        <p:spPr>
          <a:xfrm>
            <a:off x="0" y="0"/>
            <a:ext cx="12192000" cy="6317168"/>
          </a:xfrm>
        </p:spPr>
        <p:txBody>
          <a:bodyPr lIns="1440000" rIns="1440000" anchor="ctr"/>
          <a:lstStyle>
            <a:lvl1pPr algn="ctr">
              <a:defRPr/>
            </a:lvl1pPr>
          </a:lstStyle>
          <a:p>
            <a:r>
              <a:rPr lang="en-GB"/>
              <a:t>Photo</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29448488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ullimage">
    <p:bg>
      <p:bgPr>
        <a:solidFill>
          <a:schemeClr val="bg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0" y="0"/>
            <a:ext cx="12192000" cy="6858000"/>
          </a:xfrm>
        </p:spPr>
        <p:txBody>
          <a:bodyPr lIns="1440000" rIns="1440000" anchor="ctr"/>
          <a:lstStyle>
            <a:lvl1pPr algn="ctr">
              <a:defRPr/>
            </a:lvl1pPr>
          </a:lstStyle>
          <a:p>
            <a:r>
              <a:rPr lang="en-GB"/>
              <a:t>Photo</a:t>
            </a:r>
          </a:p>
        </p:txBody>
      </p:sp>
    </p:spTree>
    <p:extLst>
      <p:ext uri="{BB962C8B-B14F-4D97-AF65-F5344CB8AC3E}">
        <p14:creationId xmlns:p14="http://schemas.microsoft.com/office/powerpoint/2010/main" val="7707641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Text">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484659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5138" name="think-cell Slide" r:id="rId4" imgW="473" imgH="476" progId="TCLayout.ActiveDocument.1">
                  <p:embed/>
                </p:oleObj>
              </mc:Choice>
              <mc:Fallback>
                <p:oleObj name="think-cell Slide" r:id="rId4" imgW="473" imgH="476" progId="TCLayout.ActiveDocument.1">
                  <p:embed/>
                  <p:pic>
                    <p:nvPicPr>
                      <p:cNvPr id="2" name="Object 1"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5" name="Picture Placeholder 4"/>
          <p:cNvSpPr>
            <a:spLocks noGrp="1"/>
          </p:cNvSpPr>
          <p:nvPr>
            <p:ph type="pic" sz="quarter" idx="13" hasCustomPrompt="1"/>
          </p:nvPr>
        </p:nvSpPr>
        <p:spPr>
          <a:xfrm>
            <a:off x="0" y="0"/>
            <a:ext cx="12192000" cy="6317168"/>
          </a:xfrm>
        </p:spPr>
        <p:txBody>
          <a:bodyPr lIns="1440000" rIns="1440000" anchor="ctr"/>
          <a:lstStyle>
            <a:lvl1pPr algn="ctr">
              <a:defRPr/>
            </a:lvl1pPr>
          </a:lstStyle>
          <a:p>
            <a:r>
              <a:rPr lang="en-GB"/>
              <a:t>Photo</a:t>
            </a:r>
          </a:p>
        </p:txBody>
      </p:sp>
      <p:sp>
        <p:nvSpPr>
          <p:cNvPr id="8" name="Rectangle 7"/>
          <p:cNvSpPr/>
          <p:nvPr userDrawn="1"/>
        </p:nvSpPr>
        <p:spPr>
          <a:xfrm>
            <a:off x="0" y="6318000"/>
            <a:ext cx="12192000" cy="540000"/>
          </a:xfrm>
          <a:prstGeom prst="rect">
            <a:avLst/>
          </a:prstGeom>
          <a:solidFill>
            <a:schemeClr val="tx1"/>
          </a:solidFill>
          <a:ln>
            <a:solidFill>
              <a:srgbClr val="D2D0C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10" name="Content Placeholder 2"/>
          <p:cNvSpPr>
            <a:spLocks noGrp="1"/>
          </p:cNvSpPr>
          <p:nvPr>
            <p:ph idx="1" hasCustomPrompt="1"/>
          </p:nvPr>
        </p:nvSpPr>
        <p:spPr>
          <a:xfrm>
            <a:off x="869871" y="1290696"/>
            <a:ext cx="5904001" cy="4320000"/>
          </a:xfrm>
        </p:spPr>
        <p:txBody>
          <a:bodyPr/>
          <a:lstStyle>
            <a:lvl1pPr>
              <a:lnSpc>
                <a:spcPts val="2400"/>
              </a:lnSpc>
              <a:defRPr sz="2200" b="1" spc="40" baseline="0">
                <a:solidFill>
                  <a:schemeClr val="bg1"/>
                </a:solidFill>
              </a:defRPr>
            </a:lvl1pPr>
            <a:lvl2pPr marL="0" indent="283464">
              <a:lnSpc>
                <a:spcPts val="2400"/>
              </a:lnSpc>
              <a:buSzPct val="100000"/>
              <a:buFont typeface="Arial" panose="020B0604020202020204" pitchFamily="34" charset="0"/>
              <a:buChar char="•"/>
              <a:defRPr sz="2200" b="1" spc="40" baseline="0">
                <a:solidFill>
                  <a:schemeClr val="bg1"/>
                </a:solidFill>
              </a:defRPr>
            </a:lvl2pPr>
            <a:lvl3pPr marL="284163" indent="283464">
              <a:lnSpc>
                <a:spcPts val="2400"/>
              </a:lnSpc>
              <a:buSzPct val="120000"/>
              <a:buFont typeface="Verdana" panose="020B0604030504040204" pitchFamily="34" charset="0"/>
              <a:buChar char="–"/>
              <a:defRPr sz="2200" b="1" spc="40" baseline="0">
                <a:solidFill>
                  <a:schemeClr val="bg1"/>
                </a:solidFill>
              </a:defRPr>
            </a:lvl3pPr>
            <a:lvl4pPr marL="568325" indent="285750">
              <a:buSzPct val="120000"/>
              <a:buFont typeface="Verdana" panose="020B0604030504040204" pitchFamily="34" charset="0"/>
              <a:buChar char="–"/>
              <a:tabLst/>
              <a:defRPr lang="en-US" sz="1700" b="1" kern="1200" spc="40" baseline="0" dirty="0" smtClean="0">
                <a:solidFill>
                  <a:schemeClr val="bg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lvl="3"/>
            <a:r>
              <a:rPr lang="en-US"/>
              <a:t>4th level / 4e </a:t>
            </a:r>
            <a:r>
              <a:rPr lang="en-US" err="1"/>
              <a:t>niveau</a:t>
            </a:r>
            <a:endParaRPr lang="en-US"/>
          </a:p>
          <a:p>
            <a:pPr marL="568325" lvl="3" indent="285750"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28429298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ullimage+Text">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655354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6162" name="think-cell Slide" r:id="rId4" imgW="473" imgH="476" progId="TCLayout.ActiveDocument.1">
                  <p:embed/>
                </p:oleObj>
              </mc:Choice>
              <mc:Fallback>
                <p:oleObj name="think-cell Slide" r:id="rId4" imgW="473" imgH="476" progId="TCLayout.ActiveDocument.1">
                  <p:embed/>
                  <p:pic>
                    <p:nvPicPr>
                      <p:cNvPr id="2" name="Object 1"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5" name="Picture Placeholder 4"/>
          <p:cNvSpPr>
            <a:spLocks noGrp="1"/>
          </p:cNvSpPr>
          <p:nvPr>
            <p:ph type="pic" sz="quarter" idx="13" hasCustomPrompt="1"/>
          </p:nvPr>
        </p:nvSpPr>
        <p:spPr>
          <a:xfrm>
            <a:off x="0" y="0"/>
            <a:ext cx="12192000" cy="6858000"/>
          </a:xfrm>
        </p:spPr>
        <p:txBody>
          <a:bodyPr lIns="1440000" rIns="1440000" anchor="ctr"/>
          <a:lstStyle>
            <a:lvl1pPr algn="ctr">
              <a:defRPr/>
            </a:lvl1pPr>
          </a:lstStyle>
          <a:p>
            <a:r>
              <a:rPr lang="en-GB"/>
              <a:t>Photo</a:t>
            </a:r>
          </a:p>
        </p:txBody>
      </p:sp>
      <p:sp>
        <p:nvSpPr>
          <p:cNvPr id="7" name="Content Placeholder 2"/>
          <p:cNvSpPr>
            <a:spLocks noGrp="1"/>
          </p:cNvSpPr>
          <p:nvPr>
            <p:ph idx="1" hasCustomPrompt="1"/>
          </p:nvPr>
        </p:nvSpPr>
        <p:spPr>
          <a:xfrm>
            <a:off x="869871" y="1290696"/>
            <a:ext cx="5904001" cy="4320000"/>
          </a:xfrm>
        </p:spPr>
        <p:txBody>
          <a:bodyPr/>
          <a:lstStyle>
            <a:lvl1pPr>
              <a:lnSpc>
                <a:spcPts val="2400"/>
              </a:lnSpc>
              <a:defRPr sz="2200" b="1" spc="40" baseline="0">
                <a:solidFill>
                  <a:schemeClr val="bg1"/>
                </a:solidFill>
              </a:defRPr>
            </a:lvl1pPr>
            <a:lvl2pPr marL="0" indent="283464">
              <a:lnSpc>
                <a:spcPts val="2400"/>
              </a:lnSpc>
              <a:buSzPct val="100000"/>
              <a:buFont typeface="Arial" panose="020B0604020202020204" pitchFamily="34" charset="0"/>
              <a:buChar char="•"/>
              <a:defRPr sz="2200" b="1" spc="40" baseline="0">
                <a:solidFill>
                  <a:schemeClr val="bg1"/>
                </a:solidFill>
              </a:defRPr>
            </a:lvl2pPr>
            <a:lvl3pPr marL="284163" indent="283464">
              <a:lnSpc>
                <a:spcPts val="2400"/>
              </a:lnSpc>
              <a:buSzPct val="120000"/>
              <a:buFont typeface="Verdana" panose="020B0604030504040204" pitchFamily="34" charset="0"/>
              <a:buChar char="–"/>
              <a:defRPr sz="2200" b="1" spc="40" baseline="0">
                <a:solidFill>
                  <a:schemeClr val="bg1"/>
                </a:solidFill>
              </a:defRPr>
            </a:lvl3pPr>
            <a:lvl4pPr marL="854075" indent="-285750">
              <a:buSzPct val="120000"/>
              <a:buFont typeface="Verdana" panose="020B0604030504040204" pitchFamily="34" charset="0"/>
              <a:buChar char="–"/>
              <a:tabLst/>
              <a:defRPr lang="en-US" sz="1700" b="1" kern="1200" spc="40" baseline="0" dirty="0" smtClean="0">
                <a:solidFill>
                  <a:schemeClr val="bg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5750"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5750"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spTree>
    <p:extLst>
      <p:ext uri="{BB962C8B-B14F-4D97-AF65-F5344CB8AC3E}">
        <p14:creationId xmlns:p14="http://schemas.microsoft.com/office/powerpoint/2010/main" val="4257371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p:bg>
      <p:bgPr>
        <a:solidFill>
          <a:schemeClr val="tx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hasCustomPrompt="1"/>
          </p:nvPr>
        </p:nvSpPr>
        <p:spPr>
          <a:xfrm>
            <a:off x="0" y="855000"/>
            <a:ext cx="12192000" cy="5148000"/>
          </a:xfrm>
          <a:noFill/>
        </p:spPr>
        <p:txBody>
          <a:bodyPr lIns="1440000" rIns="1440000" bIns="0" anchor="ctr"/>
          <a:lstStyle>
            <a:lvl1pPr algn="ctr">
              <a:defRPr>
                <a:solidFill>
                  <a:schemeClr val="bg1"/>
                </a:solidFill>
              </a:defRPr>
            </a:lvl1pPr>
          </a:lstStyle>
          <a:p>
            <a:r>
              <a:rPr lang="en-GB"/>
              <a:t>Video</a:t>
            </a:r>
          </a:p>
        </p:txBody>
      </p:sp>
    </p:spTree>
    <p:extLst>
      <p:ext uri="{BB962C8B-B14F-4D97-AF65-F5344CB8AC3E}">
        <p14:creationId xmlns:p14="http://schemas.microsoft.com/office/powerpoint/2010/main" val="19727238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864002" y="4774964"/>
            <a:ext cx="3290751" cy="1063131"/>
          </a:xfrm>
        </p:spPr>
        <p:txBody>
          <a:bodyPr/>
          <a:lstStyle>
            <a:lvl1pPr>
              <a:lnSpc>
                <a:spcPct val="100000"/>
              </a:lnSpc>
              <a:defRPr lang="en-GB" sz="1150" kern="1200" spc="40" baseline="0" dirty="0">
                <a:solidFill>
                  <a:schemeClr val="bg1"/>
                </a:solidFill>
                <a:latin typeface="+mn-lt"/>
                <a:ea typeface="+mn-ea"/>
                <a:cs typeface="+mn-cs"/>
              </a:defRPr>
            </a:lvl1pPr>
            <a:lvl2pPr>
              <a:defRPr sz="1150">
                <a:solidFill>
                  <a:schemeClr val="bg1"/>
                </a:solidFill>
              </a:defRPr>
            </a:lvl2pPr>
            <a:lvl3pPr>
              <a:defRPr sz="1150">
                <a:solidFill>
                  <a:schemeClr val="bg1"/>
                </a:solidFill>
              </a:defRPr>
            </a:lvl3pPr>
            <a:lvl4pPr>
              <a:defRPr sz="1150">
                <a:solidFill>
                  <a:schemeClr val="bg1"/>
                </a:solidFill>
              </a:defRPr>
            </a:lvl4pPr>
            <a:lvl5pPr>
              <a:defRPr sz="1150">
                <a:solidFill>
                  <a:schemeClr val="bg1"/>
                </a:solidFill>
              </a:defRPr>
            </a:lvl5pPr>
          </a:lstStyle>
          <a:p>
            <a:pPr lvl="0"/>
            <a:r>
              <a:rPr lang="en-US"/>
              <a:t>Address / </a:t>
            </a:r>
            <a:r>
              <a:rPr lang="en-US" err="1"/>
              <a:t>Adressse</a:t>
            </a:r>
            <a:endParaRPr lang="en-GB"/>
          </a:p>
          <a:p>
            <a:pPr marL="0" lvl="0" indent="0" algn="l" defTabSz="914400" rtl="0" eaLnBrk="1" latinLnBrk="0" hangingPunct="1">
              <a:lnSpc>
                <a:spcPts val="1300"/>
              </a:lnSpc>
              <a:spcBef>
                <a:spcPts val="0"/>
              </a:spcBef>
              <a:buFont typeface="Arial" charset="0"/>
              <a:buNone/>
            </a:pPr>
            <a:r>
              <a:rPr lang="en-US"/>
              <a:t>Second level</a:t>
            </a:r>
          </a:p>
          <a:p>
            <a:pPr marL="0" lvl="0" indent="0" algn="l" defTabSz="914400" rtl="0" eaLnBrk="1" latinLnBrk="0" hangingPunct="1">
              <a:lnSpc>
                <a:spcPts val="1300"/>
              </a:lnSpc>
              <a:spcBef>
                <a:spcPts val="0"/>
              </a:spcBef>
              <a:buFont typeface="Arial" charset="0"/>
              <a:buNone/>
            </a:pPr>
            <a:r>
              <a:rPr lang="en-US"/>
              <a:t>Third level</a:t>
            </a:r>
          </a:p>
          <a:p>
            <a:pPr marL="0" lvl="0" indent="0" algn="l" defTabSz="914400" rtl="0" eaLnBrk="1" latinLnBrk="0" hangingPunct="1">
              <a:lnSpc>
                <a:spcPts val="1300"/>
              </a:lnSpc>
              <a:spcBef>
                <a:spcPts val="0"/>
              </a:spcBef>
              <a:buFont typeface="Arial" charset="0"/>
              <a:buNone/>
            </a:pPr>
            <a:r>
              <a:rPr lang="en-US"/>
              <a:t>Fourth level</a:t>
            </a:r>
          </a:p>
          <a:p>
            <a:pPr marL="0" lvl="0" indent="0" algn="l" defTabSz="914400" rtl="0" eaLnBrk="1" latinLnBrk="0" hangingPunct="1">
              <a:lnSpc>
                <a:spcPts val="1300"/>
              </a:lnSpc>
              <a:spcBef>
                <a:spcPts val="0"/>
              </a:spcBef>
              <a:buFont typeface="Arial" charset="0"/>
              <a:buNone/>
            </a:pPr>
            <a:r>
              <a:rPr lang="en-US"/>
              <a:t>Fifth level</a:t>
            </a:r>
            <a:endParaRPr lang="en-GB"/>
          </a:p>
        </p:txBody>
      </p:sp>
      <p:sp>
        <p:nvSpPr>
          <p:cNvPr id="2" name="Title 1"/>
          <p:cNvSpPr>
            <a:spLocks noGrp="1"/>
          </p:cNvSpPr>
          <p:nvPr>
            <p:ph type="title" hasCustomPrompt="1"/>
          </p:nvPr>
        </p:nvSpPr>
        <p:spPr>
          <a:xfrm>
            <a:off x="864000" y="2915920"/>
            <a:ext cx="10489800" cy="1646556"/>
          </a:xfrm>
        </p:spPr>
        <p:txBody>
          <a:bodyPr anchor="t">
            <a:noAutofit/>
          </a:bodyPr>
          <a:lstStyle>
            <a:lvl1pPr>
              <a:defRPr sz="2800">
                <a:solidFill>
                  <a:schemeClr val="bg1"/>
                </a:solidFill>
              </a:defRPr>
            </a:lvl1pPr>
          </a:lstStyle>
          <a:p>
            <a:r>
              <a:rPr lang="en-US"/>
              <a:t>Title / </a:t>
            </a:r>
            <a:r>
              <a:rPr lang="en-US" err="1"/>
              <a:t>Titre</a:t>
            </a:r>
            <a:endParaRPr lang="en-US"/>
          </a:p>
        </p:txBody>
      </p:sp>
      <p:sp>
        <p:nvSpPr>
          <p:cNvPr id="6" name="TextBox 5"/>
          <p:cNvSpPr txBox="1"/>
          <p:nvPr userDrawn="1"/>
        </p:nvSpPr>
        <p:spPr>
          <a:xfrm>
            <a:off x="864003" y="6053814"/>
            <a:ext cx="4039893" cy="166712"/>
          </a:xfrm>
          <a:prstGeom prst="rect">
            <a:avLst/>
          </a:prstGeom>
          <a:noFill/>
        </p:spPr>
        <p:txBody>
          <a:bodyPr wrap="square" lIns="0" tIns="0" rIns="0" bIns="0" rtlCol="0">
            <a:spAutoFit/>
          </a:bodyPr>
          <a:lstStyle/>
          <a:p>
            <a:pPr>
              <a:lnSpc>
                <a:spcPts val="1300"/>
              </a:lnSpc>
            </a:pPr>
            <a:r>
              <a:rPr lang="en-GB" sz="1150">
                <a:solidFill>
                  <a:schemeClr val="bg1"/>
                </a:solidFill>
              </a:rPr>
              <a:t>aircanada.com</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4072" y="583030"/>
            <a:ext cx="1657158" cy="1626365"/>
          </a:xfrm>
          <a:prstGeom prst="rect">
            <a:avLst/>
          </a:prstGeom>
        </p:spPr>
      </p:pic>
    </p:spTree>
    <p:extLst>
      <p:ext uri="{BB962C8B-B14F-4D97-AF65-F5344CB8AC3E}">
        <p14:creationId xmlns:p14="http://schemas.microsoft.com/office/powerpoint/2010/main" val="2536469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black">
    <p:bg>
      <p:bgPr>
        <a:solidFill>
          <a:schemeClr val="tx1"/>
        </a:solidFill>
        <a:effectLst/>
      </p:bgPr>
    </p:bg>
    <p:spTree>
      <p:nvGrpSpPr>
        <p:cNvPr id="1" name=""/>
        <p:cNvGrpSpPr/>
        <p:nvPr/>
      </p:nvGrpSpPr>
      <p:grpSpPr>
        <a:xfrm>
          <a:off x="0" y="0"/>
          <a:ext cx="0" cy="0"/>
          <a:chOff x="0" y="0"/>
          <a:chExt cx="0" cy="0"/>
        </a:xfrm>
      </p:grpSpPr>
      <p:sp>
        <p:nvSpPr>
          <p:cNvPr id="8" name="Rectangle 7"/>
          <p:cNvSpPr/>
          <p:nvPr userDrawn="1"/>
        </p:nvSpPr>
        <p:spPr>
          <a:xfrm>
            <a:off x="0" y="6174000"/>
            <a:ext cx="12192000" cy="684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lvl1pPr>
              <a:defRPr>
                <a:solidFill>
                  <a:schemeClr val="bg1"/>
                </a:solidFill>
              </a:defRPr>
            </a:lvl1pPr>
          </a:lstStyle>
          <a:p>
            <a:r>
              <a:rPr lang="en-US"/>
              <a:t>Title / </a:t>
            </a:r>
            <a:r>
              <a:rPr lang="en-US" err="1"/>
              <a:t>Titre</a:t>
            </a:r>
            <a:endParaRPr lang="en-US"/>
          </a:p>
        </p:txBody>
      </p:sp>
      <p:sp>
        <p:nvSpPr>
          <p:cNvPr id="6" name="Slide Number Placeholder 5"/>
          <p:cNvSpPr>
            <a:spLocks noGrp="1"/>
          </p:cNvSpPr>
          <p:nvPr>
            <p:ph type="sldNum" sz="quarter" idx="12"/>
          </p:nvPr>
        </p:nvSpPr>
        <p:spPr>
          <a:xfrm>
            <a:off x="8610600" y="6408003"/>
            <a:ext cx="2743200" cy="365125"/>
          </a:xfrm>
        </p:spPr>
        <p:txBody>
          <a:bodyPr/>
          <a:lstStyle/>
          <a:p>
            <a:fld id="{D7012407-5950-B949-8BF3-E7EA9ADCB58D}" type="slidenum">
              <a:rPr lang="en-GB" smtClean="0"/>
              <a:t>‹#›</a:t>
            </a:fld>
            <a:endParaRPr lang="en-GB"/>
          </a:p>
        </p:txBody>
      </p:sp>
      <p:cxnSp>
        <p:nvCxnSpPr>
          <p:cNvPr id="9" name="Straight Connector 8"/>
          <p:cNvCxnSpPr/>
          <p:nvPr userDrawn="1"/>
        </p:nvCxnSpPr>
        <p:spPr>
          <a:xfrm>
            <a:off x="864000" y="6318208"/>
            <a:ext cx="1046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idx="1" hasCustomPrompt="1"/>
          </p:nvPr>
        </p:nvSpPr>
        <p:spPr>
          <a:xfrm>
            <a:off x="864000" y="1524323"/>
            <a:ext cx="10464000" cy="4681647"/>
          </a:xfrm>
        </p:spPr>
        <p:txBody>
          <a:bodyPr/>
          <a:lstStyle>
            <a:lvl1pPr>
              <a:lnSpc>
                <a:spcPts val="2400"/>
              </a:lnSpc>
              <a:defRPr spc="40" baseline="0">
                <a:solidFill>
                  <a:schemeClr val="bg1"/>
                </a:solidFill>
              </a:defRPr>
            </a:lvl1pPr>
            <a:lvl2pPr marL="0" indent="283464">
              <a:lnSpc>
                <a:spcPts val="2400"/>
              </a:lnSpc>
              <a:buSzPct val="100000"/>
              <a:buFont typeface="Arial" panose="020B0604020202020204" pitchFamily="34" charset="0"/>
              <a:buChar char="•"/>
              <a:defRPr spc="40" baseline="0">
                <a:solidFill>
                  <a:schemeClr val="bg1"/>
                </a:solidFill>
              </a:defRPr>
            </a:lvl2pPr>
            <a:lvl3pPr marL="284163" indent="283464">
              <a:lnSpc>
                <a:spcPts val="2400"/>
              </a:lnSpc>
              <a:buSzPct val="120000"/>
              <a:buFont typeface="Verdana" panose="020B0604030504040204" pitchFamily="34" charset="0"/>
              <a:buChar char="–"/>
              <a:defRPr spc="40" baseline="0">
                <a:solidFill>
                  <a:schemeClr val="bg1"/>
                </a:solidFill>
              </a:defRPr>
            </a:lvl3pPr>
            <a:lvl4pPr marL="854075" indent="-285750">
              <a:buSzPct val="120000"/>
              <a:buFont typeface="Verdana" panose="020B0604030504040204" pitchFamily="34" charset="0"/>
              <a:buChar char="–"/>
              <a:tabLst/>
              <a:defRPr lang="en-US" sz="1400" kern="1200" spc="40" baseline="0" dirty="0" smtClean="0">
                <a:solidFill>
                  <a:schemeClr val="bg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29028782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6E6B1A2C-89B5-40A0-A147-D09AE18875FC}"/>
              </a:ext>
            </a:extLst>
          </p:cNvPr>
          <p:cNvGraphicFramePr>
            <a:graphicFrameLocks noChangeAspect="1"/>
          </p:cNvGraphicFramePr>
          <p:nvPr>
            <p:custDataLst>
              <p:tags r:id="rId2"/>
            </p:custDataLst>
            <p:extLst>
              <p:ext uri="{D42A27DB-BD31-4B8C-83A1-F6EECF244321}">
                <p14:modId xmlns:p14="http://schemas.microsoft.com/office/powerpoint/2010/main" val="128261952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8210" name="think-cell Slide" r:id="rId5" imgW="359" imgH="360" progId="TCLayout.ActiveDocument.1">
                  <p:embed/>
                </p:oleObj>
              </mc:Choice>
              <mc:Fallback>
                <p:oleObj name="think-cell Slide" r:id="rId5" imgW="359" imgH="360" progId="TCLayout.ActiveDocument.1">
                  <p:embed/>
                  <p:pic>
                    <p:nvPicPr>
                      <p:cNvPr id="3" name="Objet 2" hidden="1">
                        <a:extLst>
                          <a:ext uri="{FF2B5EF4-FFF2-40B4-BE49-F238E27FC236}">
                            <a16:creationId xmlns:a16="http://schemas.microsoft.com/office/drawing/2014/main" id="{6E6B1A2C-89B5-40A0-A147-D09AE18875FC}"/>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gray">
          <a:xfrm>
            <a:off x="161987" y="234865"/>
            <a:ext cx="11725484" cy="439639"/>
          </a:xfrm>
        </p:spPr>
        <p:txBody>
          <a:bodyPr/>
          <a:lstStyle/>
          <a:p>
            <a:r>
              <a:rPr lang="fr-FR"/>
              <a:t>Modifiez le style du titre</a:t>
            </a:r>
            <a:endParaRPr lang="en-CA"/>
          </a:p>
        </p:txBody>
      </p:sp>
      <p:sp>
        <p:nvSpPr>
          <p:cNvPr id="8" name="Slide Number"/>
          <p:cNvSpPr txBox="1">
            <a:spLocks/>
          </p:cNvSpPr>
          <p:nvPr/>
        </p:nvSpPr>
        <p:spPr bwMode="gray">
          <a:xfrm>
            <a:off x="11759895" y="6639224"/>
            <a:ext cx="130847" cy="128097"/>
          </a:xfrm>
          <a:prstGeom prst="rect">
            <a:avLst/>
          </a:prstGeom>
        </p:spPr>
        <p:txBody>
          <a:bodyPr vert="horz" wrap="none" lIns="0" tIns="0" rIns="0" bIns="0" rtlCol="0" anchor="ctr">
            <a:spAutoFit/>
          </a:bodyPr>
          <a:lstStyle>
            <a:defPPr>
              <a:defRPr lang="en-CA"/>
            </a:defPPr>
            <a:lvl1pPr>
              <a:defRPr sz="1000" baseline="0">
                <a:latin typeface="+mn-lt"/>
              </a:defRPr>
            </a:lvl1pPr>
          </a:lstStyle>
          <a:p>
            <a:pPr lvl="0"/>
            <a:fld id="{42C328C1-A84F-4A39-A664-DBA00541A8C6}" type="slidenum">
              <a:rPr lang="en-CA" sz="816" smtClean="0">
                <a:solidFill>
                  <a:schemeClr val="accent6"/>
                </a:solidFill>
              </a:rPr>
              <a:pPr lvl="0"/>
              <a:t>‹#›</a:t>
            </a:fld>
            <a:endParaRPr lang="en-CA" sz="816">
              <a:solidFill>
                <a:schemeClr val="accent6"/>
              </a:solidFill>
            </a:endParaRPr>
          </a:p>
        </p:txBody>
      </p:sp>
      <p:sp>
        <p:nvSpPr>
          <p:cNvPr id="9" name="SlideLogoText"/>
          <p:cNvSpPr>
            <a:spLocks noChangeArrowheads="1"/>
          </p:cNvSpPr>
          <p:nvPr>
            <p:custDataLst>
              <p:tags r:id="rId3"/>
            </p:custDataLst>
          </p:nvPr>
        </p:nvSpPr>
        <p:spPr bwMode="gray">
          <a:xfrm>
            <a:off x="10572917"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CA" sz="816" baseline="0" noProof="0">
                <a:solidFill>
                  <a:schemeClr val="accent6"/>
                </a:solidFill>
                <a:latin typeface="+mn-lt"/>
                <a:ea typeface="+mn-ea"/>
              </a:rPr>
              <a:t>McKinsey &amp; Company</a:t>
            </a:r>
          </a:p>
        </p:txBody>
      </p:sp>
      <p:sp>
        <p:nvSpPr>
          <p:cNvPr id="5" name="doc id" hidden="1"/>
          <p:cNvSpPr>
            <a:spLocks noChangeArrowheads="1"/>
          </p:cNvSpPr>
          <p:nvPr/>
        </p:nvSpPr>
        <p:spPr bwMode="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en-CA" sz="612" baseline="0">
              <a:solidFill>
                <a:srgbClr val="808080"/>
              </a:solidFill>
              <a:latin typeface="+mn-lt"/>
              <a:ea typeface="+mn-ea"/>
            </a:endParaRPr>
          </a:p>
        </p:txBody>
      </p:sp>
      <p:sp>
        <p:nvSpPr>
          <p:cNvPr id="7" name="Rectangle 6">
            <a:extLst>
              <a:ext uri="{FF2B5EF4-FFF2-40B4-BE49-F238E27FC236}">
                <a16:creationId xmlns:a16="http://schemas.microsoft.com/office/drawing/2014/main" id="{86B94FFE-5D94-41F1-963E-4E4FD00D1462}"/>
              </a:ext>
            </a:extLst>
          </p:cNvPr>
          <p:cNvSpPr/>
          <p:nvPr userDrawn="1"/>
        </p:nvSpPr>
        <p:spPr>
          <a:xfrm>
            <a:off x="1"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Slide Number Placeholder 5">
            <a:extLst>
              <a:ext uri="{FF2B5EF4-FFF2-40B4-BE49-F238E27FC236}">
                <a16:creationId xmlns:a16="http://schemas.microsoft.com/office/drawing/2014/main" id="{E46E37FD-E225-4CA9-8219-D5294B20014E}"/>
              </a:ext>
            </a:extLst>
          </p:cNvPr>
          <p:cNvSpPr>
            <a:spLocks noGrp="1"/>
          </p:cNvSpPr>
          <p:nvPr>
            <p:ph type="sldNum" sz="quarter" idx="12"/>
          </p:nvPr>
        </p:nvSpPr>
        <p:spPr>
          <a:xfrm>
            <a:off x="8610600" y="6406477"/>
            <a:ext cx="2743200" cy="365125"/>
          </a:xfrm>
        </p:spPr>
        <p:txBody>
          <a:bodyPr/>
          <a:lstStyle/>
          <a:p>
            <a:fld id="{D7012407-5950-B949-8BF3-E7EA9ADCB58D}" type="slidenum">
              <a:rPr lang="en-GB" smtClean="0"/>
              <a:t>‹#›</a:t>
            </a:fld>
            <a:endParaRPr lang="en-GB"/>
          </a:p>
        </p:txBody>
      </p:sp>
      <p:pic>
        <p:nvPicPr>
          <p:cNvPr id="11" name="Picture 10">
            <a:extLst>
              <a:ext uri="{FF2B5EF4-FFF2-40B4-BE49-F238E27FC236}">
                <a16:creationId xmlns:a16="http://schemas.microsoft.com/office/drawing/2014/main" id="{8C5C717C-C467-43D8-B228-61C83D31922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4126409822"/>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12921073"/>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9234"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CAFACE-70D0-4BA9-9BC4-2BF13D2B67EC}"/>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CA" sz="2857" b="0" i="0" baseline="0">
              <a:solidFill>
                <a:schemeClr val="accent4"/>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lvl1pPr>
              <a:defRPr>
                <a:latin typeface="+mj-lt"/>
                <a:ea typeface="+mj-ea"/>
                <a:cs typeface="+mj-cs"/>
                <a:sym typeface="+mj-lt"/>
              </a:defRPr>
            </a:lvl1pPr>
          </a:lstStyle>
          <a:p>
            <a:r>
              <a:rPr lang="en-CA"/>
              <a:t>Click to edit Master title style</a:t>
            </a:r>
          </a:p>
        </p:txBody>
      </p:sp>
    </p:spTree>
    <p:extLst>
      <p:ext uri="{BB962C8B-B14F-4D97-AF65-F5344CB8AC3E}">
        <p14:creationId xmlns:p14="http://schemas.microsoft.com/office/powerpoint/2010/main" val="960181170"/>
      </p:ext>
    </p:extLst>
  </p:cSld>
  <p:clrMapOvr>
    <a:masterClrMapping/>
  </p:clrMapOvr>
  <p:extLst>
    <p:ext uri="{DCECCB84-F9BA-43D5-87BE-67443E8EF086}">
      <p15:sldGuideLst xmlns:p15="http://schemas.microsoft.com/office/powerpoint/2012/main">
        <p15:guide id="1" pos="7386">
          <p15:clr>
            <a:srgbClr val="F26B43"/>
          </p15:clr>
        </p15:guide>
        <p15:guide id="2" pos="141">
          <p15:clr>
            <a:srgbClr val="F26B43"/>
          </p15:clr>
        </p15:guide>
        <p15:guide id="3" orient="horz" pos="400">
          <p15:clr>
            <a:srgbClr val="F26B43"/>
          </p15:clr>
        </p15:guide>
        <p15:guide id="4" orient="horz" pos="4069">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Slide-black">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80E442-61E5-4C1B-A717-5EEFAD586461}"/>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0258" name="think-cell Slide" r:id="rId5" imgW="526" imgH="526" progId="TCLayout.ActiveDocument.1">
                  <p:embed/>
                </p:oleObj>
              </mc:Choice>
              <mc:Fallback>
                <p:oleObj name="think-cell Slide" r:id="rId5" imgW="526" imgH="526" progId="TCLayout.ActiveDocument.1">
                  <p:embed/>
                  <p:pic>
                    <p:nvPicPr>
                      <p:cNvPr id="6" name="Object 5" hidden="1">
                        <a:extLst>
                          <a:ext uri="{FF2B5EF4-FFF2-40B4-BE49-F238E27FC236}">
                            <a16:creationId xmlns:a16="http://schemas.microsoft.com/office/drawing/2014/main" id="{0880E442-61E5-4C1B-A717-5EEFAD586461}"/>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1DD7A3-E41A-4707-9A15-CF21BB0FFB4E}"/>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CA" sz="2800" b="0" i="0" baseline="0">
              <a:solidFill>
                <a:schemeClr val="tx1"/>
              </a:solidFill>
              <a:latin typeface="Arial" panose="020B0604020202020204" pitchFamily="34" charset="0"/>
              <a:ea typeface="+mj-ea"/>
              <a:cs typeface="+mj-cs"/>
              <a:sym typeface="Arial" panose="020B0604020202020204" pitchFamily="34" charset="0"/>
            </a:endParaRPr>
          </a:p>
        </p:txBody>
      </p:sp>
      <p:sp>
        <p:nvSpPr>
          <p:cNvPr id="12" name="Rectangle 11"/>
          <p:cNvSpPr/>
          <p:nvPr/>
        </p:nvSpPr>
        <p:spPr>
          <a:xfrm>
            <a:off x="1" y="6318000"/>
            <a:ext cx="12192000" cy="540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CA" sz="1800"/>
          </a:p>
        </p:txBody>
      </p:sp>
      <p:sp>
        <p:nvSpPr>
          <p:cNvPr id="2" name="Title 1"/>
          <p:cNvSpPr>
            <a:spLocks noGrp="1"/>
          </p:cNvSpPr>
          <p:nvPr>
            <p:ph type="ctrTitle" hasCustomPrompt="1"/>
          </p:nvPr>
        </p:nvSpPr>
        <p:spPr>
          <a:xfrm>
            <a:off x="864001" y="2925221"/>
            <a:ext cx="10464000" cy="1023931"/>
          </a:xfrm>
        </p:spPr>
        <p:txBody>
          <a:bodyPr anchor="t">
            <a:noAutofit/>
          </a:bodyPr>
          <a:lstStyle>
            <a:lvl1pPr algn="l">
              <a:defRPr sz="2800">
                <a:solidFill>
                  <a:schemeClr val="bg1"/>
                </a:solidFill>
              </a:defRPr>
            </a:lvl1pPr>
          </a:lstStyle>
          <a:p>
            <a:r>
              <a:rPr lang="en-CA"/>
              <a:t>Title / Titre</a:t>
            </a:r>
          </a:p>
        </p:txBody>
      </p:sp>
      <p:sp>
        <p:nvSpPr>
          <p:cNvPr id="3" name="Subtitle 2"/>
          <p:cNvSpPr>
            <a:spLocks noGrp="1"/>
          </p:cNvSpPr>
          <p:nvPr>
            <p:ph type="subTitle" idx="1" hasCustomPrompt="1"/>
          </p:nvPr>
        </p:nvSpPr>
        <p:spPr>
          <a:xfrm>
            <a:off x="864001" y="4068004"/>
            <a:ext cx="10464000" cy="578069"/>
          </a:xfrm>
        </p:spPr>
        <p:txBody>
          <a:bodyPr>
            <a:noAutofit/>
          </a:bodyPr>
          <a:lstStyle>
            <a:lvl1pPr marL="0" indent="0" algn="l">
              <a:lnSpc>
                <a:spcPts val="1600"/>
              </a:lnSpc>
              <a:spcBef>
                <a:spcPts val="0"/>
              </a:spcBef>
              <a:buNone/>
              <a:defRPr sz="1200" b="1">
                <a:solidFill>
                  <a:schemeClr val="bg1"/>
                </a:solidFill>
              </a:defRPr>
            </a:lvl1pPr>
            <a:lvl2pPr marL="457198" indent="0" algn="ctr">
              <a:buNone/>
              <a:defRPr sz="2000"/>
            </a:lvl2pPr>
            <a:lvl3pPr marL="914396" indent="0" algn="ctr">
              <a:buNone/>
              <a:defRPr sz="1800"/>
            </a:lvl3pPr>
            <a:lvl4pPr marL="1371594" indent="0" algn="ctr">
              <a:buNone/>
              <a:defRPr sz="1600"/>
            </a:lvl4pPr>
            <a:lvl5pPr marL="1828793" indent="0" algn="ctr">
              <a:buNone/>
              <a:defRPr sz="1600"/>
            </a:lvl5pPr>
            <a:lvl6pPr marL="2285991" indent="0" algn="ctr">
              <a:buNone/>
              <a:defRPr sz="1600"/>
            </a:lvl6pPr>
            <a:lvl7pPr marL="2743189" indent="0" algn="ctr">
              <a:buNone/>
              <a:defRPr sz="1600"/>
            </a:lvl7pPr>
            <a:lvl8pPr marL="3200387" indent="0" algn="ctr">
              <a:buNone/>
              <a:defRPr sz="1600"/>
            </a:lvl8pPr>
            <a:lvl9pPr marL="3657586" indent="0" algn="ctr">
              <a:buNone/>
              <a:defRPr sz="1600"/>
            </a:lvl9pPr>
          </a:lstStyle>
          <a:p>
            <a:r>
              <a:rPr lang="en-CA"/>
              <a:t>Presenter name / Nom du </a:t>
            </a:r>
            <a:r>
              <a:rPr lang="en-CA" err="1"/>
              <a:t>présentateur</a:t>
            </a:r>
            <a:br>
              <a:rPr lang="en-CA"/>
            </a:br>
            <a:r>
              <a:rPr lang="en-CA"/>
              <a:t>Department / </a:t>
            </a:r>
            <a:r>
              <a:rPr lang="en-CA" err="1"/>
              <a:t>Département</a:t>
            </a:r>
            <a:endParaRPr lang="en-CA"/>
          </a:p>
        </p:txBody>
      </p:sp>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80046" y="6513239"/>
            <a:ext cx="1947956" cy="174559"/>
          </a:xfrm>
          <a:prstGeom prst="rect">
            <a:avLst/>
          </a:prstGeom>
        </p:spPr>
      </p:pic>
      <p:sp>
        <p:nvSpPr>
          <p:cNvPr id="5" name="Text Placeholder 4"/>
          <p:cNvSpPr>
            <a:spLocks noGrp="1"/>
          </p:cNvSpPr>
          <p:nvPr>
            <p:ph type="body" sz="quarter" idx="10" hasCustomPrompt="1"/>
          </p:nvPr>
        </p:nvSpPr>
        <p:spPr>
          <a:xfrm>
            <a:off x="863601" y="4742320"/>
            <a:ext cx="10464800" cy="666750"/>
          </a:xfrm>
        </p:spPr>
        <p:txBody>
          <a:bodyPr/>
          <a:lstStyle>
            <a:lvl1pPr>
              <a:lnSpc>
                <a:spcPts val="1600"/>
              </a:lnSpc>
              <a:defRPr sz="1200" b="1">
                <a:solidFill>
                  <a:schemeClr val="bg1"/>
                </a:solidFill>
              </a:defRPr>
            </a:lvl1pPr>
          </a:lstStyle>
          <a:p>
            <a:pPr lvl="0"/>
            <a:r>
              <a:rPr lang="en-CA"/>
              <a:t>Date</a:t>
            </a:r>
          </a:p>
        </p:txBody>
      </p:sp>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072" y="583030"/>
            <a:ext cx="1657158" cy="1626365"/>
          </a:xfrm>
          <a:prstGeom prst="rect">
            <a:avLst/>
          </a:prstGeom>
        </p:spPr>
      </p:pic>
      <p:pic>
        <p:nvPicPr>
          <p:cNvPr id="16" name="Picture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1520" y="6453297"/>
            <a:ext cx="2221596" cy="294437"/>
          </a:xfrm>
          <a:prstGeom prst="rect">
            <a:avLst/>
          </a:prstGeom>
        </p:spPr>
      </p:pic>
    </p:spTree>
    <p:extLst>
      <p:ext uri="{BB962C8B-B14F-4D97-AF65-F5344CB8AC3E}">
        <p14:creationId xmlns:p14="http://schemas.microsoft.com/office/powerpoint/2010/main" val="781723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4156C-93B0-4C4B-8731-77B44D64EF4A}"/>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CC5FF5B-A42D-44B9-B754-1174D4C424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8132703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246221"/>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en-CA"/>
              <a:t>Priveledged and Confidential</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777890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8820727" y="0"/>
            <a:ext cx="2817091" cy="6858000"/>
          </a:xfrm>
          <a:custGeom>
            <a:avLst/>
            <a:gdLst/>
            <a:ahLst/>
            <a:cxnLst/>
            <a:rect l="l" t="t" r="r" b="b"/>
            <a:pathLst>
              <a:path w="2324100" h="7772400">
                <a:moveTo>
                  <a:pt x="2324100" y="0"/>
                </a:moveTo>
                <a:lnTo>
                  <a:pt x="0" y="0"/>
                </a:lnTo>
                <a:lnTo>
                  <a:pt x="0" y="7772400"/>
                </a:lnTo>
                <a:lnTo>
                  <a:pt x="2324100" y="7772400"/>
                </a:lnTo>
                <a:lnTo>
                  <a:pt x="2324100" y="0"/>
                </a:lnTo>
                <a:close/>
              </a:path>
            </a:pathLst>
          </a:custGeom>
          <a:solidFill>
            <a:srgbClr val="000000"/>
          </a:solidFill>
        </p:spPr>
        <p:txBody>
          <a:bodyPr wrap="square" lIns="0" tIns="0" rIns="0" bIns="0" rtlCol="0"/>
          <a:lstStyle/>
          <a:p>
            <a:endParaRPr sz="1588"/>
          </a:p>
        </p:txBody>
      </p:sp>
      <p:sp>
        <p:nvSpPr>
          <p:cNvPr id="2" name="Holder 2"/>
          <p:cNvSpPr>
            <a:spLocks noGrp="1"/>
          </p:cNvSpPr>
          <p:nvPr>
            <p:ph type="title"/>
          </p:nvPr>
        </p:nvSpPr>
        <p:spPr>
          <a:xfrm>
            <a:off x="9097818" y="438820"/>
            <a:ext cx="1477818" cy="217304"/>
          </a:xfrm>
        </p:spPr>
        <p:txBody>
          <a:bodyPr lIns="0" tIns="0" rIns="0" bIns="0"/>
          <a:lstStyle>
            <a:lvl1pPr>
              <a:defRPr sz="1412" b="1" i="0">
                <a:solidFill>
                  <a:srgbClr val="B79A8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en-CA"/>
              <a:t>Priveledged and Confidential</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535362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9097818" y="438820"/>
            <a:ext cx="1477818" cy="217304"/>
          </a:xfrm>
        </p:spPr>
        <p:txBody>
          <a:bodyPr lIns="0" tIns="0" rIns="0" bIns="0"/>
          <a:lstStyle>
            <a:lvl1pPr>
              <a:defRPr sz="1412" b="1" i="0">
                <a:solidFill>
                  <a:srgbClr val="B79A81"/>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r>
              <a:rPr lang="en-CA"/>
              <a:t>Priveledged and Confidential</a:t>
            </a:r>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167913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9097818" y="438820"/>
            <a:ext cx="1477818" cy="217304"/>
          </a:xfrm>
        </p:spPr>
        <p:txBody>
          <a:bodyPr lIns="0" tIns="0" rIns="0" bIns="0"/>
          <a:lstStyle>
            <a:lvl1pPr>
              <a:defRPr sz="1412" b="1" i="0">
                <a:solidFill>
                  <a:srgbClr val="B79A8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r>
              <a:rPr lang="en-CA"/>
              <a:t>Priveledged and Confidential</a:t>
            </a:r>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888783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CA"/>
              <a:t>Priveledged and Confidential</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069120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6E6B1A2C-89B5-40A0-A147-D09AE18875FC}"/>
              </a:ext>
            </a:extLst>
          </p:cNvPr>
          <p:cNvGraphicFramePr>
            <a:graphicFrameLocks noChangeAspect="1"/>
          </p:cNvGraphicFramePr>
          <p:nvPr>
            <p:custDataLst>
              <p:tags r:id="rId2"/>
            </p:custDataLst>
            <p:extLst>
              <p:ext uri="{D42A27DB-BD31-4B8C-83A1-F6EECF244321}">
                <p14:modId xmlns:p14="http://schemas.microsoft.com/office/powerpoint/2010/main" val="275577306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2306" name="think-cell Slide" r:id="rId5" imgW="359" imgH="360" progId="TCLayout.ActiveDocument.1">
                  <p:embed/>
                </p:oleObj>
              </mc:Choice>
              <mc:Fallback>
                <p:oleObj name="think-cell Slide" r:id="rId5" imgW="359" imgH="360" progId="TCLayout.ActiveDocument.1">
                  <p:embed/>
                  <p:pic>
                    <p:nvPicPr>
                      <p:cNvPr id="3" name="Objet 2" hidden="1">
                        <a:extLst>
                          <a:ext uri="{FF2B5EF4-FFF2-40B4-BE49-F238E27FC236}">
                            <a16:creationId xmlns:a16="http://schemas.microsoft.com/office/drawing/2014/main" id="{6E6B1A2C-89B5-40A0-A147-D09AE18875FC}"/>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gray">
          <a:xfrm>
            <a:off x="161987" y="234865"/>
            <a:ext cx="11725484" cy="439639"/>
          </a:xfrm>
        </p:spPr>
        <p:txBody>
          <a:bodyPr/>
          <a:lstStyle/>
          <a:p>
            <a:r>
              <a:rPr lang="fr-FR"/>
              <a:t>Modifiez le style du titre</a:t>
            </a:r>
            <a:endParaRPr lang="en-CA"/>
          </a:p>
        </p:txBody>
      </p:sp>
      <p:sp>
        <p:nvSpPr>
          <p:cNvPr id="8" name="Slide Number"/>
          <p:cNvSpPr txBox="1">
            <a:spLocks/>
          </p:cNvSpPr>
          <p:nvPr/>
        </p:nvSpPr>
        <p:spPr bwMode="gray">
          <a:xfrm>
            <a:off x="11759895" y="6639224"/>
            <a:ext cx="130847" cy="128097"/>
          </a:xfrm>
          <a:prstGeom prst="rect">
            <a:avLst/>
          </a:prstGeom>
        </p:spPr>
        <p:txBody>
          <a:bodyPr vert="horz" wrap="none" lIns="0" tIns="0" rIns="0" bIns="0" rtlCol="0" anchor="ctr">
            <a:spAutoFit/>
          </a:bodyPr>
          <a:lstStyle>
            <a:defPPr>
              <a:defRPr lang="en-CA"/>
            </a:defPPr>
            <a:lvl1pPr>
              <a:defRPr sz="1000" baseline="0">
                <a:latin typeface="+mn-lt"/>
              </a:defRPr>
            </a:lvl1pPr>
          </a:lstStyle>
          <a:p>
            <a:pPr lvl="0"/>
            <a:fld id="{42C328C1-A84F-4A39-A664-DBA00541A8C6}" type="slidenum">
              <a:rPr lang="en-CA" sz="816" smtClean="0">
                <a:solidFill>
                  <a:schemeClr val="accent6"/>
                </a:solidFill>
              </a:rPr>
              <a:pPr lvl="0"/>
              <a:t>‹#›</a:t>
            </a:fld>
            <a:endParaRPr lang="en-CA" sz="816">
              <a:solidFill>
                <a:schemeClr val="accent6"/>
              </a:solidFill>
            </a:endParaRPr>
          </a:p>
        </p:txBody>
      </p:sp>
      <p:sp>
        <p:nvSpPr>
          <p:cNvPr id="9" name="SlideLogoText"/>
          <p:cNvSpPr>
            <a:spLocks noChangeArrowheads="1"/>
          </p:cNvSpPr>
          <p:nvPr>
            <p:custDataLst>
              <p:tags r:id="rId3"/>
            </p:custDataLst>
          </p:nvPr>
        </p:nvSpPr>
        <p:spPr bwMode="gray">
          <a:xfrm>
            <a:off x="10572917"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CA" sz="816" baseline="0" noProof="0">
                <a:solidFill>
                  <a:schemeClr val="accent6"/>
                </a:solidFill>
                <a:latin typeface="+mn-lt"/>
                <a:ea typeface="+mn-ea"/>
              </a:rPr>
              <a:t>McKinsey &amp; Company</a:t>
            </a:r>
          </a:p>
        </p:txBody>
      </p:sp>
      <p:sp>
        <p:nvSpPr>
          <p:cNvPr id="5" name="doc id" hidden="1"/>
          <p:cNvSpPr>
            <a:spLocks noChangeArrowheads="1"/>
          </p:cNvSpPr>
          <p:nvPr/>
        </p:nvSpPr>
        <p:spPr bwMode="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en-CA" sz="612" baseline="0">
              <a:solidFill>
                <a:srgbClr val="808080"/>
              </a:solidFill>
              <a:latin typeface="+mn-lt"/>
              <a:ea typeface="+mn-ea"/>
            </a:endParaRPr>
          </a:p>
        </p:txBody>
      </p:sp>
      <p:sp>
        <p:nvSpPr>
          <p:cNvPr id="7" name="Rectangle 6">
            <a:extLst>
              <a:ext uri="{FF2B5EF4-FFF2-40B4-BE49-F238E27FC236}">
                <a16:creationId xmlns:a16="http://schemas.microsoft.com/office/drawing/2014/main" id="{86B94FFE-5D94-41F1-963E-4E4FD00D1462}"/>
              </a:ext>
            </a:extLst>
          </p:cNvPr>
          <p:cNvSpPr/>
          <p:nvPr userDrawn="1"/>
        </p:nvSpPr>
        <p:spPr>
          <a:xfrm>
            <a:off x="1"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Slide Number Placeholder 5">
            <a:extLst>
              <a:ext uri="{FF2B5EF4-FFF2-40B4-BE49-F238E27FC236}">
                <a16:creationId xmlns:a16="http://schemas.microsoft.com/office/drawing/2014/main" id="{E46E37FD-E225-4CA9-8219-D5294B20014E}"/>
              </a:ext>
            </a:extLst>
          </p:cNvPr>
          <p:cNvSpPr>
            <a:spLocks noGrp="1"/>
          </p:cNvSpPr>
          <p:nvPr>
            <p:ph type="sldNum" sz="quarter" idx="12"/>
          </p:nvPr>
        </p:nvSpPr>
        <p:spPr>
          <a:xfrm>
            <a:off x="8610600" y="6406477"/>
            <a:ext cx="2743200" cy="365125"/>
          </a:xfrm>
        </p:spPr>
        <p:txBody>
          <a:bodyPr/>
          <a:lstStyle/>
          <a:p>
            <a:fld id="{D7012407-5950-B949-8BF3-E7EA9ADCB58D}" type="slidenum">
              <a:rPr lang="en-GB" smtClean="0"/>
              <a:t>‹#›</a:t>
            </a:fld>
            <a:endParaRPr lang="en-GB"/>
          </a:p>
        </p:txBody>
      </p:sp>
      <p:pic>
        <p:nvPicPr>
          <p:cNvPr id="11" name="Picture 10">
            <a:extLst>
              <a:ext uri="{FF2B5EF4-FFF2-40B4-BE49-F238E27FC236}">
                <a16:creationId xmlns:a16="http://schemas.microsoft.com/office/drawing/2014/main" id="{8C5C717C-C467-43D8-B228-61C83D31922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3679866150"/>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Content-grey">
    <p:bg>
      <p:bgPr>
        <a:solidFill>
          <a:schemeClr val="bg2"/>
        </a:solidFill>
        <a:effectLst/>
      </p:bgPr>
    </p:bg>
    <p:spTree>
      <p:nvGrpSpPr>
        <p:cNvPr id="1" name=""/>
        <p:cNvGrpSpPr/>
        <p:nvPr/>
      </p:nvGrpSpPr>
      <p:grpSpPr>
        <a:xfrm>
          <a:off x="0" y="0"/>
          <a:ext cx="0" cy="0"/>
          <a:chOff x="0" y="0"/>
          <a:chExt cx="0" cy="0"/>
        </a:xfrm>
      </p:grpSpPr>
      <p:sp>
        <p:nvSpPr>
          <p:cNvPr id="7" name="Rectangle 6"/>
          <p:cNvSpPr/>
          <p:nvPr userDrawn="1"/>
        </p:nvSpPr>
        <p:spPr>
          <a:xfrm>
            <a:off x="0"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p>
            <a:r>
              <a:rPr lang="en-US"/>
              <a:t>Title / </a:t>
            </a:r>
            <a:r>
              <a:rPr lang="en-US" err="1"/>
              <a:t>Titre</a:t>
            </a:r>
            <a:endParaRPr lang="en-US"/>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10" name="Content Placeholder 2"/>
          <p:cNvSpPr>
            <a:spLocks noGrp="1"/>
          </p:cNvSpPr>
          <p:nvPr>
            <p:ph idx="1" hasCustomPrompt="1"/>
          </p:nvPr>
        </p:nvSpPr>
        <p:spPr>
          <a:xfrm>
            <a:off x="864000" y="1524000"/>
            <a:ext cx="10464000" cy="4681970"/>
          </a:xfrm>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854075" indent="-285750">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12832197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Diapositive de tit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12396654"/>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1333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443D5C16-98C0-4DFD-9D4F-F26FB14B907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321" y="0"/>
            <a:ext cx="12187680" cy="6858001"/>
          </a:xfrm>
          <a:prstGeom prst="rect">
            <a:avLst/>
          </a:prstGeom>
        </p:spPr>
      </p:pic>
      <p:sp>
        <p:nvSpPr>
          <p:cNvPr id="37" name="TitleRectangle"/>
          <p:cNvSpPr>
            <a:spLocks/>
          </p:cNvSpPr>
          <p:nvPr/>
        </p:nvSpPr>
        <p:spPr>
          <a:xfrm>
            <a:off x="2836216" y="-1"/>
            <a:ext cx="9355784" cy="4048477"/>
          </a:xfrm>
          <a:prstGeom prst="rect">
            <a:avLst/>
          </a:prstGeom>
          <a:solidFill>
            <a:schemeClr val="accent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7" baseline="0">
              <a:solidFill>
                <a:schemeClr val="tx1"/>
              </a:solidFill>
              <a:latin typeface="+mn-lt"/>
            </a:endParaRPr>
          </a:p>
        </p:txBody>
      </p:sp>
      <p:sp>
        <p:nvSpPr>
          <p:cNvPr id="5" name="doc id" hidden="1"/>
          <p:cNvSpPr txBox="1">
            <a:spLocks noChangeArrowheads="1"/>
          </p:cNvSpPr>
          <p:nvPr/>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CA" sz="1089" baseline="0" noProof="0">
              <a:solidFill>
                <a:schemeClr val="bg1"/>
              </a:solidFill>
              <a:latin typeface="+mn-lt"/>
            </a:endParaRPr>
          </a:p>
        </p:txBody>
      </p:sp>
      <p:sp>
        <p:nvSpPr>
          <p:cNvPr id="4" name="Working Draft Text" hidden="1"/>
          <p:cNvSpPr txBox="1">
            <a:spLocks noChangeArrowheads="1"/>
          </p:cNvSpPr>
          <p:nvPr/>
        </p:nvSpPr>
        <p:spPr bwMode="black">
          <a:xfrm>
            <a:off x="8270633" y="6381111"/>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CA" sz="816" b="1" baseline="0" noProof="0">
                <a:solidFill>
                  <a:schemeClr val="bg1"/>
                </a:solidFill>
                <a:latin typeface="+mn-lt"/>
              </a:rPr>
              <a:t>WORKING DRAFT</a:t>
            </a:r>
          </a:p>
        </p:txBody>
      </p:sp>
      <p:sp>
        <p:nvSpPr>
          <p:cNvPr id="6" name="Working Draft" hidden="1"/>
          <p:cNvSpPr txBox="1">
            <a:spLocks noChangeArrowheads="1"/>
          </p:cNvSpPr>
          <p:nvPr/>
        </p:nvSpPr>
        <p:spPr bwMode="black">
          <a:xfrm>
            <a:off x="8270633" y="6506726"/>
            <a:ext cx="392136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noProof="0">
                <a:solidFill>
                  <a:schemeClr val="bg1"/>
                </a:solidFill>
                <a:latin typeface="+mn-lt"/>
              </a:rPr>
              <a:t>Last Modified 2019-07-03 16:31 Est</a:t>
            </a:r>
            <a:endParaRPr lang="en-CA" sz="816" baseline="0" noProof="0">
              <a:solidFill>
                <a:schemeClr val="bg1"/>
              </a:solidFill>
              <a:latin typeface="+mn-lt"/>
            </a:endParaRPr>
          </a:p>
        </p:txBody>
      </p:sp>
      <p:sp>
        <p:nvSpPr>
          <p:cNvPr id="7" name="Printed" hidden="1"/>
          <p:cNvSpPr txBox="1">
            <a:spLocks noChangeArrowheads="1"/>
          </p:cNvSpPr>
          <p:nvPr/>
        </p:nvSpPr>
        <p:spPr bwMode="black">
          <a:xfrm>
            <a:off x="8270635" y="6632336"/>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noProof="0">
                <a:solidFill>
                  <a:schemeClr val="bg1"/>
                </a:solidFill>
                <a:latin typeface="+mn-lt"/>
              </a:rPr>
              <a:t>Printed 3/6/2019 12:27 PM Eastern Standard Time</a:t>
            </a:r>
            <a:endParaRPr lang="en-CA" sz="816" baseline="0" noProof="0">
              <a:solidFill>
                <a:schemeClr val="bg1"/>
              </a:solidFill>
              <a:latin typeface="+mn-lt"/>
            </a:endParaRPr>
          </a:p>
        </p:txBody>
      </p:sp>
      <p:sp>
        <p:nvSpPr>
          <p:cNvPr id="13314" name="Title"/>
          <p:cNvSpPr>
            <a:spLocks noGrp="1" noChangeArrowheads="1"/>
          </p:cNvSpPr>
          <p:nvPr>
            <p:ph type="ctrTitle"/>
          </p:nvPr>
        </p:nvSpPr>
        <p:spPr bwMode="gray">
          <a:xfrm>
            <a:off x="3085967" y="1463556"/>
            <a:ext cx="8478152" cy="628056"/>
          </a:xfrm>
          <a:prstGeom prst="rect">
            <a:avLst/>
          </a:prstGeom>
        </p:spPr>
        <p:txBody>
          <a:bodyPr/>
          <a:lstStyle>
            <a:lvl1pPr>
              <a:defRPr sz="4081" b="0" baseline="0">
                <a:solidFill>
                  <a:schemeClr val="accent2"/>
                </a:solidFill>
                <a:latin typeface="+mj-lt"/>
                <a:ea typeface="+mj-ea"/>
              </a:defRPr>
            </a:lvl1pPr>
          </a:lstStyle>
          <a:p>
            <a:pPr lvl="0" latinLnBrk="0"/>
            <a:r>
              <a:rPr lang="fr-FR" noProof="0"/>
              <a:t>Modifiez le style du titre</a:t>
            </a:r>
            <a:endParaRPr lang="en-CA" noProof="0"/>
          </a:p>
        </p:txBody>
      </p:sp>
      <p:sp>
        <p:nvSpPr>
          <p:cNvPr id="13315" name="Subtitle"/>
          <p:cNvSpPr>
            <a:spLocks noGrp="1" noChangeArrowheads="1"/>
          </p:cNvSpPr>
          <p:nvPr>
            <p:ph type="subTitle" idx="1"/>
          </p:nvPr>
        </p:nvSpPr>
        <p:spPr bwMode="gray">
          <a:xfrm>
            <a:off x="3085967" y="3182433"/>
            <a:ext cx="8478152" cy="219820"/>
          </a:xfrm>
          <a:prstGeom prst="rect">
            <a:avLst/>
          </a:prstGeom>
        </p:spPr>
        <p:txBody>
          <a:bodyPr wrap="square">
            <a:spAutoFit/>
          </a:bodyPr>
          <a:lstStyle>
            <a:lvl1pPr>
              <a:defRPr sz="1428" cap="all" baseline="0">
                <a:solidFill>
                  <a:schemeClr val="bg1"/>
                </a:solidFill>
                <a:latin typeface="+mn-lt"/>
                <a:ea typeface="+mn-ea"/>
              </a:defRPr>
            </a:lvl1pPr>
          </a:lstStyle>
          <a:p>
            <a:pPr lvl="0" latinLnBrk="0"/>
            <a:r>
              <a:rPr lang="fr-FR" noProof="0"/>
              <a:t>Modifiez le style des sous-titres du masque</a:t>
            </a:r>
            <a:endParaRPr lang="en-CA" noProof="0"/>
          </a:p>
        </p:txBody>
      </p:sp>
      <p:sp>
        <p:nvSpPr>
          <p:cNvPr id="57" name="Document type" hidden="1"/>
          <p:cNvSpPr txBox="1">
            <a:spLocks noChangeArrowheads="1"/>
          </p:cNvSpPr>
          <p:nvPr/>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CA" sz="1428" baseline="0" noProof="0">
                <a:solidFill>
                  <a:schemeClr val="bg1"/>
                </a:solidFill>
                <a:latin typeface="+mn-lt"/>
              </a:rPr>
              <a:t>Document type | Date</a:t>
            </a:r>
          </a:p>
        </p:txBody>
      </p:sp>
      <p:sp>
        <p:nvSpPr>
          <p:cNvPr id="26" name="Disclaimer-English (Canada)" hidden="1"/>
          <p:cNvSpPr>
            <a:spLocks noChangeArrowheads="1"/>
          </p:cNvSpPr>
          <p:nvPr/>
        </p:nvSpPr>
        <p:spPr bwMode="black">
          <a:xfrm>
            <a:off x="2837961" y="6381112"/>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94990" eaLnBrk="0" hangingPunct="0"/>
            <a:r>
              <a:rPr lang="en-CA" sz="816" baseline="0">
                <a:solidFill>
                  <a:schemeClr val="bg1"/>
                </a:solidFill>
                <a:latin typeface="+mn-lt"/>
              </a:rPr>
              <a:t>CONFIDENTIAL AND PROPRIETARY</a:t>
            </a:r>
          </a:p>
          <a:p>
            <a:pPr defTabSz="1094990" eaLnBrk="0" hangingPunct="0"/>
            <a:r>
              <a:rPr lang="en-CA" sz="816" baseline="0">
                <a:solidFill>
                  <a:schemeClr val="bg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5398207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bg>
      <p:bgRef idx="1002">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AC1EC-8BED-4FE6-8D92-41F68D62DABC}"/>
              </a:ext>
            </a:extLst>
          </p:cNvPr>
          <p:cNvSpPr>
            <a:spLocks noGrp="1"/>
          </p:cNvSpPr>
          <p:nvPr>
            <p:ph type="title"/>
          </p:nvPr>
        </p:nvSpPr>
        <p:spPr>
          <a:xfrm>
            <a:off x="1004503" y="2711484"/>
            <a:ext cx="8398875" cy="565251"/>
          </a:xfrm>
        </p:spPr>
        <p:txBody>
          <a:bodyPr/>
          <a:lstStyle>
            <a:lvl1pPr>
              <a:defRPr sz="3673"/>
            </a:lvl1p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633604C6-0D3D-430C-9000-9AFD3F1B6D16}"/>
              </a:ext>
            </a:extLst>
          </p:cNvPr>
          <p:cNvSpPr>
            <a:spLocks noGrp="1"/>
          </p:cNvSpPr>
          <p:nvPr>
            <p:ph type="sldNum" sz="quarter" idx="10"/>
          </p:nvPr>
        </p:nvSpPr>
        <p:spPr/>
        <p:txBody>
          <a:bodyPr/>
          <a:lstStyle/>
          <a:p>
            <a:fld id="{D7012407-5950-B949-8BF3-E7EA9ADCB58D}" type="slidenum">
              <a:rPr lang="en-GB" smtClean="0"/>
              <a:t>‹#›</a:t>
            </a:fld>
            <a:endParaRPr lang="en-GB"/>
          </a:p>
        </p:txBody>
      </p:sp>
    </p:spTree>
    <p:extLst>
      <p:ext uri="{BB962C8B-B14F-4D97-AF65-F5344CB8AC3E}">
        <p14:creationId xmlns:p14="http://schemas.microsoft.com/office/powerpoint/2010/main" val="349317687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4354"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CAFACE-70D0-4BA9-9BC4-2BF13D2B67EC}"/>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CA" sz="2000" b="1" i="0" baseline="0">
              <a:solidFill>
                <a:schemeClr val="accent4"/>
              </a:solidFill>
              <a:latin typeface="Trebuchet MS" panose="020B0603020202020204" pitchFamily="34" charset="0"/>
              <a:ea typeface="+mj-ea"/>
              <a:cs typeface="+mj-cs"/>
              <a:sym typeface="Trebuchet MS" panose="020B0603020202020204" pitchFamily="34" charset="0"/>
            </a:endParaRPr>
          </a:p>
        </p:txBody>
      </p:sp>
      <p:sp>
        <p:nvSpPr>
          <p:cNvPr id="2" name="2. Slide Title"/>
          <p:cNvSpPr>
            <a:spLocks noGrp="1"/>
          </p:cNvSpPr>
          <p:nvPr>
            <p:ph type="title"/>
          </p:nvPr>
        </p:nvSpPr>
        <p:spPr bwMode="auto"/>
        <p:txBody>
          <a:bodyPr/>
          <a:lstStyle>
            <a:lvl1pPr>
              <a:defRPr>
                <a:latin typeface="+mj-lt"/>
                <a:ea typeface="+mj-ea"/>
                <a:cs typeface="+mj-cs"/>
                <a:sym typeface="+mj-lt"/>
              </a:defRPr>
            </a:lvl1pPr>
          </a:lstStyle>
          <a:p>
            <a:r>
              <a:rPr lang="en-CA"/>
              <a:t>Click to edit Master title style</a:t>
            </a:r>
          </a:p>
        </p:txBody>
      </p:sp>
    </p:spTree>
    <p:extLst>
      <p:ext uri="{BB962C8B-B14F-4D97-AF65-F5344CB8AC3E}">
        <p14:creationId xmlns:p14="http://schemas.microsoft.com/office/powerpoint/2010/main" val="2767139551"/>
      </p:ext>
    </p:extLst>
  </p:cSld>
  <p:clrMapOvr>
    <a:masterClrMapping/>
  </p:clrMapOvr>
  <p:extLst>
    <p:ext uri="{DCECCB84-F9BA-43D5-87BE-67443E8EF086}">
      <p15:sldGuideLst xmlns:p15="http://schemas.microsoft.com/office/powerpoint/2012/main">
        <p15:guide id="1" pos="7386">
          <p15:clr>
            <a:srgbClr val="F26B43"/>
          </p15:clr>
        </p15:guide>
        <p15:guide id="2" pos="141">
          <p15:clr>
            <a:srgbClr val="F26B43"/>
          </p15:clr>
        </p15:guide>
        <p15:guide id="3" orient="horz" pos="400">
          <p15:clr>
            <a:srgbClr val="F26B43"/>
          </p15:clr>
        </p15:guide>
        <p15:guide id="4" orient="horz" pos="3909">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 Couverture 2">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861061" y="1565911"/>
            <a:ext cx="9806940" cy="1771056"/>
          </a:xfrm>
          <a:prstGeom prst="rect">
            <a:avLst/>
          </a:prstGeom>
        </p:spPr>
        <p:txBody>
          <a:bodyPr lIns="0" anchor="b">
            <a:normAutofit/>
          </a:bodyPr>
          <a:lstStyle>
            <a:lvl1pPr algn="l">
              <a:defRPr sz="3200">
                <a:solidFill>
                  <a:schemeClr val="bg1"/>
                </a:solidFill>
                <a:latin typeface="Verdana" charset="0"/>
                <a:ea typeface="Verdana" charset="0"/>
                <a:cs typeface="Verdana" charset="0"/>
              </a:defRPr>
            </a:lvl1pPr>
          </a:lstStyle>
          <a:p>
            <a:r>
              <a:rPr lang="en-US"/>
              <a:t>Title / </a:t>
            </a:r>
            <a:r>
              <a:rPr lang="en-US" err="1"/>
              <a:t>Titre</a:t>
            </a:r>
            <a:endParaRPr lang="en-US"/>
          </a:p>
        </p:txBody>
      </p:sp>
      <p:sp>
        <p:nvSpPr>
          <p:cNvPr id="4" name="Subtitle 2"/>
          <p:cNvSpPr>
            <a:spLocks noGrp="1"/>
          </p:cNvSpPr>
          <p:nvPr>
            <p:ph type="subTitle" idx="1" hasCustomPrompt="1"/>
          </p:nvPr>
        </p:nvSpPr>
        <p:spPr>
          <a:xfrm>
            <a:off x="861061" y="3617228"/>
            <a:ext cx="9806940" cy="1091963"/>
          </a:xfrm>
          <a:prstGeom prst="rect">
            <a:avLst/>
          </a:prstGeom>
        </p:spPr>
        <p:txBody>
          <a:bodyPr lIns="0" tIns="0">
            <a:normAutofit/>
          </a:bodyPr>
          <a:lstStyle>
            <a:lvl1pPr marL="0" indent="0" algn="l">
              <a:spcBef>
                <a:spcPts val="0"/>
              </a:spcBef>
              <a:buNone/>
              <a:defRPr sz="1867" b="1">
                <a:solidFill>
                  <a:schemeClr val="bg2"/>
                </a:solidFill>
                <a:latin typeface="Verdana" charset="0"/>
                <a:ea typeface="Verdana" charset="0"/>
                <a:cs typeface="Verdana"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Presenter name / Nom du </a:t>
            </a:r>
            <a:r>
              <a:rPr lang="en-US" err="1"/>
              <a:t>présentateur</a:t>
            </a:r>
            <a:br>
              <a:rPr lang="en-US"/>
            </a:br>
            <a:r>
              <a:rPr lang="en-US"/>
              <a:t>Department / </a:t>
            </a:r>
            <a:r>
              <a:rPr lang="en-US" err="1"/>
              <a:t>Département</a:t>
            </a:r>
            <a:endParaRPr lang="en-US"/>
          </a:p>
        </p:txBody>
      </p:sp>
      <p:sp>
        <p:nvSpPr>
          <p:cNvPr id="5" name="Text Placeholder 6"/>
          <p:cNvSpPr>
            <a:spLocks noGrp="1"/>
          </p:cNvSpPr>
          <p:nvPr>
            <p:ph type="body" sz="quarter" idx="10" hasCustomPrompt="1"/>
          </p:nvPr>
        </p:nvSpPr>
        <p:spPr>
          <a:xfrm>
            <a:off x="861485" y="5150339"/>
            <a:ext cx="9806516" cy="886477"/>
          </a:xfrm>
          <a:prstGeom prst="rect">
            <a:avLst/>
          </a:prstGeom>
        </p:spPr>
        <p:txBody>
          <a:bodyPr lIns="0"/>
          <a:lstStyle>
            <a:lvl1pPr>
              <a:defRPr sz="1600">
                <a:solidFill>
                  <a:schemeClr val="bg1"/>
                </a:solidFill>
                <a:latin typeface="Verdana" charset="0"/>
                <a:ea typeface="Verdana" charset="0"/>
                <a:cs typeface="Verdana" charset="0"/>
              </a:defRPr>
            </a:lvl1pPr>
          </a:lstStyle>
          <a:p>
            <a:pPr lvl="0"/>
            <a:r>
              <a:rPr lang="en-US"/>
              <a:t>Dat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0427" y="658285"/>
            <a:ext cx="4003699" cy="53279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45190" y="6081416"/>
            <a:ext cx="2097620" cy="192993"/>
          </a:xfrm>
          <a:prstGeom prst="rect">
            <a:avLst/>
          </a:prstGeom>
        </p:spPr>
      </p:pic>
    </p:spTree>
    <p:extLst>
      <p:ext uri="{BB962C8B-B14F-4D97-AF65-F5344CB8AC3E}">
        <p14:creationId xmlns:p14="http://schemas.microsoft.com/office/powerpoint/2010/main" val="800455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 Rondelle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552335"/>
            <a:ext cx="10515600" cy="2046992"/>
          </a:xfrm>
          <a:prstGeom prst="rect">
            <a:avLst/>
          </a:prstGeom>
        </p:spPr>
        <p:txBody>
          <a:bodyPr lIns="0" rIns="90000"/>
          <a:lstStyle>
            <a:lvl1pPr>
              <a:defRPr sz="3200" baseline="0">
                <a:solidFill>
                  <a:schemeClr val="bg1"/>
                </a:solidFill>
                <a:latin typeface="Verdana" charset="0"/>
                <a:ea typeface="Verdana" charset="0"/>
                <a:cs typeface="Verdana" charset="0"/>
              </a:defRPr>
            </a:lvl1pPr>
          </a:lstStyle>
          <a:p>
            <a:r>
              <a:rPr lang="en-US"/>
              <a:t>Section title</a:t>
            </a:r>
            <a:br>
              <a:rPr lang="en-US"/>
            </a:br>
            <a:r>
              <a:rPr lang="en-US" err="1"/>
              <a:t>Titre</a:t>
            </a:r>
            <a:r>
              <a:rPr lang="en-US"/>
              <a:t> de la section</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00" y="555475"/>
            <a:ext cx="1100331" cy="1067323"/>
          </a:xfrm>
          <a:prstGeom prst="rect">
            <a:avLst/>
          </a:prstGeom>
        </p:spPr>
      </p:pic>
    </p:spTree>
    <p:extLst>
      <p:ext uri="{BB962C8B-B14F-4D97-AF65-F5344CB8AC3E}">
        <p14:creationId xmlns:p14="http://schemas.microsoft.com/office/powerpoint/2010/main" val="380315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 Photo2">
    <p:spTree>
      <p:nvGrpSpPr>
        <p:cNvPr id="1" name=""/>
        <p:cNvGrpSpPr/>
        <p:nvPr/>
      </p:nvGrpSpPr>
      <p:grpSpPr>
        <a:xfrm>
          <a:off x="0" y="0"/>
          <a:ext cx="0" cy="0"/>
          <a:chOff x="0" y="0"/>
          <a:chExt cx="0" cy="0"/>
        </a:xfrm>
      </p:grpSpPr>
      <p:sp>
        <p:nvSpPr>
          <p:cNvPr id="16" name="Picture Placeholder 8"/>
          <p:cNvSpPr>
            <a:spLocks noGrp="1"/>
          </p:cNvSpPr>
          <p:nvPr>
            <p:ph type="pic" sz="quarter" idx="14" hasCustomPrompt="1"/>
          </p:nvPr>
        </p:nvSpPr>
        <p:spPr>
          <a:xfrm>
            <a:off x="334434" y="357717"/>
            <a:ext cx="11508317" cy="6069423"/>
          </a:xfrm>
          <a:prstGeom prst="rect">
            <a:avLst/>
          </a:prstGeom>
        </p:spPr>
        <p:txBody>
          <a:bodyPr/>
          <a:lstStyle>
            <a:lvl1pPr>
              <a:defRPr sz="3200">
                <a:latin typeface="Verdana" charset="0"/>
                <a:ea typeface="Verdana" charset="0"/>
                <a:cs typeface="Verdana" charset="0"/>
              </a:defRPr>
            </a:lvl1pPr>
          </a:lstStyle>
          <a:p>
            <a:r>
              <a:rPr lang="en-US"/>
              <a:t>Photo</a:t>
            </a:r>
          </a:p>
        </p:txBody>
      </p:sp>
      <p:sp>
        <p:nvSpPr>
          <p:cNvPr id="17" name="Title 1"/>
          <p:cNvSpPr>
            <a:spLocks noGrp="1"/>
          </p:cNvSpPr>
          <p:nvPr>
            <p:ph type="ctrTitle" hasCustomPrompt="1"/>
          </p:nvPr>
        </p:nvSpPr>
        <p:spPr>
          <a:xfrm>
            <a:off x="861061" y="1267884"/>
            <a:ext cx="9806940" cy="1771056"/>
          </a:xfrm>
          <a:prstGeom prst="rect">
            <a:avLst/>
          </a:prstGeom>
        </p:spPr>
        <p:txBody>
          <a:bodyPr lIns="0" tIns="0" anchor="t" anchorCtr="0">
            <a:normAutofit/>
          </a:bodyPr>
          <a:lstStyle>
            <a:lvl1pPr algn="l">
              <a:defRPr sz="3200" baseline="0">
                <a:solidFill>
                  <a:schemeClr val="bg1">
                    <a:lumMod val="95000"/>
                  </a:schemeClr>
                </a:solidFill>
                <a:latin typeface="Verdana" charset="0"/>
                <a:ea typeface="Verdana" charset="0"/>
                <a:cs typeface="Verdana" charset="0"/>
              </a:defRPr>
            </a:lvl1pPr>
          </a:lstStyle>
          <a:p>
            <a:r>
              <a:rPr lang="en-US"/>
              <a:t>Section title</a:t>
            </a:r>
            <a:br>
              <a:rPr lang="en-US"/>
            </a:br>
            <a:r>
              <a:rPr lang="en-US" err="1"/>
              <a:t>Titre</a:t>
            </a:r>
            <a:r>
              <a:rPr lang="en-US"/>
              <a:t> de la section</a:t>
            </a:r>
          </a:p>
        </p:txBody>
      </p:sp>
    </p:spTree>
    <p:extLst>
      <p:ext uri="{BB962C8B-B14F-4D97-AF65-F5344CB8AC3E}">
        <p14:creationId xmlns:p14="http://schemas.microsoft.com/office/powerpoint/2010/main" val="244102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311">
          <p15:clr>
            <a:srgbClr val="FBAE40"/>
          </p15:clr>
        </p15:guide>
        <p15:guide id="4" pos="40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Texte 2">
    <p:bg>
      <p:bgPr>
        <a:solidFill>
          <a:srgbClr val="000000"/>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838200" y="357972"/>
            <a:ext cx="10515600" cy="677837"/>
          </a:xfrm>
          <a:prstGeom prst="rect">
            <a:avLst/>
          </a:prstGeom>
        </p:spPr>
        <p:txBody>
          <a:bodyPr vert="horz" lIns="0" tIns="45720" rIns="90000" bIns="45720" rtlCol="0" anchor="b" anchorCtr="0">
            <a:normAutofit/>
          </a:bodyPr>
          <a:lstStyle>
            <a:lvl1pPr>
              <a:defRPr sz="3200">
                <a:latin typeface="Verdana" charset="0"/>
                <a:ea typeface="Verdana" charset="0"/>
                <a:cs typeface="Verdana" charset="0"/>
              </a:defRPr>
            </a:lvl1pPr>
          </a:lstStyle>
          <a:p>
            <a:r>
              <a:rPr lang="en-US"/>
              <a:t>Title / </a:t>
            </a:r>
            <a:r>
              <a:rPr lang="en-US" err="1"/>
              <a:t>Titre</a:t>
            </a:r>
            <a:endParaRPr lang="en-US"/>
          </a:p>
        </p:txBody>
      </p:sp>
      <p:sp>
        <p:nvSpPr>
          <p:cNvPr id="13" name="Text Placeholder 12"/>
          <p:cNvSpPr>
            <a:spLocks noGrp="1"/>
          </p:cNvSpPr>
          <p:nvPr>
            <p:ph type="body" sz="quarter" idx="10" hasCustomPrompt="1"/>
          </p:nvPr>
        </p:nvSpPr>
        <p:spPr>
          <a:xfrm>
            <a:off x="838201" y="1232487"/>
            <a:ext cx="10515600" cy="4893011"/>
          </a:xfrm>
          <a:prstGeom prst="rect">
            <a:avLst/>
          </a:prstGeom>
        </p:spPr>
        <p:txBody>
          <a:bodyPr lIns="0" tIns="46800" rIns="90000">
            <a:normAutofit/>
          </a:bodyPr>
          <a:lstStyle>
            <a:lvl1pPr>
              <a:defRPr sz="1867" baseline="0">
                <a:latin typeface="Verdana" charset="0"/>
                <a:ea typeface="Verdana" charset="0"/>
                <a:cs typeface="Verdana" charset="0"/>
              </a:defRPr>
            </a:lvl1pPr>
            <a:lvl2pPr marL="359824" indent="-359824">
              <a:spcBef>
                <a:spcPts val="800"/>
              </a:spcBef>
              <a:buClr>
                <a:srgbClr val="B1A185"/>
              </a:buClr>
              <a:buSzPct val="110000"/>
              <a:buFont typeface="LucidaGrande" charset="0"/>
              <a:buChar char="-"/>
              <a:tabLst/>
              <a:defRPr sz="1867">
                <a:latin typeface="Verdana" charset="0"/>
                <a:ea typeface="Verdana" charset="0"/>
                <a:cs typeface="Verdana" charset="0"/>
              </a:defRPr>
            </a:lvl2pPr>
            <a:lvl3pPr>
              <a:spcBef>
                <a:spcPts val="800"/>
              </a:spcBef>
              <a:buClr>
                <a:schemeClr val="bg2"/>
              </a:buClr>
              <a:buSzPct val="80000"/>
              <a:defRPr sz="1867" baseline="0">
                <a:solidFill>
                  <a:schemeClr val="bg1"/>
                </a:solidFill>
                <a:latin typeface="Verdana" charset="0"/>
                <a:ea typeface="Verdana" charset="0"/>
                <a:cs typeface="Verdana" charset="0"/>
              </a:defRPr>
            </a:lvl3pPr>
            <a:lvl4pPr>
              <a:spcBef>
                <a:spcPts val="800"/>
              </a:spcBef>
              <a:buClr>
                <a:schemeClr val="bg1">
                  <a:lumMod val="75000"/>
                </a:schemeClr>
              </a:buClr>
              <a:buSzPct val="80000"/>
              <a:defRPr sz="1867" baseline="0">
                <a:solidFill>
                  <a:schemeClr val="bg1"/>
                </a:solidFill>
                <a:latin typeface="Verdana" charset="0"/>
                <a:ea typeface="Verdana" charset="0"/>
                <a:cs typeface="Verdana" charset="0"/>
              </a:defRPr>
            </a:lvl4pPr>
            <a:lvl5pPr>
              <a:spcBef>
                <a:spcPts val="800"/>
              </a:spcBef>
              <a:buSzPct val="80000"/>
              <a:defRPr sz="1867">
                <a:solidFill>
                  <a:schemeClr val="bg1"/>
                </a:solidFill>
                <a:latin typeface="Verdana" charset="0"/>
                <a:ea typeface="Verdana" charset="0"/>
                <a:cs typeface="Verdana" charset="0"/>
              </a:defRPr>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lvl="3"/>
            <a:r>
              <a:rPr lang="en-US"/>
              <a:t>4th level / 4e </a:t>
            </a:r>
            <a:r>
              <a:rPr lang="en-US" err="1"/>
              <a:t>niveau</a:t>
            </a:r>
            <a:endParaRPr lang="en-US"/>
          </a:p>
          <a:p>
            <a:pPr lvl="4"/>
            <a:r>
              <a:rPr lang="en-US"/>
              <a:t>5th level / 5e </a:t>
            </a:r>
            <a:r>
              <a:rPr lang="en-US" err="1"/>
              <a:t>niveau</a:t>
            </a:r>
            <a:endParaRPr lang="en-US"/>
          </a:p>
        </p:txBody>
      </p:sp>
      <p:sp>
        <p:nvSpPr>
          <p:cNvPr id="7" name="Date Placeholder 3"/>
          <p:cNvSpPr>
            <a:spLocks noGrp="1"/>
          </p:cNvSpPr>
          <p:nvPr>
            <p:ph type="dt" sz="half" idx="2"/>
          </p:nvPr>
        </p:nvSpPr>
        <p:spPr>
          <a:xfrm>
            <a:off x="4724400" y="6253480"/>
            <a:ext cx="2743200" cy="365125"/>
          </a:xfrm>
          <a:prstGeom prst="rect">
            <a:avLst/>
          </a:prstGeom>
        </p:spPr>
        <p:txBody>
          <a:bodyPr vert="horz" lIns="91440" tIns="45720" rIns="91440" bIns="45720" rtlCol="0" anchor="ctr"/>
          <a:lstStyle>
            <a:lvl1pPr algn="ctr">
              <a:defRPr sz="1000" b="0" i="0">
                <a:solidFill>
                  <a:schemeClr val="bg1"/>
                </a:solidFill>
                <a:latin typeface="Arial" charset="0"/>
                <a:ea typeface="Arial" charset="0"/>
                <a:cs typeface="Arial" charset="0"/>
              </a:defRPr>
            </a:lvl1pPr>
          </a:lstStyle>
          <a:p>
            <a:endParaRPr lang="en-US"/>
          </a:p>
        </p:txBody>
      </p:sp>
      <p:sp>
        <p:nvSpPr>
          <p:cNvPr id="10" name="Slide Number Placeholder 5"/>
          <p:cNvSpPr>
            <a:spLocks noGrp="1"/>
          </p:cNvSpPr>
          <p:nvPr>
            <p:ph type="sldNum" sz="quarter" idx="4"/>
          </p:nvPr>
        </p:nvSpPr>
        <p:spPr>
          <a:xfrm>
            <a:off x="8610600" y="6253480"/>
            <a:ext cx="2743200" cy="365125"/>
          </a:xfrm>
          <a:prstGeom prst="rect">
            <a:avLst/>
          </a:prstGeom>
        </p:spPr>
        <p:txBody>
          <a:bodyPr vert="horz" lIns="91440" tIns="45720" rIns="91440" bIns="45720" rtlCol="0" anchor="ctr"/>
          <a:lstStyle>
            <a:lvl1pPr algn="r">
              <a:defRPr sz="1000" b="0" i="0">
                <a:solidFill>
                  <a:schemeClr val="bg1"/>
                </a:solidFill>
                <a:latin typeface="Arial" charset="0"/>
                <a:ea typeface="Arial" charset="0"/>
                <a:cs typeface="Arial" charset="0"/>
              </a:defRPr>
            </a:lvl1pPr>
          </a:lstStyle>
          <a:p>
            <a:fld id="{4217043C-ECCA-4141-BE0A-7C81BA1A06F9}" type="slidenum">
              <a:rPr lang="en-US" smtClean="0"/>
              <a:pPr/>
              <a:t>‹#›</a:t>
            </a:fld>
            <a:endParaRPr lang="en-US"/>
          </a:p>
        </p:txBody>
      </p:sp>
      <p:cxnSp>
        <p:nvCxnSpPr>
          <p:cNvPr id="11" name="Straight Connector 10"/>
          <p:cNvCxnSpPr/>
          <p:nvPr userDrawn="1"/>
        </p:nvCxnSpPr>
        <p:spPr>
          <a:xfrm>
            <a:off x="838200" y="6241681"/>
            <a:ext cx="10515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01" y="6311302"/>
            <a:ext cx="351503" cy="340957"/>
          </a:xfrm>
          <a:prstGeom prst="rect">
            <a:avLst/>
          </a:prstGeom>
        </p:spPr>
      </p:pic>
    </p:spTree>
    <p:extLst>
      <p:ext uri="{BB962C8B-B14F-4D97-AF65-F5344CB8AC3E}">
        <p14:creationId xmlns:p14="http://schemas.microsoft.com/office/powerpoint/2010/main" val="3603253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ext / Texte 1">
    <p:spTree>
      <p:nvGrpSpPr>
        <p:cNvPr id="1" name=""/>
        <p:cNvGrpSpPr/>
        <p:nvPr/>
      </p:nvGrpSpPr>
      <p:grpSpPr>
        <a:xfrm>
          <a:off x="0" y="0"/>
          <a:ext cx="0" cy="0"/>
          <a:chOff x="0" y="0"/>
          <a:chExt cx="0" cy="0"/>
        </a:xfrm>
      </p:grpSpPr>
      <p:sp>
        <p:nvSpPr>
          <p:cNvPr id="6" name="Text Placeholder 12"/>
          <p:cNvSpPr>
            <a:spLocks noGrp="1"/>
          </p:cNvSpPr>
          <p:nvPr>
            <p:ph type="body" sz="quarter" idx="12" hasCustomPrompt="1"/>
          </p:nvPr>
        </p:nvSpPr>
        <p:spPr>
          <a:xfrm>
            <a:off x="838201" y="1232487"/>
            <a:ext cx="10515600" cy="4893011"/>
          </a:xfrm>
          <a:prstGeom prst="rect">
            <a:avLst/>
          </a:prstGeom>
        </p:spPr>
        <p:txBody>
          <a:bodyPr lIns="0">
            <a:normAutofit/>
          </a:bodyPr>
          <a:lstStyle>
            <a:lvl1pPr>
              <a:defRPr sz="1867">
                <a:solidFill>
                  <a:schemeClr val="tx1"/>
                </a:solidFill>
                <a:latin typeface="Verdana" charset="0"/>
                <a:ea typeface="Verdana" charset="0"/>
                <a:cs typeface="Verdana" charset="0"/>
              </a:defRPr>
            </a:lvl1pPr>
            <a:lvl2pPr marL="359824" indent="-359824">
              <a:spcBef>
                <a:spcPts val="800"/>
              </a:spcBef>
              <a:buClr>
                <a:srgbClr val="B1A185"/>
              </a:buClr>
              <a:buSzPct val="110000"/>
              <a:buFont typeface="LucidaGrande" charset="0"/>
              <a:buChar char="-"/>
              <a:tabLst/>
              <a:defRPr sz="1867">
                <a:solidFill>
                  <a:schemeClr val="tx1"/>
                </a:solidFill>
                <a:latin typeface="Verdana" charset="0"/>
                <a:ea typeface="Verdana" charset="0"/>
                <a:cs typeface="Verdana" charset="0"/>
              </a:defRPr>
            </a:lvl2pPr>
            <a:lvl3pPr marL="1142971" indent="-228594">
              <a:spcBef>
                <a:spcPts val="800"/>
              </a:spcBef>
              <a:buClr>
                <a:schemeClr val="bg2"/>
              </a:buClr>
              <a:buSzPct val="80000"/>
              <a:buFont typeface="Arial" charset="0"/>
              <a:buChar char="•"/>
              <a:defRPr sz="1867">
                <a:solidFill>
                  <a:schemeClr val="tx1"/>
                </a:solidFill>
                <a:latin typeface="Verdana" charset="0"/>
                <a:ea typeface="Verdana" charset="0"/>
                <a:cs typeface="Verdana" charset="0"/>
              </a:defRPr>
            </a:lvl3pPr>
            <a:lvl4pPr>
              <a:spcBef>
                <a:spcPts val="800"/>
              </a:spcBef>
              <a:buClr>
                <a:schemeClr val="bg1">
                  <a:lumMod val="50000"/>
                </a:schemeClr>
              </a:buClr>
              <a:buSzPct val="80000"/>
              <a:defRPr sz="1867">
                <a:latin typeface="Verdana" charset="0"/>
                <a:ea typeface="Verdana" charset="0"/>
                <a:cs typeface="Verdana" charset="0"/>
              </a:defRPr>
            </a:lvl4pPr>
            <a:lvl5pPr>
              <a:spcBef>
                <a:spcPts val="800"/>
              </a:spcBef>
              <a:buSzPct val="80000"/>
              <a:defRPr sz="1867">
                <a:latin typeface="Verdana" charset="0"/>
                <a:ea typeface="Verdana" charset="0"/>
                <a:cs typeface="Verdana" charset="0"/>
              </a:defRPr>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lvl="3"/>
            <a:r>
              <a:rPr lang="en-US"/>
              <a:t>4th level / 4e </a:t>
            </a:r>
            <a:r>
              <a:rPr lang="en-US" err="1"/>
              <a:t>niveau</a:t>
            </a:r>
            <a:endParaRPr lang="en-US"/>
          </a:p>
          <a:p>
            <a:pPr lvl="4"/>
            <a:r>
              <a:rPr lang="en-US"/>
              <a:t>5th level / 5e </a:t>
            </a:r>
            <a:r>
              <a:rPr lang="en-US" err="1"/>
              <a:t>niveau</a:t>
            </a:r>
            <a:endParaRPr lang="en-US"/>
          </a:p>
        </p:txBody>
      </p:sp>
      <p:sp>
        <p:nvSpPr>
          <p:cNvPr id="2" name="Title 1"/>
          <p:cNvSpPr>
            <a:spLocks noGrp="1"/>
          </p:cNvSpPr>
          <p:nvPr>
            <p:ph type="title" hasCustomPrompt="1"/>
          </p:nvPr>
        </p:nvSpPr>
        <p:spPr>
          <a:xfrm>
            <a:off x="838200" y="357972"/>
            <a:ext cx="10515600" cy="677837"/>
          </a:xfrm>
          <a:prstGeom prst="rect">
            <a:avLst/>
          </a:prstGeom>
        </p:spPr>
        <p:txBody>
          <a:bodyPr lIns="0" rIns="90000" anchor="b"/>
          <a:lstStyle>
            <a:lvl1pPr>
              <a:defRPr sz="3200">
                <a:solidFill>
                  <a:schemeClr val="tx1"/>
                </a:solidFill>
                <a:latin typeface="Verdana" charset="0"/>
                <a:ea typeface="Verdana" charset="0"/>
                <a:cs typeface="Verdana" charset="0"/>
              </a:defRPr>
            </a:lvl1pPr>
          </a:lstStyle>
          <a:p>
            <a:r>
              <a:rPr lang="en-US"/>
              <a:t>Title / </a:t>
            </a:r>
            <a:r>
              <a:rPr lang="en-US" err="1"/>
              <a:t>Titre</a:t>
            </a:r>
            <a:endParaRPr lang="en-US"/>
          </a:p>
        </p:txBody>
      </p:sp>
      <p:sp>
        <p:nvSpPr>
          <p:cNvPr id="7" name="Date Placeholder 3"/>
          <p:cNvSpPr>
            <a:spLocks noGrp="1"/>
          </p:cNvSpPr>
          <p:nvPr>
            <p:ph type="dt" sz="half" idx="2"/>
          </p:nvPr>
        </p:nvSpPr>
        <p:spPr>
          <a:xfrm>
            <a:off x="4724400" y="6253480"/>
            <a:ext cx="2743200" cy="365125"/>
          </a:xfrm>
          <a:prstGeom prst="rect">
            <a:avLst/>
          </a:prstGeom>
        </p:spPr>
        <p:txBody>
          <a:bodyPr vert="horz" lIns="91440" tIns="45720" rIns="91440" bIns="45720" rtlCol="0" anchor="ctr"/>
          <a:lstStyle>
            <a:lvl1pPr algn="ctr">
              <a:defRPr sz="1000" b="0" i="0">
                <a:solidFill>
                  <a:schemeClr val="tx1"/>
                </a:solidFill>
                <a:latin typeface="Arial" charset="0"/>
                <a:ea typeface="Arial" charset="0"/>
                <a:cs typeface="Arial" charset="0"/>
              </a:defRPr>
            </a:lvl1pPr>
          </a:lstStyle>
          <a:p>
            <a:endParaRPr lang="en-US"/>
          </a:p>
        </p:txBody>
      </p:sp>
      <p:sp>
        <p:nvSpPr>
          <p:cNvPr id="8" name="Slide Number Placeholder 5"/>
          <p:cNvSpPr>
            <a:spLocks noGrp="1"/>
          </p:cNvSpPr>
          <p:nvPr>
            <p:ph type="sldNum" sz="quarter" idx="4"/>
          </p:nvPr>
        </p:nvSpPr>
        <p:spPr>
          <a:xfrm>
            <a:off x="8610600" y="6253480"/>
            <a:ext cx="2743200" cy="365125"/>
          </a:xfrm>
          <a:prstGeom prst="rect">
            <a:avLst/>
          </a:prstGeom>
        </p:spPr>
        <p:txBody>
          <a:bodyPr vert="horz" lIns="91440" tIns="45720" rIns="91440" bIns="45720" rtlCol="0" anchor="ctr"/>
          <a:lstStyle>
            <a:lvl1pPr algn="r">
              <a:defRPr sz="1000" b="0" i="0">
                <a:solidFill>
                  <a:schemeClr val="tx1"/>
                </a:solidFill>
                <a:latin typeface="Arial" charset="0"/>
                <a:ea typeface="Arial" charset="0"/>
                <a:cs typeface="Arial" charset="0"/>
              </a:defRPr>
            </a:lvl1pPr>
          </a:lstStyle>
          <a:p>
            <a:fld id="{4217043C-ECCA-4141-BE0A-7C81BA1A06F9}" type="slidenum">
              <a:rPr lang="en-US" smtClean="0"/>
              <a:pPr/>
              <a:t>‹#›</a:t>
            </a:fld>
            <a:endParaRPr lang="en-US"/>
          </a:p>
        </p:txBody>
      </p:sp>
      <p:cxnSp>
        <p:nvCxnSpPr>
          <p:cNvPr id="9" name="Straight Connector 8"/>
          <p:cNvCxnSpPr/>
          <p:nvPr userDrawn="1"/>
        </p:nvCxnSpPr>
        <p:spPr>
          <a:xfrm>
            <a:off x="838200" y="6253479"/>
            <a:ext cx="10515600" cy="0"/>
          </a:xfrm>
          <a:prstGeom prst="line">
            <a:avLst/>
          </a:prstGeom>
          <a:ln w="12700">
            <a:solidFill>
              <a:srgbClr val="142900"/>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01" y="6311302"/>
            <a:ext cx="351503" cy="340957"/>
          </a:xfrm>
          <a:prstGeom prst="rect">
            <a:avLst/>
          </a:prstGeom>
        </p:spPr>
      </p:pic>
      <p:sp>
        <p:nvSpPr>
          <p:cNvPr id="11" name="Rectangle 10"/>
          <p:cNvSpPr/>
          <p:nvPr userDrawn="1"/>
        </p:nvSpPr>
        <p:spPr>
          <a:xfrm>
            <a:off x="0" y="0"/>
            <a:ext cx="544749" cy="6858000"/>
          </a:xfrm>
          <a:prstGeom prst="rect">
            <a:avLst/>
          </a:prstGeom>
          <a:solidFill>
            <a:schemeClr val="tx1"/>
          </a:solidFill>
          <a:ln>
            <a:noFill/>
          </a:ln>
        </p:spPr>
        <p:style>
          <a:lnRef idx="2">
            <a:schemeClr val="dk1">
              <a:shade val="50000"/>
            </a:schemeClr>
          </a:lnRef>
          <a:fillRef idx="1003">
            <a:schemeClr val="dk1"/>
          </a:fillRef>
          <a:effectRef idx="0">
            <a:schemeClr val="dk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4045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385">
          <p15:clr>
            <a:srgbClr val="FBAE40"/>
          </p15:clr>
        </p15:guide>
        <p15:guide id="3" pos="5375">
          <p15:clr>
            <a:srgbClr val="FBAE40"/>
          </p15:clr>
        </p15:guide>
        <p15:guide id="4" orient="horz" pos="1620">
          <p15:clr>
            <a:srgbClr val="FBAE40"/>
          </p15:clr>
        </p15:guide>
        <p15:guide id="5" orient="horz" pos="28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ant+image-white">
    <p:spTree>
      <p:nvGrpSpPr>
        <p:cNvPr id="1" name=""/>
        <p:cNvGrpSpPr/>
        <p:nvPr/>
      </p:nvGrpSpPr>
      <p:grpSpPr>
        <a:xfrm>
          <a:off x="0" y="0"/>
          <a:ext cx="0" cy="0"/>
          <a:chOff x="0" y="0"/>
          <a:chExt cx="0" cy="0"/>
        </a:xfrm>
      </p:grpSpPr>
      <p:sp>
        <p:nvSpPr>
          <p:cNvPr id="9" name="Rectangle 8"/>
          <p:cNvSpPr/>
          <p:nvPr userDrawn="1"/>
        </p:nvSpPr>
        <p:spPr>
          <a:xfrm>
            <a:off x="0"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p>
            <a:r>
              <a:rPr lang="en-US"/>
              <a:t>Title / </a:t>
            </a:r>
            <a:r>
              <a:rPr lang="en-US" err="1"/>
              <a:t>Titre</a:t>
            </a:r>
            <a:endParaRPr lang="en-US"/>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5" name="Picture Placeholder 4"/>
          <p:cNvSpPr>
            <a:spLocks noGrp="1"/>
          </p:cNvSpPr>
          <p:nvPr>
            <p:ph type="pic" sz="quarter" idx="13" hasCustomPrompt="1"/>
          </p:nvPr>
        </p:nvSpPr>
        <p:spPr>
          <a:xfrm>
            <a:off x="7056000" y="1524000"/>
            <a:ext cx="4272000" cy="4033970"/>
          </a:xfrm>
        </p:spPr>
        <p:txBody>
          <a:bodyPr lIns="720000" rIns="720000" anchor="ctr"/>
          <a:lstStyle>
            <a:lvl1pPr algn="ctr">
              <a:defRPr>
                <a:solidFill>
                  <a:schemeClr val="tx1"/>
                </a:solidFill>
              </a:defRPr>
            </a:lvl1pPr>
          </a:lstStyle>
          <a:p>
            <a:r>
              <a:rPr lang="en-GB"/>
              <a:t>Photo</a:t>
            </a:r>
          </a:p>
        </p:txBody>
      </p:sp>
      <p:sp>
        <p:nvSpPr>
          <p:cNvPr id="11" name="Content Placeholder 2"/>
          <p:cNvSpPr>
            <a:spLocks noGrp="1"/>
          </p:cNvSpPr>
          <p:nvPr>
            <p:ph idx="1" hasCustomPrompt="1"/>
          </p:nvPr>
        </p:nvSpPr>
        <p:spPr>
          <a:xfrm>
            <a:off x="864001" y="1524000"/>
            <a:ext cx="6058347" cy="4681970"/>
          </a:xfrm>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854075" indent="-285750">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38629332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ant+image-black">
    <p:bg>
      <p:bgPr>
        <a:solidFill>
          <a:schemeClr val="tx1"/>
        </a:solidFill>
        <a:effectLst/>
      </p:bgPr>
    </p:bg>
    <p:spTree>
      <p:nvGrpSpPr>
        <p:cNvPr id="1" name=""/>
        <p:cNvGrpSpPr/>
        <p:nvPr/>
      </p:nvGrpSpPr>
      <p:grpSpPr>
        <a:xfrm>
          <a:off x="0" y="0"/>
          <a:ext cx="0" cy="0"/>
          <a:chOff x="0" y="0"/>
          <a:chExt cx="0" cy="0"/>
        </a:xfrm>
      </p:grpSpPr>
      <p:sp>
        <p:nvSpPr>
          <p:cNvPr id="8" name="Rectangle 7"/>
          <p:cNvSpPr/>
          <p:nvPr userDrawn="1"/>
        </p:nvSpPr>
        <p:spPr>
          <a:xfrm>
            <a:off x="0" y="6174000"/>
            <a:ext cx="12192000" cy="684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lvl1pPr>
              <a:defRPr>
                <a:solidFill>
                  <a:schemeClr val="bg1"/>
                </a:solidFill>
              </a:defRPr>
            </a:lvl1pPr>
          </a:lstStyle>
          <a:p>
            <a:r>
              <a:rPr lang="en-US"/>
              <a:t>Title / </a:t>
            </a:r>
            <a:r>
              <a:rPr lang="en-US" err="1"/>
              <a:t>Titre</a:t>
            </a:r>
            <a:endParaRPr lang="en-US"/>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7" name="Picture Placeholder 6"/>
          <p:cNvSpPr>
            <a:spLocks noGrp="1"/>
          </p:cNvSpPr>
          <p:nvPr>
            <p:ph type="pic" sz="quarter" idx="13" hasCustomPrompt="1"/>
          </p:nvPr>
        </p:nvSpPr>
        <p:spPr>
          <a:xfrm>
            <a:off x="7056000" y="1524000"/>
            <a:ext cx="4272000" cy="4033970"/>
          </a:xfrm>
        </p:spPr>
        <p:txBody>
          <a:bodyPr lIns="720000" rIns="720000" anchor="ctr"/>
          <a:lstStyle>
            <a:lvl1pPr algn="ctr">
              <a:defRPr>
                <a:solidFill>
                  <a:schemeClr val="bg1"/>
                </a:solidFill>
              </a:defRPr>
            </a:lvl1pPr>
          </a:lstStyle>
          <a:p>
            <a:r>
              <a:rPr lang="en-GB"/>
              <a:t>Photo</a:t>
            </a:r>
          </a:p>
        </p:txBody>
      </p:sp>
      <p:cxnSp>
        <p:nvCxnSpPr>
          <p:cNvPr id="9" name="Straight Connector 8"/>
          <p:cNvCxnSpPr/>
          <p:nvPr userDrawn="1"/>
        </p:nvCxnSpPr>
        <p:spPr>
          <a:xfrm>
            <a:off x="864000" y="6318208"/>
            <a:ext cx="1046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 hasCustomPrompt="1"/>
          </p:nvPr>
        </p:nvSpPr>
        <p:spPr>
          <a:xfrm>
            <a:off x="864001" y="1524000"/>
            <a:ext cx="6058347" cy="4681970"/>
          </a:xfrm>
        </p:spPr>
        <p:txBody>
          <a:bodyPr/>
          <a:lstStyle>
            <a:lvl1pPr>
              <a:lnSpc>
                <a:spcPts val="2400"/>
              </a:lnSpc>
              <a:defRPr spc="40" baseline="0">
                <a:solidFill>
                  <a:schemeClr val="bg1"/>
                </a:solidFill>
              </a:defRPr>
            </a:lvl1pPr>
            <a:lvl2pPr marL="0" indent="283464">
              <a:lnSpc>
                <a:spcPts val="2400"/>
              </a:lnSpc>
              <a:buSzPct val="100000"/>
              <a:buFont typeface="Arial" panose="020B0604020202020204" pitchFamily="34" charset="0"/>
              <a:buChar char="•"/>
              <a:defRPr spc="40" baseline="0">
                <a:solidFill>
                  <a:schemeClr val="bg1"/>
                </a:solidFill>
              </a:defRPr>
            </a:lvl2pPr>
            <a:lvl3pPr marL="284163" indent="283464">
              <a:lnSpc>
                <a:spcPts val="2400"/>
              </a:lnSpc>
              <a:buSzPct val="120000"/>
              <a:buFont typeface="Verdana" panose="020B0604030504040204" pitchFamily="34" charset="0"/>
              <a:buChar char="–"/>
              <a:defRPr spc="40" baseline="0">
                <a:solidFill>
                  <a:schemeClr val="bg1"/>
                </a:solidFill>
              </a:defRPr>
            </a:lvl3pPr>
            <a:lvl4pPr marL="854075" indent="-285750">
              <a:buSzPct val="120000"/>
              <a:buFont typeface="Verdana" panose="020B0604030504040204" pitchFamily="34" charset="0"/>
              <a:buChar char="–"/>
              <a:tabLst/>
              <a:defRPr lang="en-US" sz="1400" kern="1200" spc="40" baseline="0" dirty="0" smtClean="0">
                <a:solidFill>
                  <a:schemeClr val="bg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33788591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ant+image-grey">
    <p:bg>
      <p:bgPr>
        <a:solidFill>
          <a:schemeClr val="bg2"/>
        </a:solidFill>
        <a:effectLst/>
      </p:bgPr>
    </p:bg>
    <p:spTree>
      <p:nvGrpSpPr>
        <p:cNvPr id="1" name=""/>
        <p:cNvGrpSpPr/>
        <p:nvPr/>
      </p:nvGrpSpPr>
      <p:grpSpPr>
        <a:xfrm>
          <a:off x="0" y="0"/>
          <a:ext cx="0" cy="0"/>
          <a:chOff x="0" y="0"/>
          <a:chExt cx="0" cy="0"/>
        </a:xfrm>
      </p:grpSpPr>
      <p:sp>
        <p:nvSpPr>
          <p:cNvPr id="9" name="Rectangle 8"/>
          <p:cNvSpPr/>
          <p:nvPr userDrawn="1"/>
        </p:nvSpPr>
        <p:spPr>
          <a:xfrm>
            <a:off x="0"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p:txBody>
          <a:bodyPr/>
          <a:lstStyle/>
          <a:p>
            <a:r>
              <a:rPr lang="en-US"/>
              <a:t>Title / </a:t>
            </a:r>
            <a:r>
              <a:rPr lang="en-US" err="1"/>
              <a:t>Titre</a:t>
            </a:r>
            <a:endParaRPr lang="en-US"/>
          </a:p>
        </p:txBody>
      </p:sp>
      <p:sp>
        <p:nvSpPr>
          <p:cNvPr id="6" name="Slide Number Placeholder 5"/>
          <p:cNvSpPr>
            <a:spLocks noGrp="1"/>
          </p:cNvSpPr>
          <p:nvPr>
            <p:ph type="sldNum" sz="quarter" idx="12"/>
          </p:nvPr>
        </p:nvSpPr>
        <p:spPr/>
        <p:txBody>
          <a:bodyPr/>
          <a:lstStyle/>
          <a:p>
            <a:fld id="{D7012407-5950-B949-8BF3-E7EA9ADCB58D}" type="slidenum">
              <a:rPr lang="en-GB" smtClean="0"/>
              <a:t>‹#›</a:t>
            </a:fld>
            <a:endParaRPr lang="en-GB"/>
          </a:p>
        </p:txBody>
      </p:sp>
      <p:sp>
        <p:nvSpPr>
          <p:cNvPr id="5" name="Picture Placeholder 4"/>
          <p:cNvSpPr>
            <a:spLocks noGrp="1"/>
          </p:cNvSpPr>
          <p:nvPr>
            <p:ph type="pic" sz="quarter" idx="13" hasCustomPrompt="1"/>
          </p:nvPr>
        </p:nvSpPr>
        <p:spPr>
          <a:xfrm>
            <a:off x="7056000" y="1524000"/>
            <a:ext cx="4272000" cy="4033970"/>
          </a:xfrm>
        </p:spPr>
        <p:txBody>
          <a:bodyPr lIns="720000" rIns="720000" anchor="ctr"/>
          <a:lstStyle>
            <a:lvl1pPr algn="ctr">
              <a:defRPr/>
            </a:lvl1pPr>
          </a:lstStyle>
          <a:p>
            <a:r>
              <a:rPr lang="en-GB"/>
              <a:t>Photo</a:t>
            </a:r>
          </a:p>
        </p:txBody>
      </p:sp>
      <p:sp>
        <p:nvSpPr>
          <p:cNvPr id="11" name="Content Placeholder 2"/>
          <p:cNvSpPr>
            <a:spLocks noGrp="1"/>
          </p:cNvSpPr>
          <p:nvPr>
            <p:ph idx="1" hasCustomPrompt="1"/>
          </p:nvPr>
        </p:nvSpPr>
        <p:spPr>
          <a:xfrm>
            <a:off x="864001" y="1519666"/>
            <a:ext cx="6058347" cy="4681970"/>
          </a:xfrm>
        </p:spPr>
        <p:txBody>
          <a:bodyPr/>
          <a:lstStyle>
            <a:lvl1pPr>
              <a:lnSpc>
                <a:spcPts val="2400"/>
              </a:lnSpc>
              <a:defRPr spc="40" baseline="0"/>
            </a:lvl1pPr>
            <a:lvl2pPr marL="0" indent="283464">
              <a:lnSpc>
                <a:spcPts val="2400"/>
              </a:lnSpc>
              <a:buSzPct val="100000"/>
              <a:buFont typeface="Arial" panose="020B0604020202020204" pitchFamily="34" charset="0"/>
              <a:buChar char="•"/>
              <a:defRPr spc="40" baseline="0"/>
            </a:lvl2pPr>
            <a:lvl3pPr marL="284163" indent="283464">
              <a:lnSpc>
                <a:spcPts val="2400"/>
              </a:lnSpc>
              <a:buSzPct val="120000"/>
              <a:buFont typeface="Verdana" panose="020B0604030504040204" pitchFamily="34" charset="0"/>
              <a:buChar char="–"/>
              <a:defRPr spc="40" baseline="0"/>
            </a:lvl3pPr>
            <a:lvl4pPr marL="854075" indent="-285750">
              <a:buSzPct val="120000"/>
              <a:buFont typeface="Verdana" panose="020B0604030504040204" pitchFamily="34" charset="0"/>
              <a:buChar char="–"/>
              <a:tabLst/>
              <a:defRPr lang="en-US" sz="1400" kern="1200" spc="40" baseline="0" dirty="0" smtClean="0">
                <a:solidFill>
                  <a:schemeClr val="tx1"/>
                </a:solidFill>
                <a:latin typeface="+mn-lt"/>
                <a:ea typeface="+mn-ea"/>
                <a:cs typeface="+mn-cs"/>
              </a:defRPr>
            </a:lvl4pPr>
            <a:lvl5pPr marL="517525" indent="283464">
              <a:buFont typeface="Verdana" panose="020B0604030504040204" pitchFamily="34" charset="0"/>
              <a:buChar char="–"/>
              <a:tabLst/>
              <a:defRPr spc="40" baseline="0"/>
            </a:lvl5pPr>
          </a:lstStyle>
          <a:p>
            <a:pPr lvl="0"/>
            <a:r>
              <a:rPr lang="en-US"/>
              <a:t>Master text styles / Styles du </a:t>
            </a:r>
            <a:r>
              <a:rPr lang="en-US" err="1"/>
              <a:t>texte</a:t>
            </a:r>
            <a:endParaRPr lang="en-US"/>
          </a:p>
          <a:p>
            <a:pPr lvl="1"/>
            <a:r>
              <a:rPr lang="en-US"/>
              <a:t>2nd level / 2e </a:t>
            </a:r>
            <a:r>
              <a:rPr lang="en-US" err="1"/>
              <a:t>niveau</a:t>
            </a:r>
            <a:endParaRPr lang="en-US"/>
          </a:p>
          <a:p>
            <a:pPr lvl="2"/>
            <a:r>
              <a:rPr lang="en-US"/>
              <a:t>3rd level / 3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4th level / 4e </a:t>
            </a:r>
            <a:r>
              <a:rPr lang="en-US" err="1"/>
              <a:t>niveau</a:t>
            </a:r>
            <a:endParaRPr lang="en-US"/>
          </a:p>
          <a:p>
            <a:pPr marL="568325" lvl="3" indent="283464" algn="l" defTabSz="914400" rtl="0" eaLnBrk="1" latinLnBrk="0" hangingPunct="1">
              <a:lnSpc>
                <a:spcPct val="90000"/>
              </a:lnSpc>
              <a:spcBef>
                <a:spcPts val="500"/>
              </a:spcBef>
              <a:buSzPct val="120000"/>
              <a:buFont typeface="Verdana" panose="020B0604030504040204" pitchFamily="34" charset="0"/>
              <a:buChar char="–"/>
              <a:tabLst/>
            </a:pPr>
            <a:r>
              <a:rPr lang="en-US"/>
              <a:t>5th level / 5e </a:t>
            </a:r>
            <a:r>
              <a:rPr lang="en-US" err="1"/>
              <a:t>niveau</a:t>
            </a: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5948514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ags" Target="../tags/tag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vmlDrawing" Target="../drawings/vmlDrawing4.v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2.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image" Target="../media/image1.emf"/><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8.png"/><Relationship Id="rId3" Type="http://schemas.openxmlformats.org/officeDocument/2006/relationships/slideLayout" Target="../slideLayouts/slideLayout52.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7.emf"/><Relationship Id="rId2" Type="http://schemas.openxmlformats.org/officeDocument/2006/relationships/slideLayout" Target="../slideLayouts/slideLayout51.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slideLayout" Target="../slideLayouts/slideLayout50.xml"/><Relationship Id="rId6" Type="http://schemas.openxmlformats.org/officeDocument/2006/relationships/vmlDrawing" Target="../drawings/vmlDrawing7.vml"/><Relationship Id="rId11" Type="http://schemas.openxmlformats.org/officeDocument/2006/relationships/tags" Target="../tags/tag11.xml"/><Relationship Id="rId24" Type="http://schemas.openxmlformats.org/officeDocument/2006/relationships/oleObject" Target="../embeddings/oleObject7.bin"/><Relationship Id="rId5" Type="http://schemas.openxmlformats.org/officeDocument/2006/relationships/theme" Target="../theme/theme3.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slideLayout" Target="../slideLayouts/slideLayout53.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4.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tags" Target="../tags/tag41.xml"/><Relationship Id="rId26" Type="http://schemas.openxmlformats.org/officeDocument/2006/relationships/image" Target="../media/image8.png"/><Relationship Id="rId3" Type="http://schemas.openxmlformats.org/officeDocument/2006/relationships/slideLayout" Target="../slideLayouts/slideLayout61.xml"/><Relationship Id="rId21" Type="http://schemas.openxmlformats.org/officeDocument/2006/relationships/tags" Target="../tags/tag44.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tags" Target="../tags/tag40.xml"/><Relationship Id="rId25" Type="http://schemas.openxmlformats.org/officeDocument/2006/relationships/image" Target="../media/image7.emf"/><Relationship Id="rId2" Type="http://schemas.openxmlformats.org/officeDocument/2006/relationships/slideLayout" Target="../slideLayouts/slideLayout60.xml"/><Relationship Id="rId16" Type="http://schemas.openxmlformats.org/officeDocument/2006/relationships/tags" Target="../tags/tag39.xml"/><Relationship Id="rId20" Type="http://schemas.openxmlformats.org/officeDocument/2006/relationships/tags" Target="../tags/tag43.xml"/><Relationship Id="rId1" Type="http://schemas.openxmlformats.org/officeDocument/2006/relationships/slideLayout" Target="../slideLayouts/slideLayout59.xml"/><Relationship Id="rId6" Type="http://schemas.openxmlformats.org/officeDocument/2006/relationships/vmlDrawing" Target="../drawings/vmlDrawing11.vml"/><Relationship Id="rId11" Type="http://schemas.openxmlformats.org/officeDocument/2006/relationships/tags" Target="../tags/tag34.xml"/><Relationship Id="rId24" Type="http://schemas.openxmlformats.org/officeDocument/2006/relationships/oleObject" Target="../embeddings/oleObject11.bin"/><Relationship Id="rId5" Type="http://schemas.openxmlformats.org/officeDocument/2006/relationships/theme" Target="../theme/theme5.xml"/><Relationship Id="rId15" Type="http://schemas.openxmlformats.org/officeDocument/2006/relationships/tags" Target="../tags/tag38.xml"/><Relationship Id="rId23" Type="http://schemas.openxmlformats.org/officeDocument/2006/relationships/tags" Target="../tags/tag46.xml"/><Relationship Id="rId10" Type="http://schemas.openxmlformats.org/officeDocument/2006/relationships/tags" Target="../tags/tag33.xml"/><Relationship Id="rId19" Type="http://schemas.openxmlformats.org/officeDocument/2006/relationships/tags" Target="../tags/tag42.xml"/><Relationship Id="rId4" Type="http://schemas.openxmlformats.org/officeDocument/2006/relationships/slideLayout" Target="../slideLayouts/slideLayout62.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tags" Target="../tags/tag4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6.xml"/><Relationship Id="rId5" Type="http://schemas.openxmlformats.org/officeDocument/2006/relationships/slideLayout" Target="../slideLayouts/slideLayout67.xml"/><Relationship Id="rId4"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9"/>
            </p:custDataLst>
            <p:extLst>
              <p:ext uri="{D42A27DB-BD31-4B8C-83A1-F6EECF244321}">
                <p14:modId xmlns:p14="http://schemas.microsoft.com/office/powerpoint/2010/main" val="359103281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42" name="think-cell Slide" r:id="rId30" imgW="473" imgH="476" progId="TCLayout.ActiveDocument.1">
                  <p:embed/>
                </p:oleObj>
              </mc:Choice>
              <mc:Fallback>
                <p:oleObj name="think-cell Slide" r:id="rId30" imgW="473" imgH="476" progId="TCLayout.ActiveDocument.1">
                  <p:embed/>
                  <p:pic>
                    <p:nvPicPr>
                      <p:cNvPr id="7" name="Object 6" hidden="1"/>
                      <p:cNvPicPr/>
                      <p:nvPr/>
                    </p:nvPicPr>
                    <p:blipFill>
                      <a:blip r:embed="rId31"/>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864000" y="576000"/>
            <a:ext cx="10464000" cy="71432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864000" y="1524000"/>
            <a:ext cx="10464000" cy="468197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68680" y="6408002"/>
            <a:ext cx="2743200" cy="365125"/>
          </a:xfrm>
          <a:prstGeom prst="rect">
            <a:avLst/>
          </a:prstGeom>
        </p:spPr>
        <p:txBody>
          <a:bodyPr vert="horz" lIns="0" tIns="0" rIns="0" bIns="0" rtlCol="0" anchor="ctr"/>
          <a:lstStyle>
            <a:lvl1pPr algn="l">
              <a:defRPr sz="10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4053840" y="6408002"/>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r>
              <a:rPr lang="en-GB"/>
              <a:t>Priveledged and Confidential</a:t>
            </a:r>
          </a:p>
        </p:txBody>
      </p:sp>
      <p:sp>
        <p:nvSpPr>
          <p:cNvPr id="6" name="Slide Number Placeholder 5"/>
          <p:cNvSpPr>
            <a:spLocks noGrp="1"/>
          </p:cNvSpPr>
          <p:nvPr>
            <p:ph type="sldNum" sz="quarter" idx="4"/>
          </p:nvPr>
        </p:nvSpPr>
        <p:spPr>
          <a:xfrm>
            <a:off x="8610600" y="6408003"/>
            <a:ext cx="2743200" cy="365125"/>
          </a:xfrm>
          <a:prstGeom prst="rect">
            <a:avLst/>
          </a:prstGeom>
        </p:spPr>
        <p:txBody>
          <a:bodyPr vert="horz" lIns="0" tIns="0" rIns="0" bIns="0" rtlCol="0" anchor="ctr"/>
          <a:lstStyle>
            <a:lvl1pPr algn="r">
              <a:defRPr sz="1000">
                <a:solidFill>
                  <a:schemeClr val="bg1"/>
                </a:solidFill>
              </a:defRPr>
            </a:lvl1pPr>
          </a:lstStyle>
          <a:p>
            <a:fld id="{D7012407-5950-B949-8BF3-E7EA9ADCB58D}" type="slidenum">
              <a:rPr lang="en-GB" smtClean="0"/>
              <a:pPr/>
              <a:t>‹#›</a:t>
            </a:fld>
            <a:endParaRPr lang="en-GB"/>
          </a:p>
        </p:txBody>
      </p:sp>
    </p:spTree>
    <p:extLst>
      <p:ext uri="{BB962C8B-B14F-4D97-AF65-F5344CB8AC3E}">
        <p14:creationId xmlns:p14="http://schemas.microsoft.com/office/powerpoint/2010/main" val="15401345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hf sldNum="0" hdr="0" dt="0"/>
  <p:txStyles>
    <p:titleStyle>
      <a:lvl1pPr algn="l" defTabSz="914400" rtl="0" eaLnBrk="1" latinLnBrk="0" hangingPunct="1">
        <a:lnSpc>
          <a:spcPts val="2800"/>
        </a:lnSpc>
        <a:spcBef>
          <a:spcPct val="0"/>
        </a:spcBef>
        <a:buNone/>
        <a:defRPr sz="2400" b="1" kern="1200">
          <a:solidFill>
            <a:schemeClr val="tx1"/>
          </a:solidFill>
          <a:latin typeface="+mn-lt"/>
          <a:ea typeface="+mj-ea"/>
          <a:cs typeface="+mj-cs"/>
        </a:defRPr>
      </a:lvl1pPr>
    </p:titleStyle>
    <p:body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16">
          <p15:clr>
            <a:srgbClr val="F26B43"/>
          </p15:clr>
        </p15:guide>
        <p15:guide id="2" pos="3840">
          <p15:clr>
            <a:srgbClr val="F26B43"/>
          </p15:clr>
        </p15:guide>
        <p15:guide id="3" orient="horz" pos="360">
          <p15:clr>
            <a:srgbClr val="F26B43"/>
          </p15:clr>
        </p15:guide>
        <p15:guide id="4" orient="horz" pos="960">
          <p15:clr>
            <a:srgbClr val="F26B43"/>
          </p15:clr>
        </p15:guide>
        <p15:guide id="5" orient="horz" pos="3912">
          <p15:clr>
            <a:srgbClr val="F26B43"/>
          </p15:clr>
        </p15:guide>
        <p15:guide id="6" pos="7152">
          <p15:clr>
            <a:srgbClr val="F26B43"/>
          </p15:clr>
        </p15:guide>
        <p15:guide id="7" pos="54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6"/>
            </p:custDataLst>
            <p:extLst>
              <p:ext uri="{D42A27DB-BD31-4B8C-83A1-F6EECF244321}">
                <p14:modId xmlns:p14="http://schemas.microsoft.com/office/powerpoint/2010/main" val="1831551494"/>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4114" name="think-cell Slide" r:id="rId27" imgW="473" imgH="476" progId="TCLayout.ActiveDocument.1">
                  <p:embed/>
                </p:oleObj>
              </mc:Choice>
              <mc:Fallback>
                <p:oleObj name="think-cell Slide" r:id="rId27" imgW="473" imgH="476" progId="TCLayout.ActiveDocument.1">
                  <p:embed/>
                  <p:pic>
                    <p:nvPicPr>
                      <p:cNvPr id="7" name="Object 6" hidden="1"/>
                      <p:cNvPicPr/>
                      <p:nvPr/>
                    </p:nvPicPr>
                    <p:blipFill>
                      <a:blip r:embed="rId28"/>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864000" y="576000"/>
            <a:ext cx="10464000" cy="71432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864000" y="1524000"/>
            <a:ext cx="10464000" cy="468197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68680" y="6408002"/>
            <a:ext cx="2743200" cy="365125"/>
          </a:xfrm>
          <a:prstGeom prst="rect">
            <a:avLst/>
          </a:prstGeom>
        </p:spPr>
        <p:txBody>
          <a:bodyPr vert="horz" lIns="0" tIns="0" rIns="0" bIns="0" rtlCol="0" anchor="ctr"/>
          <a:lstStyle>
            <a:lvl1pPr algn="l">
              <a:defRPr sz="10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4053840" y="6408002"/>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r>
              <a:rPr lang="en-GB"/>
              <a:t>Priveledged and Confidential</a:t>
            </a:r>
          </a:p>
        </p:txBody>
      </p:sp>
      <p:sp>
        <p:nvSpPr>
          <p:cNvPr id="6" name="Slide Number Placeholder 5"/>
          <p:cNvSpPr>
            <a:spLocks noGrp="1"/>
          </p:cNvSpPr>
          <p:nvPr>
            <p:ph type="sldNum" sz="quarter" idx="4"/>
          </p:nvPr>
        </p:nvSpPr>
        <p:spPr>
          <a:xfrm>
            <a:off x="8610600" y="6408003"/>
            <a:ext cx="2743200" cy="365125"/>
          </a:xfrm>
          <a:prstGeom prst="rect">
            <a:avLst/>
          </a:prstGeom>
        </p:spPr>
        <p:txBody>
          <a:bodyPr vert="horz" lIns="0" tIns="0" rIns="0" bIns="0" rtlCol="0" anchor="ctr"/>
          <a:lstStyle>
            <a:lvl1pPr algn="r">
              <a:defRPr sz="1000">
                <a:solidFill>
                  <a:schemeClr val="bg1"/>
                </a:solidFill>
              </a:defRPr>
            </a:lvl1pPr>
          </a:lstStyle>
          <a:p>
            <a:fld id="{D7012407-5950-B949-8BF3-E7EA9ADCB58D}" type="slidenum">
              <a:rPr lang="en-GB" smtClean="0"/>
              <a:pPr/>
              <a:t>‹#›</a:t>
            </a:fld>
            <a:endParaRPr lang="en-GB"/>
          </a:p>
        </p:txBody>
      </p:sp>
    </p:spTree>
    <p:extLst>
      <p:ext uri="{BB962C8B-B14F-4D97-AF65-F5344CB8AC3E}">
        <p14:creationId xmlns:p14="http://schemas.microsoft.com/office/powerpoint/2010/main" val="500156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Lst>
  <p:hf sldNum="0" hdr="0" dt="0"/>
  <p:txStyles>
    <p:titleStyle>
      <a:lvl1pPr algn="l" defTabSz="914400" rtl="0" eaLnBrk="1" latinLnBrk="0" hangingPunct="1">
        <a:lnSpc>
          <a:spcPts val="2800"/>
        </a:lnSpc>
        <a:spcBef>
          <a:spcPct val="0"/>
        </a:spcBef>
        <a:buNone/>
        <a:defRPr sz="2400" b="1" kern="1200">
          <a:solidFill>
            <a:schemeClr val="tx1"/>
          </a:solidFill>
          <a:latin typeface="+mn-lt"/>
          <a:ea typeface="+mj-ea"/>
          <a:cs typeface="+mj-cs"/>
        </a:defRPr>
      </a:lvl1pPr>
    </p:titleStyle>
    <p:body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16">
          <p15:clr>
            <a:srgbClr val="F26B43"/>
          </p15:clr>
        </p15:guide>
        <p15:guide id="2" pos="3840">
          <p15:clr>
            <a:srgbClr val="F26B43"/>
          </p15:clr>
        </p15:guide>
        <p15:guide id="3" orient="horz" pos="360">
          <p15:clr>
            <a:srgbClr val="F26B43"/>
          </p15:clr>
        </p15:guide>
        <p15:guide id="4" orient="horz" pos="960">
          <p15:clr>
            <a:srgbClr val="F26B43"/>
          </p15:clr>
        </p15:guide>
        <p15:guide id="5" orient="horz" pos="3912">
          <p15:clr>
            <a:srgbClr val="F26B43"/>
          </p15:clr>
        </p15:guide>
        <p15:guide id="6" pos="7152">
          <p15:clr>
            <a:srgbClr val="F26B43"/>
          </p15:clr>
        </p15:guide>
        <p15:guide id="7" pos="54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787854108"/>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7186"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CA"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1464008" y="1979060"/>
            <a:ext cx="1265925"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noProof="0">
                <a:solidFill>
                  <a:schemeClr val="accent6"/>
                </a:solidFill>
                <a:latin typeface="+mn-lt"/>
                <a:ea typeface="+mn-ea"/>
              </a:rPr>
              <a:t>Last Modified 2019-05-06 17:40 Est</a:t>
            </a:r>
            <a:endParaRPr lang="en-CA" sz="612" baseline="0" noProof="0">
              <a:solidFill>
                <a:schemeClr val="accent6"/>
              </a:solidFill>
              <a:latin typeface="+mn-lt"/>
              <a:ea typeface="+mn-ea"/>
            </a:endParaRPr>
          </a:p>
        </p:txBody>
      </p:sp>
      <p:sp>
        <p:nvSpPr>
          <p:cNvPr id="1035" name="Printed" hidden="1"/>
          <p:cNvSpPr txBox="1">
            <a:spLocks noChangeArrowheads="1"/>
          </p:cNvSpPr>
          <p:nvPr/>
        </p:nvSpPr>
        <p:spPr bwMode="gray">
          <a:xfrm rot="5400000">
            <a:off x="11197411" y="4197040"/>
            <a:ext cx="1799119"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noProof="0">
                <a:solidFill>
                  <a:schemeClr val="accent6"/>
                </a:solidFill>
                <a:latin typeface="+mn-lt"/>
                <a:ea typeface="+mn-ea"/>
              </a:rPr>
              <a:t>Printed 3/6/2019 12:27 PM Eastern Standard Time</a:t>
            </a:r>
            <a:endParaRPr lang="en-CA" sz="612" baseline="0" noProof="0">
              <a:solidFill>
                <a:schemeClr val="accent6"/>
              </a:solidFill>
              <a:latin typeface="+mn-lt"/>
              <a:ea typeface="+mn-ea"/>
            </a:endParaRPr>
          </a:p>
        </p:txBody>
      </p:sp>
      <p:sp>
        <p:nvSpPr>
          <p:cNvPr id="19" name="Title Placeholder 2"/>
          <p:cNvSpPr>
            <a:spLocks noGrp="1" noChangeArrowheads="1"/>
          </p:cNvSpPr>
          <p:nvPr>
            <p:ph type="title"/>
          </p:nvPr>
        </p:nvSpPr>
        <p:spPr bwMode="gray">
          <a:xfrm>
            <a:off x="161987" y="234865"/>
            <a:ext cx="11725484"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CA" noProof="0"/>
          </a:p>
        </p:txBody>
      </p:sp>
      <p:sp>
        <p:nvSpPr>
          <p:cNvPr id="10" name="1. On-page tracker" hidden="1"/>
          <p:cNvSpPr>
            <a:spLocks noChangeArrowheads="1"/>
          </p:cNvSpPr>
          <p:nvPr/>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CA" sz="816" cap="all" baseline="0" noProof="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CA" sz="1632" baseline="0" noProof="0">
                <a:solidFill>
                  <a:schemeClr val="accent6"/>
                </a:solidFill>
                <a:latin typeface="+mn-lt"/>
                <a:ea typeface="+mn-ea"/>
              </a:rPr>
              <a:t>Subtitle</a:t>
            </a: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CA" sz="816" baseline="0" noProof="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CA" sz="816" baseline="0" noProof="0">
                <a:solidFill>
                  <a:schemeClr val="accent6"/>
                </a:solidFill>
                <a:latin typeface="+mn-lt"/>
                <a:ea typeface="+mn-ea"/>
              </a:rPr>
              <a:t>SOURCE: Source</a:t>
            </a:r>
          </a:p>
        </p:txBody>
      </p:sp>
      <p:grpSp>
        <p:nvGrpSpPr>
          <p:cNvPr id="15" name="ACET" hidden="1"/>
          <p:cNvGrpSpPr>
            <a:grpSpLocks/>
          </p:cNvGrpSpPr>
          <p:nvPr/>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CA" sz="1632" b="1" baseline="0" noProof="0">
                  <a:latin typeface="+mn-lt"/>
                  <a:ea typeface="+mn-ea"/>
                </a:rPr>
                <a:t>Title</a:t>
              </a:r>
            </a:p>
            <a:p>
              <a:r>
                <a:rPr lang="en-CA" sz="1632" baseline="0" noProof="0">
                  <a:solidFill>
                    <a:schemeClr val="accent6"/>
                  </a:solidFill>
                  <a:latin typeface="+mn-lt"/>
                  <a:ea typeface="+mn-ea"/>
                </a:rPr>
                <a:t>Unit of measure</a:t>
              </a:r>
            </a:p>
          </p:txBody>
        </p:sp>
      </p:grpSp>
      <p:grpSp>
        <p:nvGrpSpPr>
          <p:cNvPr id="17" name="Sticker" hidden="1"/>
          <p:cNvGrpSpPr/>
          <p:nvPr/>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CA" sz="816" baseline="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5" name="SlideBottomBar" hidden="1"/>
          <p:cNvSpPr/>
          <p:nvPr/>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7" baseline="0">
              <a:solidFill>
                <a:schemeClr val="tx1"/>
              </a:solidFill>
              <a:latin typeface="+mn-lt"/>
              <a:ea typeface="+mn-ea"/>
            </a:endParaRPr>
          </a:p>
        </p:txBody>
      </p:sp>
      <p:sp>
        <p:nvSpPr>
          <p:cNvPr id="24" name="doc id" hidden="1"/>
          <p:cNvSpPr>
            <a:spLocks noChangeArrowheads="1"/>
          </p:cNvSpPr>
          <p:nvPr/>
        </p:nvSpPr>
        <p:spPr bwMode="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en-CA" sz="612" baseline="0">
              <a:solidFill>
                <a:srgbClr val="808080"/>
              </a:solidFill>
              <a:latin typeface="+mn-lt"/>
              <a:ea typeface="+mn-ea"/>
            </a:endParaRPr>
          </a:p>
        </p:txBody>
      </p:sp>
      <p:grpSp>
        <p:nvGrpSpPr>
          <p:cNvPr id="25" name="LegendBoxes" hidden="1"/>
          <p:cNvGrpSpPr/>
          <p:nvPr/>
        </p:nvGrpSpPr>
        <p:grpSpPr bwMode="gray">
          <a:xfrm>
            <a:off x="11108191" y="285075"/>
            <a:ext cx="789093" cy="1021522"/>
            <a:chOff x="7835905" y="279400"/>
            <a:chExt cx="773373" cy="1001186"/>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30"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31"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32"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33"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grpSp>
      <p:grpSp>
        <p:nvGrpSpPr>
          <p:cNvPr id="34" name="LegendLines" hidden="1"/>
          <p:cNvGrpSpPr/>
          <p:nvPr/>
        </p:nvGrpSpPr>
        <p:grpSpPr bwMode="gray">
          <a:xfrm>
            <a:off x="10794126" y="285075"/>
            <a:ext cx="1103328" cy="749405"/>
            <a:chOff x="7540629" y="279400"/>
            <a:chExt cx="1081348" cy="734486"/>
          </a:xfrm>
        </p:grpSpPr>
        <p:sp>
          <p:nvSpPr>
            <p:cNvPr id="35"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837" baseline="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837" baseline="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837" baseline="0">
                <a:latin typeface="+mn-lt"/>
                <a:ea typeface="+mn-ea"/>
              </a:endParaRPr>
            </a:p>
          </p:txBody>
        </p:sp>
        <p:sp>
          <p:nvSpPr>
            <p:cNvPr id="38"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39"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40"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grpSp>
      <p:grpSp>
        <p:nvGrpSpPr>
          <p:cNvPr id="41" name="LegendMoons" hidden="1"/>
          <p:cNvGrpSpPr/>
          <p:nvPr/>
        </p:nvGrpSpPr>
        <p:grpSpPr bwMode="gray">
          <a:xfrm>
            <a:off x="11040160" y="255920"/>
            <a:ext cx="857123" cy="1333054"/>
            <a:chOff x="7769225" y="250825"/>
            <a:chExt cx="840048" cy="1306516"/>
          </a:xfrm>
        </p:grpSpPr>
        <p:grpSp>
          <p:nvGrpSpPr>
            <p:cNvPr id="42" name="MoonLegend1"/>
            <p:cNvGrpSpPr>
              <a:grpSpLocks noChangeAspect="1"/>
            </p:cNvGrpSpPr>
            <p:nvPr>
              <p:custDataLst>
                <p:tags r:id="rId9"/>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61"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grpSp>
        <p:grpSp>
          <p:nvGrpSpPr>
            <p:cNvPr id="43" name="MoonLegend2"/>
            <p:cNvGrpSpPr>
              <a:grpSpLocks noChangeAspect="1"/>
            </p:cNvGrpSpPr>
            <p:nvPr>
              <p:custDataLst>
                <p:tags r:id="rId10"/>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59"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grpSp>
        <p:grpSp>
          <p:nvGrpSpPr>
            <p:cNvPr id="44"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57"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grpSp>
        <p:grpSp>
          <p:nvGrpSpPr>
            <p:cNvPr id="45"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55"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grpSp>
        <p:grpSp>
          <p:nvGrpSpPr>
            <p:cNvPr id="46" name="MoonLegend3"/>
            <p:cNvGrpSpPr>
              <a:grpSpLocks noChangeAspect="1"/>
            </p:cNvGrpSpPr>
            <p:nvPr>
              <p:custDataLst>
                <p:tags r:id="rId13"/>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53"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grpSp>
        <p:sp>
          <p:nvSpPr>
            <p:cNvPr id="47" name="Legend1"/>
            <p:cNvSpPr>
              <a:spLocks noChangeArrowheads="1"/>
            </p:cNvSpPr>
            <p:nvPr/>
          </p:nvSpPr>
          <p:spPr bwMode="gray">
            <a:xfrm>
              <a:off x="8089900" y="26352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48" name="Legend2"/>
            <p:cNvSpPr>
              <a:spLocks noChangeArrowheads="1"/>
            </p:cNvSpPr>
            <p:nvPr/>
          </p:nvSpPr>
          <p:spPr bwMode="gray">
            <a:xfrm>
              <a:off x="8089900" y="538163"/>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49" name="Legend3"/>
            <p:cNvSpPr>
              <a:spLocks noChangeArrowheads="1"/>
            </p:cNvSpPr>
            <p:nvPr/>
          </p:nvSpPr>
          <p:spPr bwMode="gray">
            <a:xfrm>
              <a:off x="8089900" y="812802"/>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50" name="Legend4"/>
            <p:cNvSpPr>
              <a:spLocks noChangeArrowheads="1"/>
            </p:cNvSpPr>
            <p:nvPr/>
          </p:nvSpPr>
          <p:spPr bwMode="gray">
            <a:xfrm>
              <a:off x="8089900" y="108426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51" name="Legend5"/>
            <p:cNvSpPr>
              <a:spLocks noChangeArrowheads="1"/>
            </p:cNvSpPr>
            <p:nvPr/>
          </p:nvSpPr>
          <p:spPr bwMode="gray">
            <a:xfrm>
              <a:off x="8089900" y="136049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grpSp>
      <p:sp>
        <p:nvSpPr>
          <p:cNvPr id="62" name="Text Placeholder 2"/>
          <p:cNvSpPr>
            <a:spLocks noGrp="1"/>
          </p:cNvSpPr>
          <p:nvPr>
            <p:ph type="body" idx="1"/>
          </p:nvPr>
        </p:nvSpPr>
        <p:spPr bwMode="gray">
          <a:xfrm>
            <a:off x="1482091" y="1991015"/>
            <a:ext cx="4389573" cy="1444022"/>
          </a:xfrm>
          <a:prstGeom prst="rect">
            <a:avLst/>
          </a:prstGeom>
        </p:spPr>
        <p:txBody>
          <a:bodyPr vert="horz" lIns="0" tIns="0" rIns="0" bIns="0" rtlCol="0">
            <a:noAutofit/>
          </a:bodyPr>
          <a:lstStyle/>
          <a:p>
            <a:pPr lvl="0" latinLnBrk="0"/>
            <a:r>
              <a:rPr lang="fr-FR"/>
              <a:t>Modifier les styles du texte du masque</a:t>
            </a:r>
          </a:p>
          <a:p>
            <a:pPr lvl="1" latinLnBrk="0"/>
            <a:r>
              <a:rPr lang="fr-FR"/>
              <a:t>Deuxième niveau</a:t>
            </a:r>
          </a:p>
          <a:p>
            <a:pPr lvl="2" latinLnBrk="0"/>
            <a:r>
              <a:rPr lang="fr-FR"/>
              <a:t>Troisième niveau</a:t>
            </a:r>
          </a:p>
          <a:p>
            <a:pPr lvl="3" latinLnBrk="0"/>
            <a:r>
              <a:rPr lang="fr-FR"/>
              <a:t>Quatrième niveau</a:t>
            </a:r>
          </a:p>
          <a:p>
            <a:pPr lvl="4" latinLnBrk="0"/>
            <a:r>
              <a:rPr lang="fr-FR"/>
              <a:t>Cinquième niveau</a:t>
            </a:r>
            <a:endParaRPr lang="en-CA"/>
          </a:p>
        </p:txBody>
      </p:sp>
      <p:sp>
        <p:nvSpPr>
          <p:cNvPr id="63" name="Rectangle 62">
            <a:extLst>
              <a:ext uri="{FF2B5EF4-FFF2-40B4-BE49-F238E27FC236}">
                <a16:creationId xmlns:a16="http://schemas.microsoft.com/office/drawing/2014/main" id="{E9BDCF3E-FCFF-4A54-9EFB-E5D1CA8FAABF}"/>
              </a:ext>
            </a:extLst>
          </p:cNvPr>
          <p:cNvSpPr/>
          <p:nvPr userDrawn="1"/>
        </p:nvSpPr>
        <p:spPr>
          <a:xfrm>
            <a:off x="1"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65" name="Picture 64">
            <a:extLst>
              <a:ext uri="{FF2B5EF4-FFF2-40B4-BE49-F238E27FC236}">
                <a16:creationId xmlns:a16="http://schemas.microsoft.com/office/drawing/2014/main" id="{183F234C-F27D-438F-8AE7-B58E60978583}"/>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200182003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Lst>
  <p:hf sldNum="0" hdr="0" dt="0"/>
  <p:txStyles>
    <p:titleStyle>
      <a:lvl1pPr algn="l" defTabSz="1218095" rtl="0" eaLnBrk="1" fontAlgn="base" hangingPunct="1">
        <a:spcBef>
          <a:spcPct val="0"/>
        </a:spcBef>
        <a:spcAft>
          <a:spcPct val="0"/>
        </a:spcAft>
        <a:tabLst>
          <a:tab pos="367156" algn="l"/>
        </a:tabLst>
        <a:defRPr sz="2857"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CA"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CA" sz="1632" baseline="0" dirty="0">
          <a:solidFill>
            <a:schemeClr val="tx1"/>
          </a:solidFill>
          <a:latin typeface="+mn-lt"/>
          <a:ea typeface="+mn-ea"/>
          <a:cs typeface="+mn-cs"/>
        </a:defRPr>
      </a:lvl2pPr>
      <a:lvl3pPr marL="490777" indent="-291551" algn="l" defTabSz="913526" rtl="0" eaLnBrk="1" fontAlgn="base" latinLnBrk="0" hangingPunct="1">
        <a:spcBef>
          <a:spcPct val="0"/>
        </a:spcBef>
        <a:spcAft>
          <a:spcPct val="0"/>
        </a:spcAft>
        <a:buClr>
          <a:schemeClr val="tx2"/>
        </a:buClr>
        <a:buSzPct val="120000"/>
        <a:buFont typeface="Arial" charset="0"/>
        <a:buChar char="–"/>
        <a:defRPr lang="en-CA"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CA"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CA"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CA"/>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097818" y="438820"/>
            <a:ext cx="1477818" cy="246221"/>
          </a:xfrm>
          <a:prstGeom prst="rect">
            <a:avLst/>
          </a:prstGeom>
        </p:spPr>
        <p:txBody>
          <a:bodyPr wrap="square" lIns="0" tIns="0" rIns="0" bIns="0">
            <a:spAutoFit/>
          </a:bodyPr>
          <a:lstStyle>
            <a:lvl1pPr>
              <a:defRPr sz="1600" b="1" i="0">
                <a:solidFill>
                  <a:srgbClr val="B79A81"/>
                </a:solidFill>
                <a:latin typeface="Calibri"/>
                <a:cs typeface="Calibri"/>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r>
              <a:rPr lang="en-CA"/>
              <a:t>Priveledged and Confidential</a:t>
            </a:r>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5445503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Lst>
  <p:hf sldNum="0" hdr="0" dt="0"/>
  <p:txStyles>
    <p:titleStyle>
      <a:lvl1pPr>
        <a:defRPr>
          <a:latin typeface="+mj-lt"/>
          <a:ea typeface="+mj-ea"/>
          <a:cs typeface="+mj-cs"/>
        </a:defRPr>
      </a:lvl1pPr>
    </p:titleStyle>
    <p:bodyStyle>
      <a:lvl1pPr marL="0">
        <a:defRPr>
          <a:latin typeface="+mn-lt"/>
          <a:ea typeface="+mn-ea"/>
          <a:cs typeface="+mn-cs"/>
        </a:defRPr>
      </a:lvl1pPr>
      <a:lvl2pPr marL="403433">
        <a:defRPr>
          <a:latin typeface="+mn-lt"/>
          <a:ea typeface="+mn-ea"/>
          <a:cs typeface="+mn-cs"/>
        </a:defRPr>
      </a:lvl2pPr>
      <a:lvl3pPr marL="806867">
        <a:defRPr>
          <a:latin typeface="+mn-lt"/>
          <a:ea typeface="+mn-ea"/>
          <a:cs typeface="+mn-cs"/>
        </a:defRPr>
      </a:lvl3pPr>
      <a:lvl4pPr marL="1210300">
        <a:defRPr>
          <a:latin typeface="+mn-lt"/>
          <a:ea typeface="+mn-ea"/>
          <a:cs typeface="+mn-cs"/>
        </a:defRPr>
      </a:lvl4pPr>
      <a:lvl5pPr marL="1613733">
        <a:defRPr>
          <a:latin typeface="+mn-lt"/>
          <a:ea typeface="+mn-ea"/>
          <a:cs typeface="+mn-cs"/>
        </a:defRPr>
      </a:lvl5pPr>
      <a:lvl6pPr marL="2017166">
        <a:defRPr>
          <a:latin typeface="+mn-lt"/>
          <a:ea typeface="+mn-ea"/>
          <a:cs typeface="+mn-cs"/>
        </a:defRPr>
      </a:lvl6pPr>
      <a:lvl7pPr marL="2420600">
        <a:defRPr>
          <a:latin typeface="+mn-lt"/>
          <a:ea typeface="+mn-ea"/>
          <a:cs typeface="+mn-cs"/>
        </a:defRPr>
      </a:lvl7pPr>
      <a:lvl8pPr marL="2824033">
        <a:defRPr>
          <a:latin typeface="+mn-lt"/>
          <a:ea typeface="+mn-ea"/>
          <a:cs typeface="+mn-cs"/>
        </a:defRPr>
      </a:lvl8pPr>
      <a:lvl9pPr marL="3227466">
        <a:defRPr>
          <a:latin typeface="+mn-lt"/>
          <a:ea typeface="+mn-ea"/>
          <a:cs typeface="+mn-cs"/>
        </a:defRPr>
      </a:lvl9pPr>
    </p:bodyStyle>
    <p:otherStyle>
      <a:lvl1pPr marL="0">
        <a:defRPr>
          <a:latin typeface="+mn-lt"/>
          <a:ea typeface="+mn-ea"/>
          <a:cs typeface="+mn-cs"/>
        </a:defRPr>
      </a:lvl1pPr>
      <a:lvl2pPr marL="403433">
        <a:defRPr>
          <a:latin typeface="+mn-lt"/>
          <a:ea typeface="+mn-ea"/>
          <a:cs typeface="+mn-cs"/>
        </a:defRPr>
      </a:lvl2pPr>
      <a:lvl3pPr marL="806867">
        <a:defRPr>
          <a:latin typeface="+mn-lt"/>
          <a:ea typeface="+mn-ea"/>
          <a:cs typeface="+mn-cs"/>
        </a:defRPr>
      </a:lvl3pPr>
      <a:lvl4pPr marL="1210300">
        <a:defRPr>
          <a:latin typeface="+mn-lt"/>
          <a:ea typeface="+mn-ea"/>
          <a:cs typeface="+mn-cs"/>
        </a:defRPr>
      </a:lvl4pPr>
      <a:lvl5pPr marL="1613733">
        <a:defRPr>
          <a:latin typeface="+mn-lt"/>
          <a:ea typeface="+mn-ea"/>
          <a:cs typeface="+mn-cs"/>
        </a:defRPr>
      </a:lvl5pPr>
      <a:lvl6pPr marL="2017166">
        <a:defRPr>
          <a:latin typeface="+mn-lt"/>
          <a:ea typeface="+mn-ea"/>
          <a:cs typeface="+mn-cs"/>
        </a:defRPr>
      </a:lvl6pPr>
      <a:lvl7pPr marL="2420600">
        <a:defRPr>
          <a:latin typeface="+mn-lt"/>
          <a:ea typeface="+mn-ea"/>
          <a:cs typeface="+mn-cs"/>
        </a:defRPr>
      </a:lvl7pPr>
      <a:lvl8pPr marL="2824033">
        <a:defRPr>
          <a:latin typeface="+mn-lt"/>
          <a:ea typeface="+mn-ea"/>
          <a:cs typeface="+mn-cs"/>
        </a:defRPr>
      </a:lvl8pPr>
      <a:lvl9pPr marL="3227466">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26427840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282"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CA"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1464008" y="1979060"/>
            <a:ext cx="1265925"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noProof="0">
                <a:solidFill>
                  <a:schemeClr val="accent6"/>
                </a:solidFill>
                <a:latin typeface="+mn-lt"/>
                <a:ea typeface="+mn-ea"/>
              </a:rPr>
              <a:t>Last Modified 2019-07-03 16:31 Est</a:t>
            </a:r>
            <a:endParaRPr lang="en-CA" sz="612" baseline="0" noProof="0">
              <a:solidFill>
                <a:schemeClr val="accent6"/>
              </a:solidFill>
              <a:latin typeface="+mn-lt"/>
              <a:ea typeface="+mn-ea"/>
            </a:endParaRPr>
          </a:p>
        </p:txBody>
      </p:sp>
      <p:sp>
        <p:nvSpPr>
          <p:cNvPr id="1035" name="Printed" hidden="1"/>
          <p:cNvSpPr txBox="1">
            <a:spLocks noChangeArrowheads="1"/>
          </p:cNvSpPr>
          <p:nvPr/>
        </p:nvSpPr>
        <p:spPr bwMode="gray">
          <a:xfrm rot="5400000">
            <a:off x="11197411" y="4197040"/>
            <a:ext cx="1799119"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noProof="0">
                <a:solidFill>
                  <a:schemeClr val="accent6"/>
                </a:solidFill>
                <a:latin typeface="+mn-lt"/>
                <a:ea typeface="+mn-ea"/>
              </a:rPr>
              <a:t>Printed 3/6/2019 12:27 PM Eastern Standard Time</a:t>
            </a:r>
            <a:endParaRPr lang="en-CA" sz="612" baseline="0" noProof="0">
              <a:solidFill>
                <a:schemeClr val="accent6"/>
              </a:solidFill>
              <a:latin typeface="+mn-lt"/>
              <a:ea typeface="+mn-ea"/>
            </a:endParaRPr>
          </a:p>
        </p:txBody>
      </p:sp>
      <p:sp>
        <p:nvSpPr>
          <p:cNvPr id="19" name="Title Placeholder 2"/>
          <p:cNvSpPr>
            <a:spLocks noGrp="1" noChangeArrowheads="1"/>
          </p:cNvSpPr>
          <p:nvPr>
            <p:ph type="title"/>
          </p:nvPr>
        </p:nvSpPr>
        <p:spPr bwMode="gray">
          <a:xfrm>
            <a:off x="161987" y="234865"/>
            <a:ext cx="11725484"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CA" noProof="0"/>
          </a:p>
        </p:txBody>
      </p:sp>
      <p:sp>
        <p:nvSpPr>
          <p:cNvPr id="10" name="1. On-page tracker" hidden="1"/>
          <p:cNvSpPr>
            <a:spLocks noChangeArrowheads="1"/>
          </p:cNvSpPr>
          <p:nvPr/>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CA" sz="816" cap="all" baseline="0" noProof="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CA" sz="1632" baseline="0" noProof="0">
                <a:solidFill>
                  <a:schemeClr val="accent6"/>
                </a:solidFill>
                <a:latin typeface="+mn-lt"/>
                <a:ea typeface="+mn-ea"/>
              </a:rPr>
              <a:t>Subtitle</a:t>
            </a: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CA" sz="816" baseline="0" noProof="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CA" sz="816" baseline="0" noProof="0">
                <a:solidFill>
                  <a:schemeClr val="accent6"/>
                </a:solidFill>
                <a:latin typeface="+mn-lt"/>
                <a:ea typeface="+mn-ea"/>
              </a:rPr>
              <a:t>SOURCE: Source</a:t>
            </a:r>
          </a:p>
        </p:txBody>
      </p:sp>
      <p:grpSp>
        <p:nvGrpSpPr>
          <p:cNvPr id="15" name="ACET" hidden="1"/>
          <p:cNvGrpSpPr>
            <a:grpSpLocks/>
          </p:cNvGrpSpPr>
          <p:nvPr/>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CA" sz="1632" b="1" baseline="0" noProof="0">
                  <a:latin typeface="+mn-lt"/>
                  <a:ea typeface="+mn-ea"/>
                </a:rPr>
                <a:t>Title</a:t>
              </a:r>
            </a:p>
            <a:p>
              <a:r>
                <a:rPr lang="en-CA" sz="1632" baseline="0" noProof="0">
                  <a:solidFill>
                    <a:schemeClr val="accent6"/>
                  </a:solidFill>
                  <a:latin typeface="+mn-lt"/>
                  <a:ea typeface="+mn-ea"/>
                </a:rPr>
                <a:t>Unit of measure</a:t>
              </a:r>
            </a:p>
          </p:txBody>
        </p:sp>
      </p:grpSp>
      <p:grpSp>
        <p:nvGrpSpPr>
          <p:cNvPr id="17" name="Sticker" hidden="1"/>
          <p:cNvGrpSpPr/>
          <p:nvPr/>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CA" sz="816" baseline="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5" name="SlideBottomBar" hidden="1"/>
          <p:cNvSpPr/>
          <p:nvPr/>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37" baseline="0">
              <a:solidFill>
                <a:schemeClr val="tx1"/>
              </a:solidFill>
              <a:latin typeface="+mn-lt"/>
              <a:ea typeface="+mn-ea"/>
            </a:endParaRPr>
          </a:p>
        </p:txBody>
      </p:sp>
      <p:sp>
        <p:nvSpPr>
          <p:cNvPr id="24" name="doc id" hidden="1"/>
          <p:cNvSpPr>
            <a:spLocks noChangeArrowheads="1"/>
          </p:cNvSpPr>
          <p:nvPr/>
        </p:nvSpPr>
        <p:spPr bwMode="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en-CA" sz="612" baseline="0">
              <a:solidFill>
                <a:srgbClr val="808080"/>
              </a:solidFill>
              <a:latin typeface="+mn-lt"/>
              <a:ea typeface="+mn-ea"/>
            </a:endParaRPr>
          </a:p>
        </p:txBody>
      </p:sp>
      <p:grpSp>
        <p:nvGrpSpPr>
          <p:cNvPr id="25" name="LegendBoxes" hidden="1"/>
          <p:cNvGrpSpPr/>
          <p:nvPr/>
        </p:nvGrpSpPr>
        <p:grpSpPr bwMode="gray">
          <a:xfrm>
            <a:off x="11108191" y="285075"/>
            <a:ext cx="789093" cy="1021522"/>
            <a:chOff x="7835905" y="279400"/>
            <a:chExt cx="773373" cy="1001186"/>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30"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31"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32"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33"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grpSp>
      <p:grpSp>
        <p:nvGrpSpPr>
          <p:cNvPr id="34" name="LegendLines" hidden="1"/>
          <p:cNvGrpSpPr/>
          <p:nvPr/>
        </p:nvGrpSpPr>
        <p:grpSpPr bwMode="gray">
          <a:xfrm>
            <a:off x="10794126" y="285075"/>
            <a:ext cx="1103328" cy="749405"/>
            <a:chOff x="7540629" y="279400"/>
            <a:chExt cx="1081348" cy="734486"/>
          </a:xfrm>
        </p:grpSpPr>
        <p:sp>
          <p:nvSpPr>
            <p:cNvPr id="35"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837" baseline="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837" baseline="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837" baseline="0">
                <a:latin typeface="+mn-lt"/>
                <a:ea typeface="+mn-ea"/>
              </a:endParaRPr>
            </a:p>
          </p:txBody>
        </p:sp>
        <p:sp>
          <p:nvSpPr>
            <p:cNvPr id="38"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39"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40"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grpSp>
      <p:grpSp>
        <p:nvGrpSpPr>
          <p:cNvPr id="41" name="LegendMoons" hidden="1"/>
          <p:cNvGrpSpPr/>
          <p:nvPr/>
        </p:nvGrpSpPr>
        <p:grpSpPr bwMode="gray">
          <a:xfrm>
            <a:off x="11040160" y="255920"/>
            <a:ext cx="857123" cy="1333054"/>
            <a:chOff x="7769225" y="250825"/>
            <a:chExt cx="840048" cy="1306516"/>
          </a:xfrm>
        </p:grpSpPr>
        <p:grpSp>
          <p:nvGrpSpPr>
            <p:cNvPr id="42" name="MoonLegend1"/>
            <p:cNvGrpSpPr>
              <a:grpSpLocks noChangeAspect="1"/>
            </p:cNvGrpSpPr>
            <p:nvPr>
              <p:custDataLst>
                <p:tags r:id="rId9"/>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61"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grpSp>
        <p:grpSp>
          <p:nvGrpSpPr>
            <p:cNvPr id="43" name="MoonLegend2"/>
            <p:cNvGrpSpPr>
              <a:grpSpLocks noChangeAspect="1"/>
            </p:cNvGrpSpPr>
            <p:nvPr>
              <p:custDataLst>
                <p:tags r:id="rId10"/>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59"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grpSp>
        <p:grpSp>
          <p:nvGrpSpPr>
            <p:cNvPr id="44"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57"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grpSp>
        <p:grpSp>
          <p:nvGrpSpPr>
            <p:cNvPr id="45"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55"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grpSp>
        <p:grpSp>
          <p:nvGrpSpPr>
            <p:cNvPr id="46" name="MoonLegend3"/>
            <p:cNvGrpSpPr>
              <a:grpSpLocks noChangeAspect="1"/>
            </p:cNvGrpSpPr>
            <p:nvPr>
              <p:custDataLst>
                <p:tags r:id="rId13"/>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sp>
            <p:nvSpPr>
              <p:cNvPr id="53"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837" baseline="0">
                  <a:latin typeface="+mn-lt"/>
                  <a:ea typeface="+mn-ea"/>
                </a:endParaRPr>
              </a:p>
            </p:txBody>
          </p:sp>
        </p:grpSp>
        <p:sp>
          <p:nvSpPr>
            <p:cNvPr id="47" name="Legend1"/>
            <p:cNvSpPr>
              <a:spLocks noChangeArrowheads="1"/>
            </p:cNvSpPr>
            <p:nvPr/>
          </p:nvSpPr>
          <p:spPr bwMode="gray">
            <a:xfrm>
              <a:off x="8089900" y="26352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48" name="Legend2"/>
            <p:cNvSpPr>
              <a:spLocks noChangeArrowheads="1"/>
            </p:cNvSpPr>
            <p:nvPr/>
          </p:nvSpPr>
          <p:spPr bwMode="gray">
            <a:xfrm>
              <a:off x="8089900" y="538163"/>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49" name="Legend3"/>
            <p:cNvSpPr>
              <a:spLocks noChangeArrowheads="1"/>
            </p:cNvSpPr>
            <p:nvPr/>
          </p:nvSpPr>
          <p:spPr bwMode="gray">
            <a:xfrm>
              <a:off x="8089900" y="812802"/>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50" name="Legend4"/>
            <p:cNvSpPr>
              <a:spLocks noChangeArrowheads="1"/>
            </p:cNvSpPr>
            <p:nvPr/>
          </p:nvSpPr>
          <p:spPr bwMode="gray">
            <a:xfrm>
              <a:off x="8089900" y="108426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sp>
          <p:nvSpPr>
            <p:cNvPr id="51" name="Legend5"/>
            <p:cNvSpPr>
              <a:spLocks noChangeArrowheads="1"/>
            </p:cNvSpPr>
            <p:nvPr/>
          </p:nvSpPr>
          <p:spPr bwMode="gray">
            <a:xfrm>
              <a:off x="8089900" y="136049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CA" sz="1224" baseline="0">
                  <a:latin typeface="+mn-lt"/>
                  <a:ea typeface="+mn-ea"/>
                </a:rPr>
                <a:t>Legend</a:t>
              </a:r>
            </a:p>
          </p:txBody>
        </p:sp>
      </p:grpSp>
      <p:sp>
        <p:nvSpPr>
          <p:cNvPr id="62" name="Text Placeholder 2"/>
          <p:cNvSpPr>
            <a:spLocks noGrp="1"/>
          </p:cNvSpPr>
          <p:nvPr>
            <p:ph type="body" idx="1"/>
          </p:nvPr>
        </p:nvSpPr>
        <p:spPr bwMode="gray">
          <a:xfrm>
            <a:off x="1482091" y="1991015"/>
            <a:ext cx="4389573" cy="1444022"/>
          </a:xfrm>
          <a:prstGeom prst="rect">
            <a:avLst/>
          </a:prstGeom>
        </p:spPr>
        <p:txBody>
          <a:bodyPr vert="horz" lIns="0" tIns="0" rIns="0" bIns="0" rtlCol="0">
            <a:noAutofit/>
          </a:bodyPr>
          <a:lstStyle/>
          <a:p>
            <a:pPr lvl="0" latinLnBrk="0"/>
            <a:r>
              <a:rPr lang="fr-FR"/>
              <a:t>Modifier les styles du texte du masque</a:t>
            </a:r>
          </a:p>
          <a:p>
            <a:pPr lvl="1" latinLnBrk="0"/>
            <a:r>
              <a:rPr lang="fr-FR"/>
              <a:t>Deuxième niveau</a:t>
            </a:r>
          </a:p>
          <a:p>
            <a:pPr lvl="2" latinLnBrk="0"/>
            <a:r>
              <a:rPr lang="fr-FR"/>
              <a:t>Troisième niveau</a:t>
            </a:r>
          </a:p>
          <a:p>
            <a:pPr lvl="3" latinLnBrk="0"/>
            <a:r>
              <a:rPr lang="fr-FR"/>
              <a:t>Quatrième niveau</a:t>
            </a:r>
          </a:p>
          <a:p>
            <a:pPr lvl="4" latinLnBrk="0"/>
            <a:r>
              <a:rPr lang="fr-FR"/>
              <a:t>Cinquième niveau</a:t>
            </a:r>
            <a:endParaRPr lang="en-CA"/>
          </a:p>
        </p:txBody>
      </p:sp>
      <p:sp>
        <p:nvSpPr>
          <p:cNvPr id="63" name="Rectangle 62">
            <a:extLst>
              <a:ext uri="{FF2B5EF4-FFF2-40B4-BE49-F238E27FC236}">
                <a16:creationId xmlns:a16="http://schemas.microsoft.com/office/drawing/2014/main" id="{E9BDCF3E-FCFF-4A54-9EFB-E5D1CA8FAABF}"/>
              </a:ext>
            </a:extLst>
          </p:cNvPr>
          <p:cNvSpPr/>
          <p:nvPr userDrawn="1"/>
        </p:nvSpPr>
        <p:spPr>
          <a:xfrm>
            <a:off x="1" y="6318000"/>
            <a:ext cx="12192000" cy="54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4" name="Slide Number Placeholder 5">
            <a:extLst>
              <a:ext uri="{FF2B5EF4-FFF2-40B4-BE49-F238E27FC236}">
                <a16:creationId xmlns:a16="http://schemas.microsoft.com/office/drawing/2014/main" id="{F46496F0-936A-4246-8CAD-736836866A3F}"/>
              </a:ext>
            </a:extLst>
          </p:cNvPr>
          <p:cNvSpPr>
            <a:spLocks noGrp="1"/>
          </p:cNvSpPr>
          <p:nvPr>
            <p:ph type="sldNum" sz="quarter" idx="4"/>
          </p:nvPr>
        </p:nvSpPr>
        <p:spPr>
          <a:xfrm>
            <a:off x="8610600" y="6406477"/>
            <a:ext cx="2743200" cy="365125"/>
          </a:xfrm>
        </p:spPr>
        <p:txBody>
          <a:bodyPr/>
          <a:lstStyle/>
          <a:p>
            <a:fld id="{D7012407-5950-B949-8BF3-E7EA9ADCB58D}" type="slidenum">
              <a:rPr lang="en-GB" smtClean="0"/>
              <a:t>‹#›</a:t>
            </a:fld>
            <a:endParaRPr lang="en-GB"/>
          </a:p>
        </p:txBody>
      </p:sp>
      <p:pic>
        <p:nvPicPr>
          <p:cNvPr id="65" name="Picture 64">
            <a:extLst>
              <a:ext uri="{FF2B5EF4-FFF2-40B4-BE49-F238E27FC236}">
                <a16:creationId xmlns:a16="http://schemas.microsoft.com/office/drawing/2014/main" id="{183F234C-F27D-438F-8AE7-B58E60978583}"/>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868550" y="6450210"/>
            <a:ext cx="301986" cy="295900"/>
          </a:xfrm>
          <a:prstGeom prst="rect">
            <a:avLst/>
          </a:prstGeom>
        </p:spPr>
      </p:pic>
    </p:spTree>
    <p:extLst>
      <p:ext uri="{BB962C8B-B14F-4D97-AF65-F5344CB8AC3E}">
        <p14:creationId xmlns:p14="http://schemas.microsoft.com/office/powerpoint/2010/main" val="297726693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Lst>
  <p:hf sldNum="0" hdr="0" dt="0"/>
  <p:txStyles>
    <p:titleStyle>
      <a:lvl1pPr algn="l" defTabSz="1218095" rtl="0" eaLnBrk="1" fontAlgn="base" hangingPunct="1">
        <a:spcBef>
          <a:spcPct val="0"/>
        </a:spcBef>
        <a:spcAft>
          <a:spcPct val="0"/>
        </a:spcAft>
        <a:tabLst>
          <a:tab pos="367156" algn="l"/>
        </a:tabLst>
        <a:defRPr sz="2857"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CA"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CA" sz="1632" baseline="0" dirty="0">
          <a:solidFill>
            <a:schemeClr val="tx1"/>
          </a:solidFill>
          <a:latin typeface="+mn-lt"/>
          <a:ea typeface="+mn-ea"/>
          <a:cs typeface="+mn-cs"/>
        </a:defRPr>
      </a:lvl2pPr>
      <a:lvl3pPr marL="490777" indent="-291551" algn="l" defTabSz="913526" rtl="0" eaLnBrk="1" fontAlgn="base" latinLnBrk="0" hangingPunct="1">
        <a:spcBef>
          <a:spcPct val="0"/>
        </a:spcBef>
        <a:spcAft>
          <a:spcPct val="0"/>
        </a:spcAft>
        <a:buClr>
          <a:schemeClr val="tx2"/>
        </a:buClr>
        <a:buSzPct val="120000"/>
        <a:buFont typeface="Arial" charset="0"/>
        <a:buChar char="–"/>
        <a:defRPr lang="en-CA"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CA"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CA"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CA"/>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34448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3200" b="1" i="0" kern="1200">
          <a:solidFill>
            <a:schemeClr val="bg1"/>
          </a:solidFill>
          <a:latin typeface="Arial" charset="0"/>
          <a:ea typeface="Arial" charset="0"/>
          <a:cs typeface="Arial" charset="0"/>
        </a:defRPr>
      </a:lvl1pPr>
    </p:titleStyle>
    <p:bodyStyle>
      <a:lvl1pPr marL="0" indent="0" algn="l" defTabSz="914377" rtl="0" eaLnBrk="1" latinLnBrk="0" hangingPunct="1">
        <a:lnSpc>
          <a:spcPct val="100000"/>
        </a:lnSpc>
        <a:spcBef>
          <a:spcPts val="900"/>
        </a:spcBef>
        <a:buFont typeface="Arial"/>
        <a:buNone/>
        <a:defRPr sz="2400" b="0" i="0" kern="1200">
          <a:solidFill>
            <a:schemeClr val="bg1"/>
          </a:solidFill>
          <a:latin typeface="Arial" charset="0"/>
          <a:ea typeface="Arial" charset="0"/>
          <a:cs typeface="Arial" charset="0"/>
        </a:defRPr>
      </a:lvl1pPr>
      <a:lvl2pPr marL="541325" indent="-539987" algn="l" defTabSz="914377" rtl="0" eaLnBrk="1" latinLnBrk="0" hangingPunct="1">
        <a:lnSpc>
          <a:spcPct val="100000"/>
        </a:lnSpc>
        <a:spcBef>
          <a:spcPts val="600"/>
        </a:spcBef>
        <a:buFont typeface=".HelveticaNeueDeskInterface-Regular" charset="-120"/>
        <a:buChar char="—"/>
        <a:tabLst/>
        <a:defRPr sz="2400" b="0" i="0" kern="1200">
          <a:solidFill>
            <a:schemeClr val="bg1"/>
          </a:solidFill>
          <a:latin typeface="Arial" charset="0"/>
          <a:ea typeface="Arial" charset="0"/>
          <a:cs typeface="Arial" charset="0"/>
        </a:defRPr>
      </a:lvl2pPr>
      <a:lvl3pPr marL="1142971" indent="-228594" algn="l" defTabSz="914377" rtl="0" eaLnBrk="1" latinLnBrk="0" hangingPunct="1">
        <a:lnSpc>
          <a:spcPct val="90000"/>
        </a:lnSpc>
        <a:spcBef>
          <a:spcPts val="500"/>
        </a:spcBef>
        <a:buFont typeface="Arial"/>
        <a:buChar char="•"/>
        <a:defRPr sz="2400" b="0" i="0" kern="1200">
          <a:solidFill>
            <a:schemeClr val="tx1"/>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a:buChar char="•"/>
        <a:defRPr sz="2400" b="0" i="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a:buChar char="•"/>
        <a:defRPr sz="2400" b="0" i="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2.png"/><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21.emf"/><Relationship Id="rId5" Type="http://schemas.openxmlformats.org/officeDocument/2006/relationships/oleObject" Target="../embeddings/oleObject1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2.xml"/><Relationship Id="rId1" Type="http://schemas.openxmlformats.org/officeDocument/2006/relationships/slideLayout" Target="../slideLayouts/slideLayout40.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slideLayout" Target="../slideLayouts/slideLayout62.xml"/><Relationship Id="rId7" Type="http://schemas.openxmlformats.org/officeDocument/2006/relationships/image" Target="../media/image44.png"/><Relationship Id="rId2" Type="http://schemas.openxmlformats.org/officeDocument/2006/relationships/tags" Target="../tags/tag53.xml"/><Relationship Id="rId1" Type="http://schemas.openxmlformats.org/officeDocument/2006/relationships/vmlDrawing" Target="../drawings/vmlDrawing16.vml"/><Relationship Id="rId6" Type="http://schemas.openxmlformats.org/officeDocument/2006/relationships/image" Target="../media/image43.emf"/><Relationship Id="rId5" Type="http://schemas.openxmlformats.org/officeDocument/2006/relationships/oleObject" Target="../embeddings/oleObject16.bin"/><Relationship Id="rId4" Type="http://schemas.openxmlformats.org/officeDocument/2006/relationships/notesSlide" Target="../notesSlides/notesSlide4.xml"/><Relationship Id="rId9" Type="http://schemas.openxmlformats.org/officeDocument/2006/relationships/image" Target="../media/image40.png"/></Relationships>
</file>

<file path=ppt/slides/_rels/slide2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5.gif"/><Relationship Id="rId2" Type="http://schemas.openxmlformats.org/officeDocument/2006/relationships/image" Target="../media/image24.png"/><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hyperlink" Target="https://www.aircanada.com/ca/en/aco/home/book/travel-news-and-updates/2020/covid-19.html%23/" TargetMode="External"/><Relationship Id="rId7" Type="http://schemas.openxmlformats.org/officeDocument/2006/relationships/hyperlink" Target="https://www.youtube.com/watch?v=E_7HwX-C6ws" TargetMode="External"/><Relationship Id="rId12" Type="http://schemas.openxmlformats.org/officeDocument/2006/relationships/image" Target="../media/image54.png"/><Relationship Id="rId2" Type="http://schemas.openxmlformats.org/officeDocument/2006/relationships/image" Target="../media/image46.png"/><Relationship Id="rId1" Type="http://schemas.openxmlformats.org/officeDocument/2006/relationships/slideLayout" Target="../slideLayouts/slideLayout58.xml"/><Relationship Id="rId6" Type="http://schemas.openxmlformats.org/officeDocument/2006/relationships/image" Target="../media/image49.png"/><Relationship Id="rId11"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2.png"/><Relationship Id="rId4" Type="http://schemas.openxmlformats.org/officeDocument/2006/relationships/image" Target="../media/image47.png"/><Relationship Id="rId9" Type="http://schemas.openxmlformats.org/officeDocument/2006/relationships/image" Target="../media/image51.png"/><Relationship Id="rId14" Type="http://schemas.openxmlformats.org/officeDocument/2006/relationships/image" Target="../media/image56.png"/></Relationships>
</file>

<file path=ppt/slides/_rels/slide33.xml.rels><?xml version="1.0" encoding="UTF-8" standalone="yes"?>
<Relationships xmlns="http://schemas.openxmlformats.org/package/2006/relationships"><Relationship Id="rId8" Type="http://schemas.openxmlformats.org/officeDocument/2006/relationships/hyperlink" Target="https://www.aircanada.com/cargo/en/" TargetMode="External"/><Relationship Id="rId13" Type="http://schemas.openxmlformats.org/officeDocument/2006/relationships/image" Target="../media/image64.png"/><Relationship Id="rId18" Type="http://schemas.openxmlformats.org/officeDocument/2006/relationships/image" Target="../media/image69.png"/><Relationship Id="rId26" Type="http://schemas.openxmlformats.org/officeDocument/2006/relationships/image" Target="../media/image56.png"/><Relationship Id="rId3" Type="http://schemas.openxmlformats.org/officeDocument/2006/relationships/image" Target="../media/image58.png"/><Relationship Id="rId21" Type="http://schemas.openxmlformats.org/officeDocument/2006/relationships/image" Target="../media/image51.png"/><Relationship Id="rId7" Type="http://schemas.openxmlformats.org/officeDocument/2006/relationships/hyperlink" Target="http://aircanada.com/aeroplan" TargetMode="External"/><Relationship Id="rId12" Type="http://schemas.openxmlformats.org/officeDocument/2006/relationships/image" Target="../media/image63.png"/><Relationship Id="rId17" Type="http://schemas.openxmlformats.org/officeDocument/2006/relationships/image" Target="../media/image68.png"/><Relationship Id="rId25" Type="http://schemas.openxmlformats.org/officeDocument/2006/relationships/image" Target="../media/image55.png"/><Relationship Id="rId2" Type="http://schemas.openxmlformats.org/officeDocument/2006/relationships/image" Target="../media/image57.jpg"/><Relationship Id="rId16" Type="http://schemas.openxmlformats.org/officeDocument/2006/relationships/image" Target="../media/image67.png"/><Relationship Id="rId20" Type="http://schemas.openxmlformats.org/officeDocument/2006/relationships/image" Target="../media/image50.png"/><Relationship Id="rId1" Type="http://schemas.openxmlformats.org/officeDocument/2006/relationships/slideLayout" Target="../slideLayouts/slideLayout58.xml"/><Relationship Id="rId6" Type="http://schemas.openxmlformats.org/officeDocument/2006/relationships/hyperlink" Target="http://www.aircanada.com/aeroplanestore" TargetMode="External"/><Relationship Id="rId11" Type="http://schemas.openxmlformats.org/officeDocument/2006/relationships/image" Target="../media/image62.png"/><Relationship Id="rId24" Type="http://schemas.openxmlformats.org/officeDocument/2006/relationships/image" Target="../media/image54.png"/><Relationship Id="rId5" Type="http://schemas.openxmlformats.org/officeDocument/2006/relationships/image" Target="../media/image46.png"/><Relationship Id="rId15" Type="http://schemas.openxmlformats.org/officeDocument/2006/relationships/image" Target="../media/image66.png"/><Relationship Id="rId23" Type="http://schemas.openxmlformats.org/officeDocument/2006/relationships/image" Target="../media/image53.png"/><Relationship Id="rId10" Type="http://schemas.openxmlformats.org/officeDocument/2006/relationships/image" Target="../media/image61.png"/><Relationship Id="rId19" Type="http://schemas.openxmlformats.org/officeDocument/2006/relationships/image" Target="../media/image70.png"/><Relationship Id="rId4" Type="http://schemas.openxmlformats.org/officeDocument/2006/relationships/image" Target="../media/image59.png"/><Relationship Id="rId9" Type="http://schemas.openxmlformats.org/officeDocument/2006/relationships/image" Target="../media/image60.png"/><Relationship Id="rId14" Type="http://schemas.openxmlformats.org/officeDocument/2006/relationships/image" Target="../media/image65.png"/><Relationship Id="rId22" Type="http://schemas.openxmlformats.org/officeDocument/2006/relationships/image" Target="../media/image52.png"/></Relationships>
</file>

<file path=ppt/slides/_rels/slide34.xml.rels><?xml version="1.0" encoding="UTF-8" standalone="yes"?>
<Relationships xmlns="http://schemas.openxmlformats.org/package/2006/relationships"><Relationship Id="rId13" Type="http://schemas.openxmlformats.org/officeDocument/2006/relationships/image" Target="../media/image82.png"/><Relationship Id="rId18" Type="http://schemas.openxmlformats.org/officeDocument/2006/relationships/image" Target="../media/image87.png"/><Relationship Id="rId26" Type="http://schemas.openxmlformats.org/officeDocument/2006/relationships/image" Target="../media/image95.png"/><Relationship Id="rId39" Type="http://schemas.openxmlformats.org/officeDocument/2006/relationships/image" Target="../media/image51.png"/><Relationship Id="rId21" Type="http://schemas.openxmlformats.org/officeDocument/2006/relationships/image" Target="../media/image90.png"/><Relationship Id="rId34" Type="http://schemas.openxmlformats.org/officeDocument/2006/relationships/image" Target="../media/image101.png"/><Relationship Id="rId42" Type="http://schemas.openxmlformats.org/officeDocument/2006/relationships/image" Target="../media/image54.png"/><Relationship Id="rId7" Type="http://schemas.openxmlformats.org/officeDocument/2006/relationships/image" Target="../media/image76.png"/><Relationship Id="rId2" Type="http://schemas.openxmlformats.org/officeDocument/2006/relationships/image" Target="../media/image71.png"/><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image" Target="../media/image98.png"/><Relationship Id="rId41" Type="http://schemas.openxmlformats.org/officeDocument/2006/relationships/image" Target="../media/image53.png"/><Relationship Id="rId1" Type="http://schemas.openxmlformats.org/officeDocument/2006/relationships/slideLayout" Target="../slideLayouts/slideLayout58.xml"/><Relationship Id="rId6" Type="http://schemas.openxmlformats.org/officeDocument/2006/relationships/image" Target="../media/image75.png"/><Relationship Id="rId11" Type="http://schemas.openxmlformats.org/officeDocument/2006/relationships/image" Target="../media/image80.png"/><Relationship Id="rId24" Type="http://schemas.openxmlformats.org/officeDocument/2006/relationships/image" Target="../media/image93.png"/><Relationship Id="rId32" Type="http://schemas.openxmlformats.org/officeDocument/2006/relationships/hyperlink" Target="http://aircanada.com/CSR" TargetMode="External"/><Relationship Id="rId37" Type="http://schemas.openxmlformats.org/officeDocument/2006/relationships/image" Target="../media/image104.png"/><Relationship Id="rId40" Type="http://schemas.openxmlformats.org/officeDocument/2006/relationships/image" Target="../media/image52.png"/><Relationship Id="rId5" Type="http://schemas.openxmlformats.org/officeDocument/2006/relationships/image" Target="../media/image74.png"/><Relationship Id="rId15" Type="http://schemas.openxmlformats.org/officeDocument/2006/relationships/image" Target="../media/image84.pn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3.png"/><Relationship Id="rId10" Type="http://schemas.openxmlformats.org/officeDocument/2006/relationships/image" Target="../media/image79.png"/><Relationship Id="rId19" Type="http://schemas.openxmlformats.org/officeDocument/2006/relationships/image" Target="../media/image88.png"/><Relationship Id="rId31" Type="http://schemas.openxmlformats.org/officeDocument/2006/relationships/image" Target="../media/image46.png"/><Relationship Id="rId44" Type="http://schemas.openxmlformats.org/officeDocument/2006/relationships/image" Target="../media/image56.png"/><Relationship Id="rId4" Type="http://schemas.openxmlformats.org/officeDocument/2006/relationships/image" Target="../media/image73.png"/><Relationship Id="rId9" Type="http://schemas.openxmlformats.org/officeDocument/2006/relationships/image" Target="../media/image78.pn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2.jpg"/><Relationship Id="rId43" Type="http://schemas.openxmlformats.org/officeDocument/2006/relationships/image" Target="../media/image55.png"/><Relationship Id="rId8" Type="http://schemas.openxmlformats.org/officeDocument/2006/relationships/image" Target="../media/image77.png"/><Relationship Id="rId3" Type="http://schemas.openxmlformats.org/officeDocument/2006/relationships/image" Target="../media/image72.png"/><Relationship Id="rId12" Type="http://schemas.openxmlformats.org/officeDocument/2006/relationships/image" Target="../media/image81.png"/><Relationship Id="rId17" Type="http://schemas.openxmlformats.org/officeDocument/2006/relationships/image" Target="../media/image86.png"/><Relationship Id="rId25" Type="http://schemas.openxmlformats.org/officeDocument/2006/relationships/image" Target="../media/image94.png"/><Relationship Id="rId33" Type="http://schemas.openxmlformats.org/officeDocument/2006/relationships/image" Target="../media/image100.png"/><Relationship Id="rId38" Type="http://schemas.openxmlformats.org/officeDocument/2006/relationships/image" Target="../media/image50.png"/></Relationships>
</file>

<file path=ppt/slides/_rels/slide3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105.jpg"/><Relationship Id="rId1" Type="http://schemas.openxmlformats.org/officeDocument/2006/relationships/slideLayout" Target="../slideLayouts/slideLayout58.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56.png"/></Relationships>
</file>

<file path=ppt/slides/_rels/slide36.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7.png"/><Relationship Id="rId7" Type="http://schemas.openxmlformats.org/officeDocument/2006/relationships/image" Target="../media/image110.png"/><Relationship Id="rId2" Type="http://schemas.openxmlformats.org/officeDocument/2006/relationships/image" Target="../media/image106.jpg"/><Relationship Id="rId1" Type="http://schemas.openxmlformats.org/officeDocument/2006/relationships/slideLayout" Target="../slideLayouts/slideLayout58.xml"/><Relationship Id="rId6" Type="http://schemas.openxmlformats.org/officeDocument/2006/relationships/image" Target="../media/image109.png"/><Relationship Id="rId5" Type="http://schemas.openxmlformats.org/officeDocument/2006/relationships/image" Target="../media/image108.png"/><Relationship Id="rId10" Type="http://schemas.openxmlformats.org/officeDocument/2006/relationships/image" Target="../media/image113.png"/><Relationship Id="rId4" Type="http://schemas.openxmlformats.org/officeDocument/2006/relationships/image" Target="../media/image50.png"/><Relationship Id="rId9" Type="http://schemas.openxmlformats.org/officeDocument/2006/relationships/image" Target="../media/image112.png"/></Relationships>
</file>

<file path=ppt/slides/_rels/slide37.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image" Target="../media/image54.png"/><Relationship Id="rId2" Type="http://schemas.openxmlformats.org/officeDocument/2006/relationships/image" Target="../media/image114.png"/><Relationship Id="rId1" Type="http://schemas.openxmlformats.org/officeDocument/2006/relationships/slideLayout" Target="../slideLayouts/slideLayout58.xml"/><Relationship Id="rId6" Type="http://schemas.openxmlformats.org/officeDocument/2006/relationships/image" Target="../media/image118.png"/><Relationship Id="rId11" Type="http://schemas.openxmlformats.org/officeDocument/2006/relationships/image" Target="../media/image53.png"/><Relationship Id="rId5" Type="http://schemas.openxmlformats.org/officeDocument/2006/relationships/image" Target="../media/image117.png"/><Relationship Id="rId10" Type="http://schemas.openxmlformats.org/officeDocument/2006/relationships/image" Target="../media/image52.png"/><Relationship Id="rId4" Type="http://schemas.openxmlformats.org/officeDocument/2006/relationships/image" Target="../media/image116.jpg"/><Relationship Id="rId9" Type="http://schemas.openxmlformats.org/officeDocument/2006/relationships/image" Target="../media/image51.png"/><Relationship Id="rId14" Type="http://schemas.openxmlformats.org/officeDocument/2006/relationships/image" Target="../media/image56.png"/></Relationships>
</file>

<file path=ppt/slides/_rels/slide38.xml.rels><?xml version="1.0" encoding="UTF-8" standalone="yes"?>
<Relationships xmlns="http://schemas.openxmlformats.org/package/2006/relationships"><Relationship Id="rId8" Type="http://schemas.openxmlformats.org/officeDocument/2006/relationships/image" Target="../media/image122.jpg"/><Relationship Id="rId13" Type="http://schemas.openxmlformats.org/officeDocument/2006/relationships/image" Target="../media/image54.png"/><Relationship Id="rId3" Type="http://schemas.openxmlformats.org/officeDocument/2006/relationships/image" Target="../media/image121.jpg"/><Relationship Id="rId7" Type="http://schemas.openxmlformats.org/officeDocument/2006/relationships/hyperlink" Target="https://www.aircanada.com/ca/en/aco/home/fly/onboard/wi-fi.html" TargetMode="External"/><Relationship Id="rId12" Type="http://schemas.openxmlformats.org/officeDocument/2006/relationships/image" Target="../media/image53.png"/><Relationship Id="rId2" Type="http://schemas.openxmlformats.org/officeDocument/2006/relationships/image" Target="../media/image120.jpg"/><Relationship Id="rId1" Type="http://schemas.openxmlformats.org/officeDocument/2006/relationships/slideLayout" Target="../slideLayouts/slideLayout58.xml"/><Relationship Id="rId6" Type="http://schemas.openxmlformats.org/officeDocument/2006/relationships/image" Target="../media/image46.png"/><Relationship Id="rId11" Type="http://schemas.openxmlformats.org/officeDocument/2006/relationships/image" Target="../media/image52.png"/><Relationship Id="rId5" Type="http://schemas.openxmlformats.org/officeDocument/2006/relationships/hyperlink" Target="http://aircanada.com/operationaloutlook" TargetMode="External"/><Relationship Id="rId15" Type="http://schemas.openxmlformats.org/officeDocument/2006/relationships/image" Target="../media/image56.png"/><Relationship Id="rId10" Type="http://schemas.openxmlformats.org/officeDocument/2006/relationships/image" Target="../media/image51.png"/><Relationship Id="rId4" Type="http://schemas.openxmlformats.org/officeDocument/2006/relationships/image" Target="../media/image59.png"/><Relationship Id="rId9" Type="http://schemas.openxmlformats.org/officeDocument/2006/relationships/image" Target="../media/image50.png"/><Relationship Id="rId14" Type="http://schemas.openxmlformats.org/officeDocument/2006/relationships/image" Target="../media/image55.png"/></Relationships>
</file>

<file path=ppt/slides/_rels/slide39.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123.jpg"/><Relationship Id="rId1" Type="http://schemas.openxmlformats.org/officeDocument/2006/relationships/slideLayout" Target="../slideLayouts/slideLayout58.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56.png"/></Relationships>
</file>

<file path=ppt/slides/_rels/slide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3" Type="http://schemas.openxmlformats.org/officeDocument/2006/relationships/hyperlink" Target="https://www.aircanada.com/familytraveltips" TargetMode="External"/><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image" Target="../media/image46.png"/><Relationship Id="rId1" Type="http://schemas.openxmlformats.org/officeDocument/2006/relationships/slideLayout" Target="../slideLayouts/slideLayout58.xml"/><Relationship Id="rId6" Type="http://schemas.openxmlformats.org/officeDocument/2006/relationships/image" Target="../media/image124.jpg"/><Relationship Id="rId11" Type="http://schemas.openxmlformats.org/officeDocument/2006/relationships/image" Target="../media/image54.png"/><Relationship Id="rId5" Type="http://schemas.openxmlformats.org/officeDocument/2006/relationships/hyperlink" Target="http://www.aircanada.com/jetz" TargetMode="External"/><Relationship Id="rId10" Type="http://schemas.openxmlformats.org/officeDocument/2006/relationships/image" Target="../media/image53.png"/><Relationship Id="rId4" Type="http://schemas.openxmlformats.org/officeDocument/2006/relationships/hyperlink" Target="https://vacations.aircanada.com/" TargetMode="External"/><Relationship Id="rId9" Type="http://schemas.openxmlformats.org/officeDocument/2006/relationships/image" Target="../media/image52.png"/></Relationships>
</file>

<file path=ppt/slides/_rels/slide41.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0.png"/><Relationship Id="rId18" Type="http://schemas.openxmlformats.org/officeDocument/2006/relationships/image" Target="../media/image52.png"/><Relationship Id="rId3" Type="http://schemas.openxmlformats.org/officeDocument/2006/relationships/hyperlink" Target="https://www.aircanada.com/ca/en/aco/home/about/media.html" TargetMode="External"/><Relationship Id="rId21" Type="http://schemas.openxmlformats.org/officeDocument/2006/relationships/image" Target="../media/image55.png"/><Relationship Id="rId7" Type="http://schemas.openxmlformats.org/officeDocument/2006/relationships/hyperlink" Target="https://www.instagram.com/aircanada/" TargetMode="External"/><Relationship Id="rId12" Type="http://schemas.openxmlformats.org/officeDocument/2006/relationships/image" Target="../media/image129.png"/><Relationship Id="rId17" Type="http://schemas.openxmlformats.org/officeDocument/2006/relationships/image" Target="../media/image51.png"/><Relationship Id="rId2" Type="http://schemas.openxmlformats.org/officeDocument/2006/relationships/hyperlink" Target="https://www.aircanada.com/ca/en/aco/home.html%23/" TargetMode="Externa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slideLayout" Target="../slideLayouts/slideLayout58.xml"/><Relationship Id="rId6" Type="http://schemas.openxmlformats.org/officeDocument/2006/relationships/image" Target="../media/image126.png"/><Relationship Id="rId11" Type="http://schemas.openxmlformats.org/officeDocument/2006/relationships/hyperlink" Target="https://www.linkedin.com/company/air-canada/" TargetMode="External"/><Relationship Id="rId5" Type="http://schemas.openxmlformats.org/officeDocument/2006/relationships/hyperlink" Target="https://twitter.com/AirCanada" TargetMode="External"/><Relationship Id="rId15" Type="http://schemas.openxmlformats.org/officeDocument/2006/relationships/image" Target="../media/image132.png"/><Relationship Id="rId10" Type="http://schemas.openxmlformats.org/officeDocument/2006/relationships/image" Target="../media/image128.png"/><Relationship Id="rId19" Type="http://schemas.openxmlformats.org/officeDocument/2006/relationships/image" Target="../media/image53.png"/><Relationship Id="rId4" Type="http://schemas.openxmlformats.org/officeDocument/2006/relationships/image" Target="../media/image125.png"/><Relationship Id="rId9" Type="http://schemas.openxmlformats.org/officeDocument/2006/relationships/hyperlink" Target="https://www.facebook.com/aircanada/" TargetMode="External"/><Relationship Id="rId14" Type="http://schemas.openxmlformats.org/officeDocument/2006/relationships/image" Target="../media/image131.png"/><Relationship Id="rId22" Type="http://schemas.openxmlformats.org/officeDocument/2006/relationships/image" Target="../media/image56.png"/></Relationships>
</file>

<file path=ppt/slides/_rels/slide42.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5.xml"/><Relationship Id="rId1" Type="http://schemas.openxmlformats.org/officeDocument/2006/relationships/slideLayout" Target="../slideLayouts/slideLayout65.xml"/></Relationships>
</file>

<file path=ppt/slides/_rels/slide43.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6.xml"/><Relationship Id="rId1" Type="http://schemas.openxmlformats.org/officeDocument/2006/relationships/slideLayout" Target="../slideLayouts/slideLayout65.xml"/></Relationships>
</file>

<file path=ppt/slides/_rels/slide44.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45.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8.xml"/><Relationship Id="rId1" Type="http://schemas.openxmlformats.org/officeDocument/2006/relationships/slideLayout" Target="../slideLayouts/slideLayout65.xml"/></Relationships>
</file>

<file path=ppt/slides/_rels/slide46.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_rels/slide47.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10.xml"/><Relationship Id="rId1" Type="http://schemas.openxmlformats.org/officeDocument/2006/relationships/slideLayout" Target="../slideLayouts/slideLayout65.xml"/><Relationship Id="rId5" Type="http://schemas.openxmlformats.org/officeDocument/2006/relationships/image" Target="../media/image140.jpeg"/><Relationship Id="rId4" Type="http://schemas.openxmlformats.org/officeDocument/2006/relationships/image" Target="../media/image139.jpeg"/></Relationships>
</file>

<file path=ppt/slides/_rels/slide48.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11.xml"/><Relationship Id="rId1" Type="http://schemas.openxmlformats.org/officeDocument/2006/relationships/slideLayout" Target="../slideLayouts/slideLayout65.xml"/><Relationship Id="rId4" Type="http://schemas.openxmlformats.org/officeDocument/2006/relationships/image" Target="../media/image142.jpeg"/></Relationships>
</file>

<file path=ppt/slides/_rels/slide49.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12.xml"/><Relationship Id="rId1" Type="http://schemas.openxmlformats.org/officeDocument/2006/relationships/slideLayout" Target="../slideLayouts/slideLayout65.xml"/><Relationship Id="rId5" Type="http://schemas.openxmlformats.org/officeDocument/2006/relationships/image" Target="../media/image145.jpeg"/><Relationship Id="rId4" Type="http://schemas.openxmlformats.org/officeDocument/2006/relationships/image" Target="../media/image144.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13.xml"/><Relationship Id="rId1" Type="http://schemas.openxmlformats.org/officeDocument/2006/relationships/slideLayout" Target="../slideLayouts/slideLayout65.xml"/><Relationship Id="rId4" Type="http://schemas.openxmlformats.org/officeDocument/2006/relationships/image" Target="../media/image147.jpeg"/></Relationships>
</file>

<file path=ppt/slides/_rels/slide51.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14.xml"/><Relationship Id="rId1" Type="http://schemas.openxmlformats.org/officeDocument/2006/relationships/slideLayout" Target="../slideLayouts/slideLayout65.xml"/><Relationship Id="rId6" Type="http://schemas.openxmlformats.org/officeDocument/2006/relationships/image" Target="../media/image151.jpg"/><Relationship Id="rId5" Type="http://schemas.openxmlformats.org/officeDocument/2006/relationships/image" Target="../media/image150.jpg"/><Relationship Id="rId4" Type="http://schemas.openxmlformats.org/officeDocument/2006/relationships/image" Target="../media/image149.png"/></Relationships>
</file>

<file path=ppt/slides/_rels/slide5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5.xml"/><Relationship Id="rId1" Type="http://schemas.openxmlformats.org/officeDocument/2006/relationships/slideLayout" Target="../slideLayouts/slideLayout65.xml"/></Relationships>
</file>

<file path=ppt/slides/_rels/slide53.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16.xml"/><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FDE99F-2981-4AF6-9352-104763CCB7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8" name="think-cell Slide" r:id="rId5" imgW="501" imgH="501" progId="TCLayout.ActiveDocument.1">
                  <p:embed/>
                </p:oleObj>
              </mc:Choice>
              <mc:Fallback>
                <p:oleObj name="think-cell Slide" r:id="rId5" imgW="501" imgH="501" progId="TCLayout.ActiveDocument.1">
                  <p:embed/>
                  <p:pic>
                    <p:nvPicPr>
                      <p:cNvPr id="7" name="Object 6" hidden="1">
                        <a:extLst>
                          <a:ext uri="{FF2B5EF4-FFF2-40B4-BE49-F238E27FC236}">
                            <a16:creationId xmlns:a16="http://schemas.microsoft.com/office/drawing/2014/main" id="{4EFDE99F-2981-4AF6-9352-104763CCB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6194ED2-457F-4CB0-9FA3-2598C5B1016A}"/>
              </a:ext>
            </a:extLst>
          </p:cNvPr>
          <p:cNvSpPr>
            <a:spLocks noGrp="1"/>
          </p:cNvSpPr>
          <p:nvPr>
            <p:ph type="ctrTitle"/>
          </p:nvPr>
        </p:nvSpPr>
        <p:spPr>
          <a:xfrm>
            <a:off x="1013088" y="3153821"/>
            <a:ext cx="10464000" cy="1023931"/>
          </a:xfrm>
        </p:spPr>
        <p:txBody>
          <a:bodyPr/>
          <a:lstStyle/>
          <a:p>
            <a:r>
              <a:rPr lang="en-CA" dirty="0"/>
              <a:t>Airline Maintenance Schedule Optimization</a:t>
            </a:r>
            <a:endParaRPr lang="en-CA" sz="1800" dirty="0">
              <a:cs typeface="Arial"/>
            </a:endParaRPr>
          </a:p>
        </p:txBody>
      </p:sp>
      <p:pic>
        <p:nvPicPr>
          <p:cNvPr id="3" name="Picture 2" descr="A picture containing text, clipart&#10;&#10;Description automatically generated">
            <a:extLst>
              <a:ext uri="{FF2B5EF4-FFF2-40B4-BE49-F238E27FC236}">
                <a16:creationId xmlns:a16="http://schemas.microsoft.com/office/drawing/2014/main" id="{54D64279-E9F8-433A-8525-51EEF7E702E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63020" y="296907"/>
            <a:ext cx="4117927" cy="905512"/>
          </a:xfrm>
          <a:prstGeom prst="rect">
            <a:avLst/>
          </a:prstGeom>
        </p:spPr>
      </p:pic>
    </p:spTree>
    <p:extLst>
      <p:ext uri="{BB962C8B-B14F-4D97-AF65-F5344CB8AC3E}">
        <p14:creationId xmlns:p14="http://schemas.microsoft.com/office/powerpoint/2010/main" val="29873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Data Analysis - Manpower</a:t>
            </a:r>
          </a:p>
        </p:txBody>
      </p:sp>
      <p:graphicFrame>
        <p:nvGraphicFramePr>
          <p:cNvPr id="3" name="Table 2">
            <a:extLst>
              <a:ext uri="{FF2B5EF4-FFF2-40B4-BE49-F238E27FC236}">
                <a16:creationId xmlns:a16="http://schemas.microsoft.com/office/drawing/2014/main" id="{334D03E3-E036-D048-B82D-931346C1EC58}"/>
              </a:ext>
            </a:extLst>
          </p:cNvPr>
          <p:cNvGraphicFramePr>
            <a:graphicFrameLocks noGrp="1"/>
          </p:cNvGraphicFramePr>
          <p:nvPr>
            <p:extLst>
              <p:ext uri="{D42A27DB-BD31-4B8C-83A1-F6EECF244321}">
                <p14:modId xmlns:p14="http://schemas.microsoft.com/office/powerpoint/2010/main" val="623463646"/>
              </p:ext>
            </p:extLst>
          </p:nvPr>
        </p:nvGraphicFramePr>
        <p:xfrm>
          <a:off x="3282950" y="1790700"/>
          <a:ext cx="5626100" cy="3009900"/>
        </p:xfrm>
        <a:graphic>
          <a:graphicData uri="http://schemas.openxmlformats.org/drawingml/2006/table">
            <a:tbl>
              <a:tblPr>
                <a:tableStyleId>{5C22544A-7EE6-4342-B048-85BDC9FD1C3A}</a:tableStyleId>
              </a:tblPr>
              <a:tblGrid>
                <a:gridCol w="685800">
                  <a:extLst>
                    <a:ext uri="{9D8B030D-6E8A-4147-A177-3AD203B41FA5}">
                      <a16:colId xmlns:a16="http://schemas.microsoft.com/office/drawing/2014/main" val="152940670"/>
                    </a:ext>
                  </a:extLst>
                </a:gridCol>
                <a:gridCol w="981075">
                  <a:extLst>
                    <a:ext uri="{9D8B030D-6E8A-4147-A177-3AD203B41FA5}">
                      <a16:colId xmlns:a16="http://schemas.microsoft.com/office/drawing/2014/main" val="3972489743"/>
                    </a:ext>
                  </a:extLst>
                </a:gridCol>
                <a:gridCol w="657225">
                  <a:extLst>
                    <a:ext uri="{9D8B030D-6E8A-4147-A177-3AD203B41FA5}">
                      <a16:colId xmlns:a16="http://schemas.microsoft.com/office/drawing/2014/main" val="3248967364"/>
                    </a:ext>
                  </a:extLst>
                </a:gridCol>
                <a:gridCol w="660400">
                  <a:extLst>
                    <a:ext uri="{9D8B030D-6E8A-4147-A177-3AD203B41FA5}">
                      <a16:colId xmlns:a16="http://schemas.microsoft.com/office/drawing/2014/main" val="1587817908"/>
                    </a:ext>
                  </a:extLst>
                </a:gridCol>
                <a:gridCol w="660400">
                  <a:extLst>
                    <a:ext uri="{9D8B030D-6E8A-4147-A177-3AD203B41FA5}">
                      <a16:colId xmlns:a16="http://schemas.microsoft.com/office/drawing/2014/main" val="2871182884"/>
                    </a:ext>
                  </a:extLst>
                </a:gridCol>
                <a:gridCol w="660400">
                  <a:extLst>
                    <a:ext uri="{9D8B030D-6E8A-4147-A177-3AD203B41FA5}">
                      <a16:colId xmlns:a16="http://schemas.microsoft.com/office/drawing/2014/main" val="4264746390"/>
                    </a:ext>
                  </a:extLst>
                </a:gridCol>
                <a:gridCol w="660400">
                  <a:extLst>
                    <a:ext uri="{9D8B030D-6E8A-4147-A177-3AD203B41FA5}">
                      <a16:colId xmlns:a16="http://schemas.microsoft.com/office/drawing/2014/main" val="2074088020"/>
                    </a:ext>
                  </a:extLst>
                </a:gridCol>
                <a:gridCol w="660400">
                  <a:extLst>
                    <a:ext uri="{9D8B030D-6E8A-4147-A177-3AD203B41FA5}">
                      <a16:colId xmlns:a16="http://schemas.microsoft.com/office/drawing/2014/main" val="1629683458"/>
                    </a:ext>
                  </a:extLst>
                </a:gridCol>
              </a:tblGrid>
              <a:tr h="266700">
                <a:tc>
                  <a:txBody>
                    <a:bodyPr/>
                    <a:lstStyle/>
                    <a:p>
                      <a:pPr algn="l" fontAlgn="ctr"/>
                      <a:r>
                        <a:rPr lang="en-CA" sz="1100" u="none" strike="noStrike">
                          <a:effectLst/>
                        </a:rPr>
                        <a:t> </a:t>
                      </a:r>
                      <a:endParaRPr lang="en-CA" sz="1100" b="0" i="0" u="none" strike="noStrike">
                        <a:solidFill>
                          <a:srgbClr val="000000"/>
                        </a:solidFill>
                        <a:effectLst/>
                        <a:latin typeface="Calibri" panose="020F0502020204030204" pitchFamily="34" charset="0"/>
                      </a:endParaRPr>
                    </a:p>
                  </a:txBody>
                  <a:tcPr marL="9525" marR="9525" marT="9525" marB="0" anchor="ctr"/>
                </a:tc>
                <a:tc gridSpan="7">
                  <a:txBody>
                    <a:bodyPr/>
                    <a:lstStyle/>
                    <a:p>
                      <a:pPr algn="ctr" fontAlgn="ctr"/>
                      <a:r>
                        <a:rPr lang="en-CA" sz="1600" u="none" strike="noStrike" dirty="0">
                          <a:effectLst/>
                        </a:rPr>
                        <a:t>FLEET</a:t>
                      </a:r>
                      <a:endParaRPr lang="en-CA" sz="1600" b="1" i="0" u="none" strike="noStrike" dirty="0">
                        <a:solidFill>
                          <a:srgbClr val="FF0000"/>
                        </a:solidFill>
                        <a:effectLst/>
                        <a:latin typeface="Calibri" panose="020F0502020204030204" pitchFamily="34" charset="0"/>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69063590"/>
                  </a:ext>
                </a:extLst>
              </a:tr>
              <a:tr h="800100">
                <a:tc>
                  <a:txBody>
                    <a:bodyPr/>
                    <a:lstStyle/>
                    <a:p>
                      <a:pPr algn="l" fontAlgn="ctr"/>
                      <a:r>
                        <a:rPr lang="en-CA" sz="1100" u="none" strike="noStrike">
                          <a:effectLst/>
                        </a:rPr>
                        <a:t>Location</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000" u="none" strike="noStrike">
                          <a:effectLst/>
                        </a:rPr>
                        <a:t>F670</a:t>
                      </a:r>
                      <a:br>
                        <a:rPr lang="en-CA" sz="1000" u="none" strike="noStrike">
                          <a:effectLst/>
                        </a:rPr>
                      </a:br>
                      <a:r>
                        <a:rPr lang="en-CA" sz="1000" u="none" strike="noStrike">
                          <a:effectLst/>
                        </a:rPr>
                        <a:t>|</a:t>
                      </a:r>
                      <a:br>
                        <a:rPr lang="en-CA" sz="1000" u="none" strike="noStrike">
                          <a:effectLst/>
                        </a:rPr>
                      </a:br>
                      <a:r>
                        <a:rPr lang="en-CA" sz="1000" u="none" strike="noStrike">
                          <a:effectLst/>
                        </a:rPr>
                        <a:t>F192</a:t>
                      </a:r>
                      <a:br>
                        <a:rPr lang="en-CA" sz="1000" u="none" strike="noStrike">
                          <a:effectLst/>
                        </a:rPr>
                      </a:br>
                      <a:r>
                        <a:rPr lang="en-CA" sz="1000" u="none" strike="noStrike">
                          <a:effectLst/>
                        </a:rPr>
                        <a:t>|</a:t>
                      </a:r>
                      <a:br>
                        <a:rPr lang="en-CA" sz="1000" u="none" strike="noStrike">
                          <a:effectLst/>
                        </a:rPr>
                      </a:br>
                      <a:r>
                        <a:rPr lang="en-CA" sz="1000" u="none" strike="noStrike">
                          <a:effectLst/>
                        </a:rPr>
                        <a:t>F546</a:t>
                      </a:r>
                      <a:endParaRPr lang="en-CA" sz="1000" b="1" i="0" u="none" strike="noStrike">
                        <a:solidFill>
                          <a:srgbClr val="FF0000"/>
                        </a:solidFill>
                        <a:effectLst/>
                        <a:latin typeface="Calibri" panose="020F0502020204030204" pitchFamily="34" charset="0"/>
                      </a:endParaRPr>
                    </a:p>
                  </a:txBody>
                  <a:tcPr marL="9525" marR="9525" marT="9525" marB="0" vert="wordArtVert" anchor="ctr"/>
                </a:tc>
                <a:tc>
                  <a:txBody>
                    <a:bodyPr/>
                    <a:lstStyle/>
                    <a:p>
                      <a:pPr algn="ctr" fontAlgn="ctr"/>
                      <a:r>
                        <a:rPr lang="en-CA" sz="1000" u="none" strike="noStrike">
                          <a:effectLst/>
                        </a:rPr>
                        <a:t>F295</a:t>
                      </a:r>
                      <a:endParaRPr lang="en-CA" sz="1000" b="1" i="0" u="none" strike="noStrike">
                        <a:solidFill>
                          <a:srgbClr val="FF0000"/>
                        </a:solidFill>
                        <a:effectLst/>
                        <a:latin typeface="Calibri" panose="020F0502020204030204" pitchFamily="34" charset="0"/>
                      </a:endParaRPr>
                    </a:p>
                  </a:txBody>
                  <a:tcPr marL="9525" marR="9525" marT="9525" marB="0" vert="wordArtVert" anchor="ctr"/>
                </a:tc>
                <a:tc>
                  <a:txBody>
                    <a:bodyPr/>
                    <a:lstStyle/>
                    <a:p>
                      <a:pPr algn="ctr" fontAlgn="ctr"/>
                      <a:r>
                        <a:rPr lang="en-CA" sz="1000" u="none" strike="noStrike">
                          <a:effectLst/>
                        </a:rPr>
                        <a:t>F690</a:t>
                      </a:r>
                      <a:endParaRPr lang="en-CA" sz="1000" b="1" i="0" u="none" strike="noStrike">
                        <a:solidFill>
                          <a:srgbClr val="FF0000"/>
                        </a:solidFill>
                        <a:effectLst/>
                        <a:latin typeface="Calibri" panose="020F0502020204030204" pitchFamily="34" charset="0"/>
                      </a:endParaRPr>
                    </a:p>
                  </a:txBody>
                  <a:tcPr marL="9525" marR="9525" marT="9525" marB="0" vert="wordArtVert" anchor="ctr"/>
                </a:tc>
                <a:tc>
                  <a:txBody>
                    <a:bodyPr/>
                    <a:lstStyle/>
                    <a:p>
                      <a:pPr algn="ctr" fontAlgn="ctr"/>
                      <a:r>
                        <a:rPr lang="en-CA" sz="1000" u="none" strike="noStrike">
                          <a:effectLst/>
                        </a:rPr>
                        <a:t>F855</a:t>
                      </a:r>
                      <a:endParaRPr lang="en-CA" sz="1000" b="1" i="0" u="none" strike="noStrike">
                        <a:solidFill>
                          <a:srgbClr val="FF0000"/>
                        </a:solidFill>
                        <a:effectLst/>
                        <a:latin typeface="Calibri" panose="020F0502020204030204" pitchFamily="34" charset="0"/>
                      </a:endParaRPr>
                    </a:p>
                  </a:txBody>
                  <a:tcPr marL="9525" marR="9525" marT="9525" marB="0" vert="wordArtVert" anchor="ctr"/>
                </a:tc>
                <a:tc>
                  <a:txBody>
                    <a:bodyPr/>
                    <a:lstStyle/>
                    <a:p>
                      <a:pPr algn="ctr" fontAlgn="ctr"/>
                      <a:r>
                        <a:rPr lang="en-CA" sz="1000" u="none" strike="noStrike" dirty="0">
                          <a:effectLst/>
                        </a:rPr>
                        <a:t>F630</a:t>
                      </a:r>
                      <a:endParaRPr lang="en-CA" sz="1000" b="1" i="0" u="none" strike="noStrike" dirty="0">
                        <a:solidFill>
                          <a:srgbClr val="FF0000"/>
                        </a:solidFill>
                        <a:effectLst/>
                        <a:latin typeface="Calibri" panose="020F0502020204030204" pitchFamily="34" charset="0"/>
                      </a:endParaRPr>
                    </a:p>
                  </a:txBody>
                  <a:tcPr marL="9525" marR="9525" marT="9525" marB="0" vert="wordArtVert" anchor="ctr"/>
                </a:tc>
                <a:tc>
                  <a:txBody>
                    <a:bodyPr/>
                    <a:lstStyle/>
                    <a:p>
                      <a:pPr algn="ctr" fontAlgn="ctr"/>
                      <a:r>
                        <a:rPr lang="en-CA" sz="1000" u="none" strike="noStrike">
                          <a:effectLst/>
                        </a:rPr>
                        <a:t>F231</a:t>
                      </a:r>
                      <a:endParaRPr lang="en-CA" sz="1000" b="1" i="0" u="none" strike="noStrike">
                        <a:solidFill>
                          <a:srgbClr val="FF0000"/>
                        </a:solidFill>
                        <a:effectLst/>
                        <a:latin typeface="Calibri" panose="020F0502020204030204" pitchFamily="34" charset="0"/>
                      </a:endParaRPr>
                    </a:p>
                  </a:txBody>
                  <a:tcPr marL="9525" marR="9525" marT="9525" marB="0" vert="wordArtVert" anchor="ctr"/>
                </a:tc>
                <a:tc>
                  <a:txBody>
                    <a:bodyPr/>
                    <a:lstStyle/>
                    <a:p>
                      <a:pPr algn="ctr" fontAlgn="ctr"/>
                      <a:r>
                        <a:rPr lang="en-CA" sz="1000" u="none" strike="noStrike">
                          <a:effectLst/>
                        </a:rPr>
                        <a:t>F286</a:t>
                      </a:r>
                      <a:endParaRPr lang="en-CA" sz="1000" b="1" i="0" u="none" strike="noStrike">
                        <a:solidFill>
                          <a:srgbClr val="FF0000"/>
                        </a:solidFill>
                        <a:effectLst/>
                        <a:latin typeface="Calibri" panose="020F0502020204030204" pitchFamily="34" charset="0"/>
                      </a:endParaRPr>
                    </a:p>
                  </a:txBody>
                  <a:tcPr marL="9525" marR="9525" marT="9525" marB="0" vert="wordArtVert" anchor="ctr"/>
                </a:tc>
                <a:extLst>
                  <a:ext uri="{0D108BD9-81ED-4DB2-BD59-A6C34878D82A}">
                    <a16:rowId xmlns:a16="http://schemas.microsoft.com/office/drawing/2014/main" val="3142065513"/>
                  </a:ext>
                </a:extLst>
              </a:tr>
              <a:tr h="203200">
                <a:tc>
                  <a:txBody>
                    <a:bodyPr/>
                    <a:lstStyle/>
                    <a:p>
                      <a:pPr algn="l" fontAlgn="b"/>
                      <a:r>
                        <a:rPr lang="en-CA" sz="1100" u="none" strike="noStrike">
                          <a:effectLst/>
                        </a:rPr>
                        <a:t>YUL</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CA" sz="1200" u="none" strike="noStrike">
                          <a:effectLst/>
                        </a:rPr>
                        <a:t>41</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20</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5</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15</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22</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11</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16</a:t>
                      </a:r>
                      <a:endParaRPr lang="en-CA" sz="12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542096765"/>
                  </a:ext>
                </a:extLst>
              </a:tr>
              <a:tr h="203200">
                <a:tc>
                  <a:txBody>
                    <a:bodyPr/>
                    <a:lstStyle/>
                    <a:p>
                      <a:pPr algn="l" fontAlgn="b"/>
                      <a:r>
                        <a:rPr lang="en-CA" sz="1100" u="none" strike="noStrike">
                          <a:effectLst/>
                        </a:rPr>
                        <a:t>YYT</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CA" sz="1200" u="none" strike="noStrike">
                          <a:effectLst/>
                        </a:rPr>
                        <a:t>2</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0</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0</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0</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0</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0</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1</a:t>
                      </a:r>
                      <a:endParaRPr lang="en-CA" sz="12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53956208"/>
                  </a:ext>
                </a:extLst>
              </a:tr>
              <a:tr h="203200">
                <a:tc>
                  <a:txBody>
                    <a:bodyPr/>
                    <a:lstStyle/>
                    <a:p>
                      <a:pPr algn="l" fontAlgn="b"/>
                      <a:r>
                        <a:rPr lang="en-CA" sz="1100" u="none" strike="noStrike">
                          <a:effectLst/>
                        </a:rPr>
                        <a:t>YOW</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CA" sz="1200" u="none" strike="noStrike">
                          <a:effectLst/>
                        </a:rPr>
                        <a:t>2</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dirty="0">
                          <a:effectLst/>
                        </a:rPr>
                        <a:t>1</a:t>
                      </a:r>
                      <a:endParaRPr lang="en-CA" sz="12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0</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0</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0</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0</a:t>
                      </a:r>
                      <a:endParaRPr lang="en-CA" sz="12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200" u="none" strike="noStrike">
                          <a:effectLst/>
                        </a:rPr>
                        <a:t>1</a:t>
                      </a:r>
                      <a:endParaRPr lang="en-CA" sz="12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108061825"/>
                  </a:ext>
                </a:extLst>
              </a:tr>
              <a:tr h="190500">
                <a:tc>
                  <a:txBody>
                    <a:bodyPr/>
                    <a:lstStyle/>
                    <a:p>
                      <a:pPr algn="l" fontAlgn="b"/>
                      <a:r>
                        <a:rPr lang="en-CA" sz="1100" u="none" strike="noStrike">
                          <a:effectLst/>
                        </a:rPr>
                        <a:t>YHZ</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CA" sz="1100" u="none" strike="noStrike">
                          <a:effectLst/>
                        </a:rPr>
                        <a:t>2</a:t>
                      </a:r>
                      <a:endParaRPr lang="en-CA" sz="1100" b="0" i="0" u="none" strike="noStrike">
                        <a:solidFill>
                          <a:srgbClr val="0061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2</a:t>
                      </a:r>
                      <a:endParaRPr lang="en-CA" sz="1100" b="0" i="0" u="none" strike="noStrike">
                        <a:solidFill>
                          <a:srgbClr val="0061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61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61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61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61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2</a:t>
                      </a:r>
                      <a:endParaRPr lang="en-CA" sz="1100" b="0" i="0" u="none" strike="noStrike">
                        <a:solidFill>
                          <a:srgbClr val="0061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96043852"/>
                  </a:ext>
                </a:extLst>
              </a:tr>
              <a:tr h="190500">
                <a:tc>
                  <a:txBody>
                    <a:bodyPr/>
                    <a:lstStyle/>
                    <a:p>
                      <a:pPr algn="l" fontAlgn="b"/>
                      <a:r>
                        <a:rPr lang="en-CA" sz="1100" u="none" strike="noStrike">
                          <a:effectLst/>
                        </a:rPr>
                        <a:t>YQB</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CA" sz="1100" u="none" strike="noStrike">
                          <a:effectLst/>
                        </a:rPr>
                        <a:t>1</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2</a:t>
                      </a:r>
                      <a:endParaRPr lang="en-CA"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506399712"/>
                  </a:ext>
                </a:extLst>
              </a:tr>
              <a:tr h="190500">
                <a:tc>
                  <a:txBody>
                    <a:bodyPr/>
                    <a:lstStyle/>
                    <a:p>
                      <a:pPr algn="l" fontAlgn="b"/>
                      <a:r>
                        <a:rPr lang="en-CA" sz="1100" u="none" strike="noStrike">
                          <a:effectLst/>
                        </a:rPr>
                        <a:t>YYZ</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CA" sz="1100" u="none" strike="noStrike">
                          <a:effectLst/>
                        </a:rPr>
                        <a:t>98</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6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2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4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49</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38</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35</a:t>
                      </a:r>
                      <a:endParaRPr lang="en-CA"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390957393"/>
                  </a:ext>
                </a:extLst>
              </a:tr>
              <a:tr h="190500">
                <a:tc>
                  <a:txBody>
                    <a:bodyPr/>
                    <a:lstStyle/>
                    <a:p>
                      <a:pPr algn="l" fontAlgn="b"/>
                      <a:r>
                        <a:rPr lang="en-CA" sz="1100" u="none" strike="noStrike">
                          <a:effectLst/>
                        </a:rPr>
                        <a:t>YVR</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CA" sz="1100" u="none" strike="noStrike">
                          <a:effectLst/>
                        </a:rPr>
                        <a:t>36</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18</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4</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12</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19</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12</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15</a:t>
                      </a:r>
                      <a:endParaRPr lang="en-CA"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75884364"/>
                  </a:ext>
                </a:extLst>
              </a:tr>
              <a:tr h="190500">
                <a:tc>
                  <a:txBody>
                    <a:bodyPr/>
                    <a:lstStyle/>
                    <a:p>
                      <a:pPr algn="l" fontAlgn="b"/>
                      <a:r>
                        <a:rPr lang="en-CA" sz="1100" u="none" strike="noStrike">
                          <a:effectLst/>
                        </a:rPr>
                        <a:t>YYC</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CA" sz="1100" u="none" strike="noStrike">
                          <a:effectLst/>
                        </a:rPr>
                        <a:t>6</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2</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2</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dirty="0">
                          <a:effectLst/>
                        </a:rPr>
                        <a:t>4</a:t>
                      </a:r>
                      <a:endParaRPr lang="en-CA"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3</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3</a:t>
                      </a:r>
                      <a:endParaRPr lang="en-CA"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667522031"/>
                  </a:ext>
                </a:extLst>
              </a:tr>
              <a:tr h="190500">
                <a:tc>
                  <a:txBody>
                    <a:bodyPr/>
                    <a:lstStyle/>
                    <a:p>
                      <a:pPr algn="l" fontAlgn="b"/>
                      <a:r>
                        <a:rPr lang="en-CA" sz="1100" u="none" strike="noStrike">
                          <a:effectLst/>
                        </a:rPr>
                        <a:t>YEG</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CA" sz="1100" u="none" strike="noStrike">
                          <a:effectLst/>
                        </a:rPr>
                        <a:t>2</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2</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1</a:t>
                      </a:r>
                      <a:endParaRPr lang="en-CA"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301721902"/>
                  </a:ext>
                </a:extLst>
              </a:tr>
              <a:tr h="190500">
                <a:tc>
                  <a:txBody>
                    <a:bodyPr/>
                    <a:lstStyle/>
                    <a:p>
                      <a:pPr algn="l" fontAlgn="b"/>
                      <a:r>
                        <a:rPr lang="en-CA" sz="1100" u="none" strike="noStrike">
                          <a:effectLst/>
                        </a:rPr>
                        <a:t>YWG</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CA" sz="1100" u="none" strike="noStrike">
                          <a:effectLst/>
                        </a:rPr>
                        <a:t>2</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1</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a:effectLst/>
                        </a:rPr>
                        <a:t>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CA" sz="1100" u="none" strike="noStrike" dirty="0">
                          <a:effectLst/>
                        </a:rPr>
                        <a:t>1</a:t>
                      </a:r>
                      <a:endParaRPr lang="en-CA"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20926938"/>
                  </a:ext>
                </a:extLst>
              </a:tr>
            </a:tbl>
          </a:graphicData>
        </a:graphic>
      </p:graphicFrame>
      <p:sp>
        <p:nvSpPr>
          <p:cNvPr id="4" name="TextBox 3">
            <a:extLst>
              <a:ext uri="{FF2B5EF4-FFF2-40B4-BE49-F238E27FC236}">
                <a16:creationId xmlns:a16="http://schemas.microsoft.com/office/drawing/2014/main" id="{0DDB8529-7ED0-2D4F-B6EA-2D08E899CD32}"/>
              </a:ext>
            </a:extLst>
          </p:cNvPr>
          <p:cNvSpPr txBox="1"/>
          <p:nvPr/>
        </p:nvSpPr>
        <p:spPr>
          <a:xfrm>
            <a:off x="3282950" y="5050465"/>
            <a:ext cx="5626100" cy="531628"/>
          </a:xfrm>
          <a:prstGeom prst="rect">
            <a:avLst/>
          </a:prstGeom>
          <a:noFill/>
        </p:spPr>
        <p:txBody>
          <a:bodyPr wrap="square" lIns="0" tIns="0" rIns="0" bIns="0" rtlCol="0">
            <a:noAutofit/>
          </a:bodyPr>
          <a:lstStyle/>
          <a:p>
            <a:r>
              <a:rPr lang="en-US" sz="1700" dirty="0">
                <a:solidFill>
                  <a:schemeClr val="bg1"/>
                </a:solidFill>
              </a:rPr>
              <a:t>Number of employees available at each airport</a:t>
            </a:r>
          </a:p>
        </p:txBody>
      </p:sp>
    </p:spTree>
    <p:extLst>
      <p:ext uri="{BB962C8B-B14F-4D97-AF65-F5344CB8AC3E}">
        <p14:creationId xmlns:p14="http://schemas.microsoft.com/office/powerpoint/2010/main" val="2103958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Solution Approach</a:t>
            </a:r>
          </a:p>
        </p:txBody>
      </p:sp>
      <p:sp>
        <p:nvSpPr>
          <p:cNvPr id="3" name="Content Placeholder 2">
            <a:extLst>
              <a:ext uri="{FF2B5EF4-FFF2-40B4-BE49-F238E27FC236}">
                <a16:creationId xmlns:a16="http://schemas.microsoft.com/office/drawing/2014/main" id="{CC9DCF89-09E4-2446-9409-9C64D674781B}"/>
              </a:ext>
            </a:extLst>
          </p:cNvPr>
          <p:cNvSpPr txBox="1">
            <a:spLocks/>
          </p:cNvSpPr>
          <p:nvPr/>
        </p:nvSpPr>
        <p:spPr>
          <a:xfrm>
            <a:off x="838200" y="1825625"/>
            <a:ext cx="10515600" cy="4351338"/>
          </a:xfrm>
          <a:prstGeom prst="rect">
            <a:avLst/>
          </a:prstGeom>
        </p:spPr>
        <p:txBody>
          <a:bodyPr/>
          <a:lst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solidFill>
                <a:schemeClr val="bg1"/>
              </a:solidFill>
            </a:endParaRPr>
          </a:p>
          <a:p>
            <a:pPr marL="342900" indent="-342900">
              <a:buFont typeface="Arial" panose="020B0604020202020204" pitchFamily="34" charset="0"/>
              <a:buChar char="•"/>
            </a:pPr>
            <a:r>
              <a:rPr lang="en-US" dirty="0">
                <a:solidFill>
                  <a:schemeClr val="bg1"/>
                </a:solidFill>
              </a:rPr>
              <a:t>Decompose by fleet</a:t>
            </a:r>
          </a:p>
          <a:p>
            <a:pPr marL="342900" indent="-342900">
              <a:buFont typeface="Arial" panose="020B0604020202020204" pitchFamily="34" charset="0"/>
              <a:buChar char="•"/>
            </a:pPr>
            <a:r>
              <a:rPr lang="en-US" dirty="0">
                <a:solidFill>
                  <a:schemeClr val="bg1"/>
                </a:solidFill>
              </a:rPr>
              <a:t>Shift Profile – Assign of employees to shifts</a:t>
            </a:r>
          </a:p>
          <a:p>
            <a:pPr marL="342900" indent="-342900">
              <a:buFont typeface="Arial" panose="020B0604020202020204" pitchFamily="34" charset="0"/>
              <a:buChar char="•"/>
            </a:pPr>
            <a:r>
              <a:rPr lang="en-US" dirty="0">
                <a:solidFill>
                  <a:schemeClr val="bg1"/>
                </a:solidFill>
              </a:rPr>
              <a:t>Task Assignment – Assign tasks to ground times</a:t>
            </a:r>
          </a:p>
          <a:p>
            <a:pPr marL="342900" indent="-342900">
              <a:buFont typeface="Arial" panose="020B0604020202020204" pitchFamily="34" charset="0"/>
              <a:buChar char="•"/>
            </a:pPr>
            <a:r>
              <a:rPr lang="en-US" dirty="0">
                <a:solidFill>
                  <a:schemeClr val="bg1"/>
                </a:solidFill>
              </a:rPr>
              <a:t>Resource Usage – Assign employees from a shift to a task</a:t>
            </a:r>
          </a:p>
        </p:txBody>
      </p:sp>
    </p:spTree>
    <p:extLst>
      <p:ext uri="{BB962C8B-B14F-4D97-AF65-F5344CB8AC3E}">
        <p14:creationId xmlns:p14="http://schemas.microsoft.com/office/powerpoint/2010/main" val="1980697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Shift Profile</a:t>
            </a:r>
          </a:p>
        </p:txBody>
      </p:sp>
      <p:sp>
        <p:nvSpPr>
          <p:cNvPr id="3" name="Content Placeholder 5">
            <a:extLst>
              <a:ext uri="{FF2B5EF4-FFF2-40B4-BE49-F238E27FC236}">
                <a16:creationId xmlns:a16="http://schemas.microsoft.com/office/drawing/2014/main" id="{91FA0650-CB02-F548-9751-66E423D595AA}"/>
              </a:ext>
            </a:extLst>
          </p:cNvPr>
          <p:cNvSpPr txBox="1">
            <a:spLocks/>
          </p:cNvSpPr>
          <p:nvPr/>
        </p:nvSpPr>
        <p:spPr>
          <a:xfrm>
            <a:off x="838200" y="1825625"/>
            <a:ext cx="10515600" cy="4351338"/>
          </a:xfrm>
          <a:prstGeom prst="rect">
            <a:avLst/>
          </a:prstGeom>
        </p:spPr>
        <p:txBody>
          <a:bodyPr/>
          <a:lst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solidFill>
                  <a:schemeClr val="bg1"/>
                </a:solidFill>
              </a:rPr>
              <a:t>Given – available manpower in an airport</a:t>
            </a:r>
          </a:p>
          <a:p>
            <a:pPr marL="285750" indent="-285750">
              <a:buFont typeface="Arial" panose="020B0604020202020204" pitchFamily="34" charset="0"/>
              <a:buChar char="•"/>
            </a:pPr>
            <a:r>
              <a:rPr lang="en-US" dirty="0">
                <a:solidFill>
                  <a:schemeClr val="bg1"/>
                </a:solidFill>
              </a:rPr>
              <a:t>To divide the manpower within 4 shifts.</a:t>
            </a:r>
          </a:p>
        </p:txBody>
      </p:sp>
      <p:graphicFrame>
        <p:nvGraphicFramePr>
          <p:cNvPr id="5" name="Diagram 4">
            <a:extLst>
              <a:ext uri="{FF2B5EF4-FFF2-40B4-BE49-F238E27FC236}">
                <a16:creationId xmlns:a16="http://schemas.microsoft.com/office/drawing/2014/main" id="{8939C5AF-4187-4647-B83A-B64A947D9F16}"/>
              </a:ext>
            </a:extLst>
          </p:cNvPr>
          <p:cNvGraphicFramePr/>
          <p:nvPr>
            <p:extLst>
              <p:ext uri="{D42A27DB-BD31-4B8C-83A1-F6EECF244321}">
                <p14:modId xmlns:p14="http://schemas.microsoft.com/office/powerpoint/2010/main" val="1563287879"/>
              </p:ext>
            </p:extLst>
          </p:nvPr>
        </p:nvGraphicFramePr>
        <p:xfrm>
          <a:off x="3179135" y="2803095"/>
          <a:ext cx="4556641" cy="33738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247157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Shift Profile - YYZ</a:t>
            </a:r>
          </a:p>
        </p:txBody>
      </p:sp>
      <p:graphicFrame>
        <p:nvGraphicFramePr>
          <p:cNvPr id="3" name="Content Placeholder 5">
            <a:extLst>
              <a:ext uri="{FF2B5EF4-FFF2-40B4-BE49-F238E27FC236}">
                <a16:creationId xmlns:a16="http://schemas.microsoft.com/office/drawing/2014/main" id="{1CFF01F7-DD68-CA4C-A91C-9E582403437F}"/>
              </a:ext>
            </a:extLst>
          </p:cNvPr>
          <p:cNvGraphicFramePr>
            <a:graphicFrameLocks/>
          </p:cNvGraphicFramePr>
          <p:nvPr>
            <p:extLst>
              <p:ext uri="{D42A27DB-BD31-4B8C-83A1-F6EECF244321}">
                <p14:modId xmlns:p14="http://schemas.microsoft.com/office/powerpoint/2010/main" val="3686376019"/>
              </p:ext>
            </p:extLst>
          </p:nvPr>
        </p:nvGraphicFramePr>
        <p:xfrm>
          <a:off x="1508051" y="1688270"/>
          <a:ext cx="8712200" cy="558165"/>
        </p:xfrm>
        <a:graphic>
          <a:graphicData uri="http://schemas.openxmlformats.org/drawingml/2006/table">
            <a:tbl>
              <a:tblPr>
                <a:tableStyleId>{5C22544A-7EE6-4342-B048-85BDC9FD1C3A}</a:tableStyleId>
              </a:tblPr>
              <a:tblGrid>
                <a:gridCol w="825666">
                  <a:extLst>
                    <a:ext uri="{9D8B030D-6E8A-4147-A177-3AD203B41FA5}">
                      <a16:colId xmlns:a16="http://schemas.microsoft.com/office/drawing/2014/main" val="69757834"/>
                    </a:ext>
                  </a:extLst>
                </a:gridCol>
                <a:gridCol w="825666">
                  <a:extLst>
                    <a:ext uri="{9D8B030D-6E8A-4147-A177-3AD203B41FA5}">
                      <a16:colId xmlns:a16="http://schemas.microsoft.com/office/drawing/2014/main" val="1660596439"/>
                    </a:ext>
                  </a:extLst>
                </a:gridCol>
                <a:gridCol w="825666">
                  <a:extLst>
                    <a:ext uri="{9D8B030D-6E8A-4147-A177-3AD203B41FA5}">
                      <a16:colId xmlns:a16="http://schemas.microsoft.com/office/drawing/2014/main" val="3609896621"/>
                    </a:ext>
                  </a:extLst>
                </a:gridCol>
                <a:gridCol w="1281206">
                  <a:extLst>
                    <a:ext uri="{9D8B030D-6E8A-4147-A177-3AD203B41FA5}">
                      <a16:colId xmlns:a16="http://schemas.microsoft.com/office/drawing/2014/main" val="2430510030"/>
                    </a:ext>
                  </a:extLst>
                </a:gridCol>
                <a:gridCol w="825666">
                  <a:extLst>
                    <a:ext uri="{9D8B030D-6E8A-4147-A177-3AD203B41FA5}">
                      <a16:colId xmlns:a16="http://schemas.microsoft.com/office/drawing/2014/main" val="3323251525"/>
                    </a:ext>
                  </a:extLst>
                </a:gridCol>
                <a:gridCol w="825666">
                  <a:extLst>
                    <a:ext uri="{9D8B030D-6E8A-4147-A177-3AD203B41FA5}">
                      <a16:colId xmlns:a16="http://schemas.microsoft.com/office/drawing/2014/main" val="3684548370"/>
                    </a:ext>
                  </a:extLst>
                </a:gridCol>
                <a:gridCol w="825666">
                  <a:extLst>
                    <a:ext uri="{9D8B030D-6E8A-4147-A177-3AD203B41FA5}">
                      <a16:colId xmlns:a16="http://schemas.microsoft.com/office/drawing/2014/main" val="2195466479"/>
                    </a:ext>
                  </a:extLst>
                </a:gridCol>
                <a:gridCol w="825666">
                  <a:extLst>
                    <a:ext uri="{9D8B030D-6E8A-4147-A177-3AD203B41FA5}">
                      <a16:colId xmlns:a16="http://schemas.microsoft.com/office/drawing/2014/main" val="1726815492"/>
                    </a:ext>
                  </a:extLst>
                </a:gridCol>
                <a:gridCol w="825666">
                  <a:extLst>
                    <a:ext uri="{9D8B030D-6E8A-4147-A177-3AD203B41FA5}">
                      <a16:colId xmlns:a16="http://schemas.microsoft.com/office/drawing/2014/main" val="2014568101"/>
                    </a:ext>
                  </a:extLst>
                </a:gridCol>
                <a:gridCol w="825666">
                  <a:extLst>
                    <a:ext uri="{9D8B030D-6E8A-4147-A177-3AD203B41FA5}">
                      <a16:colId xmlns:a16="http://schemas.microsoft.com/office/drawing/2014/main" val="591294323"/>
                    </a:ext>
                  </a:extLst>
                </a:gridCol>
              </a:tblGrid>
              <a:tr h="0">
                <a:tc>
                  <a:txBody>
                    <a:bodyPr/>
                    <a:lstStyle/>
                    <a:p>
                      <a:pPr algn="ctr" fontAlgn="b"/>
                      <a:r>
                        <a:rPr lang="en-CA" sz="1100" u="none" strike="noStrike">
                          <a:effectLst/>
                        </a:rPr>
                        <a:t>Month</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Cycle</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Location</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dirty="0">
                          <a:effectLst/>
                        </a:rPr>
                        <a:t>F347</a:t>
                      </a:r>
                      <a:endParaRPr lang="en-CA"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F295</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F690</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F855</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F630</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F231</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F286</a:t>
                      </a:r>
                      <a:endParaRPr lang="en-CA"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27245131"/>
                  </a:ext>
                </a:extLst>
              </a:tr>
              <a:tr h="190500">
                <a:tc>
                  <a:txBody>
                    <a:bodyPr/>
                    <a:lstStyle/>
                    <a:p>
                      <a:pPr algn="ctr" fontAlgn="b"/>
                      <a:r>
                        <a:rPr lang="en-CA" sz="1100" u="none" strike="noStrike">
                          <a:effectLst/>
                        </a:rPr>
                        <a:t>August</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1</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YYZ</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ctr"/>
                      <a:r>
                        <a:rPr lang="en-CA" sz="1100" u="none" strike="noStrike" dirty="0">
                          <a:effectLst/>
                        </a:rPr>
                        <a:t>92</a:t>
                      </a:r>
                      <a:endParaRPr lang="en-CA"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a:effectLst/>
                        </a:rPr>
                        <a:t>5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a:effectLst/>
                        </a:rPr>
                        <a:t>15</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a:effectLst/>
                        </a:rPr>
                        <a:t>36</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a:effectLst/>
                        </a:rPr>
                        <a:t>49</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a:effectLst/>
                        </a:rPr>
                        <a:t>33</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a:effectLst/>
                        </a:rPr>
                        <a:t>35</a:t>
                      </a:r>
                      <a:endParaRPr lang="en-CA"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318158417"/>
                  </a:ext>
                </a:extLst>
              </a:tr>
              <a:tr h="190500">
                <a:tc>
                  <a:txBody>
                    <a:bodyPr/>
                    <a:lstStyle/>
                    <a:p>
                      <a:pPr algn="ctr" fontAlgn="b"/>
                      <a:r>
                        <a:rPr lang="en-CA" sz="1100" u="none" strike="noStrike">
                          <a:effectLst/>
                        </a:rPr>
                        <a:t>August</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2</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CA" sz="1100" u="none" strike="noStrike">
                          <a:effectLst/>
                        </a:rPr>
                        <a:t>YYZ</a:t>
                      </a:r>
                      <a:endParaRPr lang="en-CA"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ctr"/>
                      <a:r>
                        <a:rPr lang="en-CA" sz="1100" u="none" strike="noStrike">
                          <a:effectLst/>
                        </a:rPr>
                        <a:t>92</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a:effectLst/>
                        </a:rPr>
                        <a:t>5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a:effectLst/>
                        </a:rPr>
                        <a:t>15</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a:effectLst/>
                        </a:rPr>
                        <a:t>36</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a:effectLst/>
                        </a:rPr>
                        <a:t>50</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a:effectLst/>
                        </a:rPr>
                        <a:t>32</a:t>
                      </a:r>
                      <a:endParaRPr lang="en-CA"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CA" sz="1100" u="none" strike="noStrike" dirty="0">
                          <a:effectLst/>
                        </a:rPr>
                        <a:t>35</a:t>
                      </a:r>
                      <a:endParaRPr lang="en-CA"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193053367"/>
                  </a:ext>
                </a:extLst>
              </a:tr>
            </a:tbl>
          </a:graphicData>
        </a:graphic>
      </p:graphicFrame>
      <p:pic>
        <p:nvPicPr>
          <p:cNvPr id="4" name="Picture 3">
            <a:extLst>
              <a:ext uri="{FF2B5EF4-FFF2-40B4-BE49-F238E27FC236}">
                <a16:creationId xmlns:a16="http://schemas.microsoft.com/office/drawing/2014/main" id="{9CED5CEC-B797-004E-B350-D5E2BD7A2ECD}"/>
              </a:ext>
            </a:extLst>
          </p:cNvPr>
          <p:cNvPicPr>
            <a:picLocks noChangeAspect="1"/>
          </p:cNvPicPr>
          <p:nvPr/>
        </p:nvPicPr>
        <p:blipFill>
          <a:blip r:embed="rId2"/>
          <a:stretch>
            <a:fillRect/>
          </a:stretch>
        </p:blipFill>
        <p:spPr>
          <a:xfrm>
            <a:off x="5864151" y="2699671"/>
            <a:ext cx="4392323" cy="3221037"/>
          </a:xfrm>
          <a:prstGeom prst="rect">
            <a:avLst/>
          </a:prstGeom>
        </p:spPr>
      </p:pic>
      <p:sp>
        <p:nvSpPr>
          <p:cNvPr id="5" name="TextBox 4">
            <a:extLst>
              <a:ext uri="{FF2B5EF4-FFF2-40B4-BE49-F238E27FC236}">
                <a16:creationId xmlns:a16="http://schemas.microsoft.com/office/drawing/2014/main" id="{928DA349-972D-B748-946F-59E5BF174EF8}"/>
              </a:ext>
            </a:extLst>
          </p:cNvPr>
          <p:cNvSpPr txBox="1"/>
          <p:nvPr/>
        </p:nvSpPr>
        <p:spPr>
          <a:xfrm>
            <a:off x="1508051" y="2699671"/>
            <a:ext cx="4074042" cy="3190766"/>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sz="1700" dirty="0">
                <a:solidFill>
                  <a:schemeClr val="bg1"/>
                </a:solidFill>
              </a:rPr>
              <a:t>Shifts do not have balanced volume of flights to handle</a:t>
            </a:r>
          </a:p>
          <a:p>
            <a:pPr marL="285750" indent="-285750">
              <a:buFont typeface="Arial" panose="020B0604020202020204" pitchFamily="34" charset="0"/>
              <a:buChar char="•"/>
            </a:pPr>
            <a:endParaRPr lang="en-US" sz="1700" dirty="0">
              <a:solidFill>
                <a:schemeClr val="bg1"/>
              </a:solidFill>
            </a:endParaRPr>
          </a:p>
          <a:p>
            <a:pPr marL="285750" indent="-285750">
              <a:buFont typeface="Arial" panose="020B0604020202020204" pitchFamily="34" charset="0"/>
              <a:buChar char="•"/>
            </a:pPr>
            <a:endParaRPr lang="en-US" sz="1700" dirty="0">
              <a:solidFill>
                <a:schemeClr val="bg1"/>
              </a:solidFill>
            </a:endParaRPr>
          </a:p>
          <a:p>
            <a:pPr marL="285750" indent="-285750">
              <a:buFont typeface="Arial" panose="020B0604020202020204" pitchFamily="34" charset="0"/>
              <a:buChar char="•"/>
            </a:pPr>
            <a:endParaRPr lang="en-US" sz="1700" dirty="0">
              <a:solidFill>
                <a:schemeClr val="bg1"/>
              </a:solidFill>
            </a:endParaRPr>
          </a:p>
          <a:p>
            <a:pPr marL="285750" indent="-285750">
              <a:buFont typeface="Arial" panose="020B0604020202020204" pitchFamily="34" charset="0"/>
              <a:buChar char="•"/>
            </a:pPr>
            <a:r>
              <a:rPr lang="en-US" sz="1700" dirty="0">
                <a:solidFill>
                  <a:schemeClr val="bg1"/>
                </a:solidFill>
              </a:rPr>
              <a:t>Distribute manpower Proportional to the volume of flights</a:t>
            </a:r>
          </a:p>
        </p:txBody>
      </p:sp>
    </p:spTree>
    <p:extLst>
      <p:ext uri="{BB962C8B-B14F-4D97-AF65-F5344CB8AC3E}">
        <p14:creationId xmlns:p14="http://schemas.microsoft.com/office/powerpoint/2010/main" val="14877492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Task assignment – First Approach</a:t>
            </a:r>
          </a:p>
        </p:txBody>
      </p:sp>
      <p:sp>
        <p:nvSpPr>
          <p:cNvPr id="6" name="Content Placeholder 2">
            <a:extLst>
              <a:ext uri="{FF2B5EF4-FFF2-40B4-BE49-F238E27FC236}">
                <a16:creationId xmlns:a16="http://schemas.microsoft.com/office/drawing/2014/main" id="{12A8BAEB-9CD4-0145-9BAE-54151BE73F99}"/>
              </a:ext>
            </a:extLst>
          </p:cNvPr>
          <p:cNvSpPr txBox="1">
            <a:spLocks/>
          </p:cNvSpPr>
          <p:nvPr/>
        </p:nvSpPr>
        <p:spPr>
          <a:xfrm>
            <a:off x="838200" y="1825625"/>
            <a:ext cx="10515600" cy="4351338"/>
          </a:xfrm>
          <a:prstGeom prst="rect">
            <a:avLst/>
          </a:prstGeom>
        </p:spPr>
        <p:txBody>
          <a:bodyPr/>
          <a:lst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Integer programming</a:t>
            </a:r>
          </a:p>
          <a:p>
            <a:r>
              <a:rPr lang="en-US" dirty="0">
                <a:solidFill>
                  <a:schemeClr val="bg1"/>
                </a:solidFill>
              </a:rPr>
              <a:t>Issues : </a:t>
            </a:r>
          </a:p>
          <a:p>
            <a:pPr lvl="1"/>
            <a:r>
              <a:rPr lang="en-US" dirty="0">
                <a:solidFill>
                  <a:schemeClr val="bg1"/>
                </a:solidFill>
              </a:rPr>
              <a:t>Constraining resource usage on overlapping ground times</a:t>
            </a:r>
          </a:p>
          <a:p>
            <a:pPr marL="0" lvl="1" indent="0">
              <a:buNone/>
            </a:pPr>
            <a:r>
              <a:rPr lang="en-US" dirty="0">
                <a:solidFill>
                  <a:schemeClr val="bg1"/>
                </a:solidFill>
              </a:rPr>
              <a:t> </a:t>
            </a:r>
          </a:p>
          <a:p>
            <a:r>
              <a:rPr lang="en-US" dirty="0">
                <a:solidFill>
                  <a:schemeClr val="bg1"/>
                </a:solidFill>
              </a:rPr>
              <a:t>May be revisited in the future…</a:t>
            </a:r>
          </a:p>
          <a:p>
            <a:pPr marL="285750" indent="-285750">
              <a:buFont typeface="Arial" panose="020B0604020202020204" pitchFamily="34" charset="0"/>
              <a:buChar char="•"/>
            </a:pPr>
            <a:r>
              <a:rPr lang="en-US" dirty="0">
                <a:solidFill>
                  <a:schemeClr val="bg1"/>
                </a:solidFill>
              </a:rPr>
              <a:t>Discretizing time</a:t>
            </a:r>
          </a:p>
          <a:p>
            <a:pPr marL="285750" indent="-285750">
              <a:buFont typeface="Arial" panose="020B0604020202020204" pitchFamily="34" charset="0"/>
              <a:buChar char="•"/>
            </a:pPr>
            <a:r>
              <a:rPr lang="en-US" dirty="0">
                <a:solidFill>
                  <a:schemeClr val="bg1"/>
                </a:solidFill>
              </a:rPr>
              <a:t>Forbid teams to work other ground times</a:t>
            </a:r>
          </a:p>
          <a:p>
            <a:pPr marL="285750" indent="-285750">
              <a:buFont typeface="Arial" panose="020B0604020202020204" pitchFamily="34" charset="0"/>
              <a:buChar char="•"/>
            </a:pPr>
            <a:r>
              <a:rPr lang="en-US" dirty="0">
                <a:solidFill>
                  <a:schemeClr val="bg1"/>
                </a:solidFill>
              </a:rPr>
              <a:t>Constraint Programming – (Interval Sequencing)</a:t>
            </a:r>
          </a:p>
          <a:p>
            <a:pPr marL="285750" indent="-285750">
              <a:buFont typeface="Arial" panose="020B0604020202020204" pitchFamily="34" charset="0"/>
              <a:buChar char="•"/>
            </a:pPr>
            <a:r>
              <a:rPr lang="en-US" dirty="0">
                <a:solidFill>
                  <a:schemeClr val="bg1"/>
                </a:solidFill>
              </a:rPr>
              <a:t>Preassigning manpower to ground times</a:t>
            </a:r>
          </a:p>
        </p:txBody>
      </p:sp>
    </p:spTree>
    <p:extLst>
      <p:ext uri="{BB962C8B-B14F-4D97-AF65-F5344CB8AC3E}">
        <p14:creationId xmlns:p14="http://schemas.microsoft.com/office/powerpoint/2010/main" val="29373367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Task assignment</a:t>
            </a:r>
          </a:p>
        </p:txBody>
      </p:sp>
      <p:sp>
        <p:nvSpPr>
          <p:cNvPr id="4" name="Content Placeholder 2">
            <a:extLst>
              <a:ext uri="{FF2B5EF4-FFF2-40B4-BE49-F238E27FC236}">
                <a16:creationId xmlns:a16="http://schemas.microsoft.com/office/drawing/2014/main" id="{88FD30AC-16F5-A04B-8A4B-1735675D9BEB}"/>
              </a:ext>
            </a:extLst>
          </p:cNvPr>
          <p:cNvSpPr txBox="1">
            <a:spLocks/>
          </p:cNvSpPr>
          <p:nvPr/>
        </p:nvSpPr>
        <p:spPr>
          <a:xfrm>
            <a:off x="838200" y="1825625"/>
            <a:ext cx="10515600" cy="4351338"/>
          </a:xfrm>
          <a:prstGeom prst="rect">
            <a:avLst/>
          </a:prstGeom>
        </p:spPr>
        <p:txBody>
          <a:bodyPr/>
          <a:lst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Greedy heuristic</a:t>
            </a:r>
          </a:p>
          <a:p>
            <a:endParaRPr lang="en-US" dirty="0">
              <a:solidFill>
                <a:schemeClr val="bg1"/>
              </a:solidFill>
            </a:endParaRPr>
          </a:p>
          <a:p>
            <a:r>
              <a:rPr lang="en-US" dirty="0">
                <a:solidFill>
                  <a:schemeClr val="bg1"/>
                </a:solidFill>
              </a:rPr>
              <a:t>Rank tasks by their score (combination of priority manhours, and due date)</a:t>
            </a:r>
          </a:p>
          <a:p>
            <a:r>
              <a:rPr lang="en-US" dirty="0">
                <a:solidFill>
                  <a:schemeClr val="bg1"/>
                </a:solidFill>
              </a:rPr>
              <a:t>Rank ground times by date</a:t>
            </a:r>
          </a:p>
          <a:p>
            <a:r>
              <a:rPr lang="en-US" dirty="0">
                <a:solidFill>
                  <a:schemeClr val="bg1"/>
                </a:solidFill>
              </a:rPr>
              <a:t>Assign tasks to ground times:</a:t>
            </a:r>
          </a:p>
          <a:p>
            <a:pPr marL="285750" indent="-285750">
              <a:buFontTx/>
              <a:buChar char="-"/>
            </a:pPr>
            <a:r>
              <a:rPr lang="en-US" dirty="0">
                <a:solidFill>
                  <a:schemeClr val="bg1"/>
                </a:solidFill>
              </a:rPr>
              <a:t>Defect as early as possible</a:t>
            </a:r>
          </a:p>
          <a:p>
            <a:pPr marL="285750" indent="-285750">
              <a:buFontTx/>
              <a:buChar char="-"/>
            </a:pPr>
            <a:r>
              <a:rPr lang="en-US" dirty="0">
                <a:solidFill>
                  <a:schemeClr val="bg1"/>
                </a:solidFill>
              </a:rPr>
              <a:t>Maintenance as late as possible</a:t>
            </a:r>
          </a:p>
          <a:p>
            <a:r>
              <a:rPr lang="en-US" dirty="0">
                <a:solidFill>
                  <a:schemeClr val="bg1"/>
                </a:solidFill>
              </a:rPr>
              <a:t>Respect assigned FIN numbers</a:t>
            </a:r>
          </a:p>
          <a:p>
            <a:r>
              <a:rPr lang="en-US" dirty="0">
                <a:solidFill>
                  <a:schemeClr val="bg1"/>
                </a:solidFill>
              </a:rPr>
              <a:t>Log tasks that cannot be assigned at all</a:t>
            </a:r>
          </a:p>
        </p:txBody>
      </p:sp>
    </p:spTree>
    <p:extLst>
      <p:ext uri="{BB962C8B-B14F-4D97-AF65-F5344CB8AC3E}">
        <p14:creationId xmlns:p14="http://schemas.microsoft.com/office/powerpoint/2010/main" val="3377021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Task assignment</a:t>
            </a:r>
          </a:p>
        </p:txBody>
      </p:sp>
      <p:sp>
        <p:nvSpPr>
          <p:cNvPr id="3" name="Content Placeholder 2">
            <a:extLst>
              <a:ext uri="{FF2B5EF4-FFF2-40B4-BE49-F238E27FC236}">
                <a16:creationId xmlns:a16="http://schemas.microsoft.com/office/drawing/2014/main" id="{15D820F6-3931-D74D-B9AA-A60D3F88408A}"/>
              </a:ext>
            </a:extLst>
          </p:cNvPr>
          <p:cNvSpPr txBox="1">
            <a:spLocks/>
          </p:cNvSpPr>
          <p:nvPr/>
        </p:nvSpPr>
        <p:spPr>
          <a:xfrm>
            <a:off x="838200" y="1825625"/>
            <a:ext cx="10515600" cy="4351338"/>
          </a:xfrm>
          <a:prstGeom prst="rect">
            <a:avLst/>
          </a:prstGeom>
        </p:spPr>
        <p:txBody>
          <a:bodyPr/>
          <a:lst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Integer programming</a:t>
            </a:r>
          </a:p>
          <a:p>
            <a:r>
              <a:rPr lang="en-US" dirty="0">
                <a:solidFill>
                  <a:schemeClr val="bg1"/>
                </a:solidFill>
              </a:rPr>
              <a:t>Issues : </a:t>
            </a:r>
          </a:p>
          <a:p>
            <a:pPr lvl="1"/>
            <a:r>
              <a:rPr lang="en-US" dirty="0">
                <a:solidFill>
                  <a:schemeClr val="bg1"/>
                </a:solidFill>
              </a:rPr>
              <a:t>Constraining resource usage on overlapping ground times</a:t>
            </a:r>
          </a:p>
          <a:p>
            <a:pPr marL="0" lvl="1" indent="0">
              <a:buNone/>
            </a:pPr>
            <a:r>
              <a:rPr lang="en-US" dirty="0">
                <a:solidFill>
                  <a:schemeClr val="bg1"/>
                </a:solidFill>
              </a:rPr>
              <a:t> </a:t>
            </a:r>
          </a:p>
          <a:p>
            <a:r>
              <a:rPr lang="en-US" dirty="0">
                <a:solidFill>
                  <a:schemeClr val="bg1"/>
                </a:solidFill>
              </a:rPr>
              <a:t>May be revisited in the future…</a:t>
            </a:r>
          </a:p>
          <a:p>
            <a:pPr marL="285750" indent="-285750">
              <a:buFont typeface="Arial" panose="020B0604020202020204" pitchFamily="34" charset="0"/>
              <a:buChar char="•"/>
            </a:pPr>
            <a:r>
              <a:rPr lang="en-US" dirty="0">
                <a:solidFill>
                  <a:schemeClr val="bg1"/>
                </a:solidFill>
              </a:rPr>
              <a:t>Discretizing time</a:t>
            </a:r>
          </a:p>
          <a:p>
            <a:pPr marL="285750" indent="-285750">
              <a:buFont typeface="Arial" panose="020B0604020202020204" pitchFamily="34" charset="0"/>
              <a:buChar char="•"/>
            </a:pPr>
            <a:r>
              <a:rPr lang="en-US" dirty="0">
                <a:solidFill>
                  <a:schemeClr val="bg1"/>
                </a:solidFill>
              </a:rPr>
              <a:t>Forbid teams to work other ground times</a:t>
            </a:r>
          </a:p>
          <a:p>
            <a:pPr marL="285750" indent="-285750">
              <a:buFont typeface="Arial" panose="020B0604020202020204" pitchFamily="34" charset="0"/>
              <a:buChar char="•"/>
            </a:pPr>
            <a:r>
              <a:rPr lang="en-US" dirty="0">
                <a:solidFill>
                  <a:schemeClr val="bg1"/>
                </a:solidFill>
              </a:rPr>
              <a:t>Constraint Programming – (Interval Sequencing)</a:t>
            </a:r>
          </a:p>
          <a:p>
            <a:pPr marL="285750" indent="-285750">
              <a:buFont typeface="Arial" panose="020B0604020202020204" pitchFamily="34" charset="0"/>
              <a:buChar char="•"/>
            </a:pPr>
            <a:r>
              <a:rPr lang="en-US" dirty="0">
                <a:solidFill>
                  <a:schemeClr val="bg1"/>
                </a:solidFill>
              </a:rPr>
              <a:t>Preassigning manpower to ground times</a:t>
            </a:r>
          </a:p>
        </p:txBody>
      </p:sp>
    </p:spTree>
    <p:extLst>
      <p:ext uri="{BB962C8B-B14F-4D97-AF65-F5344CB8AC3E}">
        <p14:creationId xmlns:p14="http://schemas.microsoft.com/office/powerpoint/2010/main" val="35264277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Resource Usage</a:t>
            </a:r>
          </a:p>
        </p:txBody>
      </p:sp>
      <p:pic>
        <p:nvPicPr>
          <p:cNvPr id="4" name="Picture 3">
            <a:extLst>
              <a:ext uri="{FF2B5EF4-FFF2-40B4-BE49-F238E27FC236}">
                <a16:creationId xmlns:a16="http://schemas.microsoft.com/office/drawing/2014/main" id="{5B68F734-F73B-4C4E-B786-FC94A47CDA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683" y="1858379"/>
            <a:ext cx="6106633" cy="4391498"/>
          </a:xfrm>
          <a:prstGeom prst="rect">
            <a:avLst/>
          </a:prstGeom>
        </p:spPr>
      </p:pic>
    </p:spTree>
    <p:extLst>
      <p:ext uri="{BB962C8B-B14F-4D97-AF65-F5344CB8AC3E}">
        <p14:creationId xmlns:p14="http://schemas.microsoft.com/office/powerpoint/2010/main" val="18200262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Results</a:t>
            </a:r>
          </a:p>
        </p:txBody>
      </p:sp>
      <p:pic>
        <p:nvPicPr>
          <p:cNvPr id="3" name="Picture 2">
            <a:extLst>
              <a:ext uri="{FF2B5EF4-FFF2-40B4-BE49-F238E27FC236}">
                <a16:creationId xmlns:a16="http://schemas.microsoft.com/office/drawing/2014/main" id="{BE280542-BA3D-844F-AD06-5D4595D7D75B}"/>
              </a:ext>
            </a:extLst>
          </p:cNvPr>
          <p:cNvPicPr>
            <a:picLocks noChangeAspect="1"/>
          </p:cNvPicPr>
          <p:nvPr/>
        </p:nvPicPr>
        <p:blipFill>
          <a:blip r:embed="rId2"/>
          <a:stretch>
            <a:fillRect/>
          </a:stretch>
        </p:blipFill>
        <p:spPr>
          <a:xfrm>
            <a:off x="703318" y="2172466"/>
            <a:ext cx="4433533" cy="2513067"/>
          </a:xfrm>
          <a:prstGeom prst="rect">
            <a:avLst/>
          </a:prstGeom>
        </p:spPr>
      </p:pic>
      <p:pic>
        <p:nvPicPr>
          <p:cNvPr id="4" name="Picture 3">
            <a:extLst>
              <a:ext uri="{FF2B5EF4-FFF2-40B4-BE49-F238E27FC236}">
                <a16:creationId xmlns:a16="http://schemas.microsoft.com/office/drawing/2014/main" id="{73D0BF44-94E2-0046-AFAA-30E05AF51327}"/>
              </a:ext>
            </a:extLst>
          </p:cNvPr>
          <p:cNvPicPr>
            <a:picLocks noChangeAspect="1"/>
          </p:cNvPicPr>
          <p:nvPr/>
        </p:nvPicPr>
        <p:blipFill>
          <a:blip r:embed="rId3"/>
          <a:stretch>
            <a:fillRect/>
          </a:stretch>
        </p:blipFill>
        <p:spPr>
          <a:xfrm>
            <a:off x="5172408" y="1924049"/>
            <a:ext cx="6324600" cy="3009900"/>
          </a:xfrm>
          <a:prstGeom prst="rect">
            <a:avLst/>
          </a:prstGeom>
        </p:spPr>
      </p:pic>
      <p:sp>
        <p:nvSpPr>
          <p:cNvPr id="5" name="TextBox 4">
            <a:extLst>
              <a:ext uri="{FF2B5EF4-FFF2-40B4-BE49-F238E27FC236}">
                <a16:creationId xmlns:a16="http://schemas.microsoft.com/office/drawing/2014/main" id="{20FAFD18-C741-F64E-9591-02E4EE3C45F6}"/>
              </a:ext>
            </a:extLst>
          </p:cNvPr>
          <p:cNvSpPr txBox="1"/>
          <p:nvPr/>
        </p:nvSpPr>
        <p:spPr>
          <a:xfrm>
            <a:off x="703318" y="5008424"/>
            <a:ext cx="4469090" cy="531628"/>
          </a:xfrm>
          <a:prstGeom prst="rect">
            <a:avLst/>
          </a:prstGeom>
          <a:noFill/>
        </p:spPr>
        <p:txBody>
          <a:bodyPr wrap="square" lIns="0" tIns="0" rIns="0" bIns="0" rtlCol="0">
            <a:noAutofit/>
          </a:bodyPr>
          <a:lstStyle/>
          <a:p>
            <a:r>
              <a:rPr lang="en-US" sz="1700" dirty="0">
                <a:solidFill>
                  <a:schemeClr val="bg1"/>
                </a:solidFill>
              </a:rPr>
              <a:t>Distribution – yield remaining for repair tasks</a:t>
            </a:r>
          </a:p>
        </p:txBody>
      </p:sp>
      <p:sp>
        <p:nvSpPr>
          <p:cNvPr id="6" name="TextBox 5">
            <a:extLst>
              <a:ext uri="{FF2B5EF4-FFF2-40B4-BE49-F238E27FC236}">
                <a16:creationId xmlns:a16="http://schemas.microsoft.com/office/drawing/2014/main" id="{9E709F8A-9E85-D548-8272-221ABAD5C36D}"/>
              </a:ext>
            </a:extLst>
          </p:cNvPr>
          <p:cNvSpPr txBox="1"/>
          <p:nvPr/>
        </p:nvSpPr>
        <p:spPr>
          <a:xfrm>
            <a:off x="5172408" y="5256840"/>
            <a:ext cx="6316274" cy="531628"/>
          </a:xfrm>
          <a:prstGeom prst="rect">
            <a:avLst/>
          </a:prstGeom>
          <a:noFill/>
        </p:spPr>
        <p:txBody>
          <a:bodyPr wrap="square" lIns="0" tIns="0" rIns="0" bIns="0" rtlCol="0">
            <a:noAutofit/>
          </a:bodyPr>
          <a:lstStyle/>
          <a:p>
            <a:r>
              <a:rPr lang="en-US" sz="1700" dirty="0">
                <a:solidFill>
                  <a:schemeClr val="bg1"/>
                </a:solidFill>
              </a:rPr>
              <a:t>Distribution – yield remaining for maintenance tasks</a:t>
            </a:r>
          </a:p>
        </p:txBody>
      </p:sp>
    </p:spTree>
    <p:extLst>
      <p:ext uri="{BB962C8B-B14F-4D97-AF65-F5344CB8AC3E}">
        <p14:creationId xmlns:p14="http://schemas.microsoft.com/office/powerpoint/2010/main" val="23368620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Results</a:t>
            </a:r>
          </a:p>
        </p:txBody>
      </p:sp>
      <p:pic>
        <p:nvPicPr>
          <p:cNvPr id="3" name="Picture 2">
            <a:extLst>
              <a:ext uri="{FF2B5EF4-FFF2-40B4-BE49-F238E27FC236}">
                <a16:creationId xmlns:a16="http://schemas.microsoft.com/office/drawing/2014/main" id="{A245277A-E251-D54F-A10C-E6FDED831F4E}"/>
              </a:ext>
            </a:extLst>
          </p:cNvPr>
          <p:cNvPicPr>
            <a:picLocks noChangeAspect="1"/>
          </p:cNvPicPr>
          <p:nvPr/>
        </p:nvPicPr>
        <p:blipFill>
          <a:blip r:embed="rId2"/>
          <a:stretch>
            <a:fillRect/>
          </a:stretch>
        </p:blipFill>
        <p:spPr>
          <a:xfrm>
            <a:off x="1220076" y="1910693"/>
            <a:ext cx="4875924" cy="3335371"/>
          </a:xfrm>
          <a:prstGeom prst="rect">
            <a:avLst/>
          </a:prstGeom>
        </p:spPr>
      </p:pic>
      <p:pic>
        <p:nvPicPr>
          <p:cNvPr id="4" name="Picture 3">
            <a:extLst>
              <a:ext uri="{FF2B5EF4-FFF2-40B4-BE49-F238E27FC236}">
                <a16:creationId xmlns:a16="http://schemas.microsoft.com/office/drawing/2014/main" id="{6ED32E10-262E-1B44-AC0C-74F20D9A9E3F}"/>
              </a:ext>
            </a:extLst>
          </p:cNvPr>
          <p:cNvPicPr>
            <a:picLocks noChangeAspect="1"/>
          </p:cNvPicPr>
          <p:nvPr/>
        </p:nvPicPr>
        <p:blipFill>
          <a:blip r:embed="rId3"/>
          <a:stretch>
            <a:fillRect/>
          </a:stretch>
        </p:blipFill>
        <p:spPr>
          <a:xfrm>
            <a:off x="6096000" y="1910693"/>
            <a:ext cx="4898358" cy="3335371"/>
          </a:xfrm>
          <a:prstGeom prst="rect">
            <a:avLst/>
          </a:prstGeom>
        </p:spPr>
      </p:pic>
      <p:sp>
        <p:nvSpPr>
          <p:cNvPr id="5" name="TextBox 4">
            <a:extLst>
              <a:ext uri="{FF2B5EF4-FFF2-40B4-BE49-F238E27FC236}">
                <a16:creationId xmlns:a16="http://schemas.microsoft.com/office/drawing/2014/main" id="{50D13299-373E-704E-82FC-5D983451C0EC}"/>
              </a:ext>
            </a:extLst>
          </p:cNvPr>
          <p:cNvSpPr txBox="1"/>
          <p:nvPr/>
        </p:nvSpPr>
        <p:spPr>
          <a:xfrm>
            <a:off x="1220076" y="5563052"/>
            <a:ext cx="4469090" cy="531628"/>
          </a:xfrm>
          <a:prstGeom prst="rect">
            <a:avLst/>
          </a:prstGeom>
          <a:noFill/>
        </p:spPr>
        <p:txBody>
          <a:bodyPr wrap="square" lIns="0" tIns="0" rIns="0" bIns="0" rtlCol="0">
            <a:noAutofit/>
          </a:bodyPr>
          <a:lstStyle/>
          <a:p>
            <a:r>
              <a:rPr lang="en-US" sz="1700" dirty="0">
                <a:solidFill>
                  <a:schemeClr val="bg1"/>
                </a:solidFill>
              </a:rPr>
              <a:t>Mean yield remaining for repair tasks</a:t>
            </a:r>
          </a:p>
        </p:txBody>
      </p:sp>
      <p:sp>
        <p:nvSpPr>
          <p:cNvPr id="6" name="TextBox 5">
            <a:extLst>
              <a:ext uri="{FF2B5EF4-FFF2-40B4-BE49-F238E27FC236}">
                <a16:creationId xmlns:a16="http://schemas.microsoft.com/office/drawing/2014/main" id="{CC13044F-97CA-AE4C-9947-20A23E697EAB}"/>
              </a:ext>
            </a:extLst>
          </p:cNvPr>
          <p:cNvSpPr txBox="1"/>
          <p:nvPr/>
        </p:nvSpPr>
        <p:spPr>
          <a:xfrm>
            <a:off x="6096000" y="5563052"/>
            <a:ext cx="4469090" cy="531628"/>
          </a:xfrm>
          <a:prstGeom prst="rect">
            <a:avLst/>
          </a:prstGeom>
          <a:noFill/>
        </p:spPr>
        <p:txBody>
          <a:bodyPr wrap="square" lIns="0" tIns="0" rIns="0" bIns="0" rtlCol="0">
            <a:noAutofit/>
          </a:bodyPr>
          <a:lstStyle/>
          <a:p>
            <a:r>
              <a:rPr lang="en-US" sz="1700" dirty="0">
                <a:solidFill>
                  <a:schemeClr val="bg1"/>
                </a:solidFill>
              </a:rPr>
              <a:t>Mean yield remaining for maintenance tasks</a:t>
            </a:r>
          </a:p>
        </p:txBody>
      </p:sp>
    </p:spTree>
    <p:extLst>
      <p:ext uri="{BB962C8B-B14F-4D97-AF65-F5344CB8AC3E}">
        <p14:creationId xmlns:p14="http://schemas.microsoft.com/office/powerpoint/2010/main" val="6902731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874F761E-7717-2A4D-8B01-D4CC837840A1}"/>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4390" t="20405" r="9739" b="34128"/>
          <a:stretch/>
        </p:blipFill>
        <p:spPr>
          <a:xfrm>
            <a:off x="781842" y="709766"/>
            <a:ext cx="10628316" cy="4776634"/>
          </a:xfrm>
          <a:scene3d>
            <a:camera prst="orthographicFront">
              <a:rot lat="0" lon="0" rev="0"/>
            </a:camera>
            <a:lightRig rig="threePt" dir="t"/>
          </a:scene3d>
        </p:spPr>
      </p:pic>
      <p:sp>
        <p:nvSpPr>
          <p:cNvPr id="10" name="TextBox 9">
            <a:extLst>
              <a:ext uri="{FF2B5EF4-FFF2-40B4-BE49-F238E27FC236}">
                <a16:creationId xmlns:a16="http://schemas.microsoft.com/office/drawing/2014/main" id="{5AE96C12-04CD-3D4D-B3C6-547FAA9D0DC1}"/>
              </a:ext>
            </a:extLst>
          </p:cNvPr>
          <p:cNvSpPr txBox="1"/>
          <p:nvPr/>
        </p:nvSpPr>
        <p:spPr>
          <a:xfrm>
            <a:off x="1765005" y="2456121"/>
            <a:ext cx="1148316" cy="265814"/>
          </a:xfrm>
          <a:prstGeom prst="rect">
            <a:avLst/>
          </a:prstGeom>
          <a:noFill/>
        </p:spPr>
        <p:txBody>
          <a:bodyPr wrap="square" lIns="0" tIns="0" rIns="0" bIns="0" rtlCol="0">
            <a:noAutofit/>
          </a:bodyPr>
          <a:lstStyle/>
          <a:p>
            <a:r>
              <a:rPr lang="en-US" sz="1700" dirty="0">
                <a:solidFill>
                  <a:schemeClr val="bg1"/>
                </a:solidFill>
              </a:rPr>
              <a:t>Rahim</a:t>
            </a:r>
          </a:p>
        </p:txBody>
      </p:sp>
      <p:sp>
        <p:nvSpPr>
          <p:cNvPr id="11" name="TextBox 10">
            <a:extLst>
              <a:ext uri="{FF2B5EF4-FFF2-40B4-BE49-F238E27FC236}">
                <a16:creationId xmlns:a16="http://schemas.microsoft.com/office/drawing/2014/main" id="{62DE92DF-B8FE-314A-A80A-44B905197435}"/>
              </a:ext>
            </a:extLst>
          </p:cNvPr>
          <p:cNvSpPr txBox="1"/>
          <p:nvPr/>
        </p:nvSpPr>
        <p:spPr>
          <a:xfrm>
            <a:off x="7726326" y="2348024"/>
            <a:ext cx="1148316" cy="265814"/>
          </a:xfrm>
          <a:prstGeom prst="rect">
            <a:avLst/>
          </a:prstGeom>
          <a:noFill/>
        </p:spPr>
        <p:txBody>
          <a:bodyPr wrap="square" lIns="0" tIns="0" rIns="0" bIns="0" rtlCol="0">
            <a:noAutofit/>
          </a:bodyPr>
          <a:lstStyle/>
          <a:p>
            <a:r>
              <a:rPr lang="en-US" sz="1700" dirty="0" err="1">
                <a:solidFill>
                  <a:schemeClr val="bg1"/>
                </a:solidFill>
              </a:rPr>
              <a:t>Samah</a:t>
            </a:r>
            <a:endParaRPr lang="en-US" sz="1700" dirty="0">
              <a:solidFill>
                <a:schemeClr val="bg1"/>
              </a:solidFill>
            </a:endParaRPr>
          </a:p>
        </p:txBody>
      </p:sp>
      <p:sp>
        <p:nvSpPr>
          <p:cNvPr id="12" name="TextBox 11">
            <a:extLst>
              <a:ext uri="{FF2B5EF4-FFF2-40B4-BE49-F238E27FC236}">
                <a16:creationId xmlns:a16="http://schemas.microsoft.com/office/drawing/2014/main" id="{A47CBBBB-6947-5E4A-9B52-98B4A8909971}"/>
              </a:ext>
            </a:extLst>
          </p:cNvPr>
          <p:cNvSpPr txBox="1"/>
          <p:nvPr/>
        </p:nvSpPr>
        <p:spPr>
          <a:xfrm>
            <a:off x="5124893" y="2186763"/>
            <a:ext cx="1148316" cy="265814"/>
          </a:xfrm>
          <a:prstGeom prst="rect">
            <a:avLst/>
          </a:prstGeom>
          <a:noFill/>
        </p:spPr>
        <p:txBody>
          <a:bodyPr wrap="square" lIns="0" tIns="0" rIns="0" bIns="0" rtlCol="0">
            <a:noAutofit/>
          </a:bodyPr>
          <a:lstStyle/>
          <a:p>
            <a:r>
              <a:rPr lang="en-US" sz="1700" dirty="0">
                <a:solidFill>
                  <a:schemeClr val="bg1"/>
                </a:solidFill>
              </a:rPr>
              <a:t>Frederic</a:t>
            </a:r>
          </a:p>
        </p:txBody>
      </p:sp>
      <p:sp>
        <p:nvSpPr>
          <p:cNvPr id="13" name="TextBox 12">
            <a:extLst>
              <a:ext uri="{FF2B5EF4-FFF2-40B4-BE49-F238E27FC236}">
                <a16:creationId xmlns:a16="http://schemas.microsoft.com/office/drawing/2014/main" id="{2DD3A89E-E0E7-8F4A-A692-4436774E2637}"/>
              </a:ext>
            </a:extLst>
          </p:cNvPr>
          <p:cNvSpPr txBox="1"/>
          <p:nvPr/>
        </p:nvSpPr>
        <p:spPr>
          <a:xfrm>
            <a:off x="6273209" y="2613838"/>
            <a:ext cx="1148316" cy="265814"/>
          </a:xfrm>
          <a:prstGeom prst="rect">
            <a:avLst/>
          </a:prstGeom>
          <a:noFill/>
        </p:spPr>
        <p:txBody>
          <a:bodyPr wrap="square" lIns="0" tIns="0" rIns="0" bIns="0" rtlCol="0">
            <a:noAutofit/>
          </a:bodyPr>
          <a:lstStyle/>
          <a:p>
            <a:r>
              <a:rPr lang="en-US" sz="1700" dirty="0" err="1">
                <a:solidFill>
                  <a:schemeClr val="bg1"/>
                </a:solidFill>
              </a:rPr>
              <a:t>Hewan</a:t>
            </a:r>
            <a:endParaRPr lang="en-US" sz="1700" dirty="0">
              <a:solidFill>
                <a:schemeClr val="bg1"/>
              </a:solidFill>
            </a:endParaRPr>
          </a:p>
        </p:txBody>
      </p:sp>
      <p:sp>
        <p:nvSpPr>
          <p:cNvPr id="14" name="TextBox 13">
            <a:extLst>
              <a:ext uri="{FF2B5EF4-FFF2-40B4-BE49-F238E27FC236}">
                <a16:creationId xmlns:a16="http://schemas.microsoft.com/office/drawing/2014/main" id="{1BEB4225-3BA7-3341-8723-8AEE92AA0A1A}"/>
              </a:ext>
            </a:extLst>
          </p:cNvPr>
          <p:cNvSpPr txBox="1"/>
          <p:nvPr/>
        </p:nvSpPr>
        <p:spPr>
          <a:xfrm>
            <a:off x="4097080" y="2186763"/>
            <a:ext cx="1148316" cy="265814"/>
          </a:xfrm>
          <a:prstGeom prst="rect">
            <a:avLst/>
          </a:prstGeom>
          <a:noFill/>
        </p:spPr>
        <p:txBody>
          <a:bodyPr wrap="square" lIns="0" tIns="0" rIns="0" bIns="0" rtlCol="0">
            <a:noAutofit/>
          </a:bodyPr>
          <a:lstStyle/>
          <a:p>
            <a:r>
              <a:rPr lang="en-US" sz="1700" dirty="0" err="1">
                <a:solidFill>
                  <a:schemeClr val="bg1"/>
                </a:solidFill>
              </a:rPr>
              <a:t>Warley</a:t>
            </a:r>
            <a:endParaRPr lang="en-US" sz="1700" dirty="0">
              <a:solidFill>
                <a:schemeClr val="bg1"/>
              </a:solidFill>
            </a:endParaRPr>
          </a:p>
        </p:txBody>
      </p:sp>
      <p:sp>
        <p:nvSpPr>
          <p:cNvPr id="15" name="TextBox 14">
            <a:extLst>
              <a:ext uri="{FF2B5EF4-FFF2-40B4-BE49-F238E27FC236}">
                <a16:creationId xmlns:a16="http://schemas.microsoft.com/office/drawing/2014/main" id="{A891A20B-8352-7445-A078-3C47033B5B5C}"/>
              </a:ext>
            </a:extLst>
          </p:cNvPr>
          <p:cNvSpPr txBox="1"/>
          <p:nvPr/>
        </p:nvSpPr>
        <p:spPr>
          <a:xfrm>
            <a:off x="8970335" y="1920949"/>
            <a:ext cx="1148316" cy="265814"/>
          </a:xfrm>
          <a:prstGeom prst="rect">
            <a:avLst/>
          </a:prstGeom>
          <a:noFill/>
        </p:spPr>
        <p:txBody>
          <a:bodyPr wrap="square" lIns="0" tIns="0" rIns="0" bIns="0" rtlCol="0">
            <a:noAutofit/>
          </a:bodyPr>
          <a:lstStyle/>
          <a:p>
            <a:r>
              <a:rPr lang="en-US" sz="1700" dirty="0">
                <a:solidFill>
                  <a:schemeClr val="bg1"/>
                </a:solidFill>
              </a:rPr>
              <a:t>Keith</a:t>
            </a:r>
          </a:p>
        </p:txBody>
      </p:sp>
      <p:sp>
        <p:nvSpPr>
          <p:cNvPr id="16" name="TextBox 15">
            <a:extLst>
              <a:ext uri="{FF2B5EF4-FFF2-40B4-BE49-F238E27FC236}">
                <a16:creationId xmlns:a16="http://schemas.microsoft.com/office/drawing/2014/main" id="{E06DD9FA-1C0E-CB43-A992-156818344B90}"/>
              </a:ext>
            </a:extLst>
          </p:cNvPr>
          <p:cNvSpPr txBox="1"/>
          <p:nvPr/>
        </p:nvSpPr>
        <p:spPr>
          <a:xfrm>
            <a:off x="2888513" y="2335620"/>
            <a:ext cx="1148316" cy="265814"/>
          </a:xfrm>
          <a:prstGeom prst="rect">
            <a:avLst/>
          </a:prstGeom>
          <a:noFill/>
        </p:spPr>
        <p:txBody>
          <a:bodyPr wrap="square" lIns="0" tIns="0" rIns="0" bIns="0" rtlCol="0">
            <a:noAutofit/>
          </a:bodyPr>
          <a:lstStyle/>
          <a:p>
            <a:r>
              <a:rPr lang="en-US" sz="1700" dirty="0">
                <a:solidFill>
                  <a:schemeClr val="bg1"/>
                </a:solidFill>
              </a:rPr>
              <a:t>Prakash</a:t>
            </a:r>
          </a:p>
        </p:txBody>
      </p:sp>
    </p:spTree>
    <p:extLst>
      <p:ext uri="{BB962C8B-B14F-4D97-AF65-F5344CB8AC3E}">
        <p14:creationId xmlns:p14="http://schemas.microsoft.com/office/powerpoint/2010/main" val="42877355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Results</a:t>
            </a:r>
          </a:p>
        </p:txBody>
      </p:sp>
      <p:pic>
        <p:nvPicPr>
          <p:cNvPr id="7" name="Picture 6">
            <a:extLst>
              <a:ext uri="{FF2B5EF4-FFF2-40B4-BE49-F238E27FC236}">
                <a16:creationId xmlns:a16="http://schemas.microsoft.com/office/drawing/2014/main" id="{E2CEDFCC-4843-D04C-8DB5-BE93B68CA622}"/>
              </a:ext>
            </a:extLst>
          </p:cNvPr>
          <p:cNvPicPr>
            <a:picLocks noChangeAspect="1"/>
          </p:cNvPicPr>
          <p:nvPr/>
        </p:nvPicPr>
        <p:blipFill>
          <a:blip r:embed="rId2"/>
          <a:stretch>
            <a:fillRect/>
          </a:stretch>
        </p:blipFill>
        <p:spPr>
          <a:xfrm>
            <a:off x="2196662" y="1235034"/>
            <a:ext cx="8077567" cy="5318103"/>
          </a:xfrm>
          <a:prstGeom prst="rect">
            <a:avLst/>
          </a:prstGeom>
        </p:spPr>
      </p:pic>
    </p:spTree>
    <p:extLst>
      <p:ext uri="{BB962C8B-B14F-4D97-AF65-F5344CB8AC3E}">
        <p14:creationId xmlns:p14="http://schemas.microsoft.com/office/powerpoint/2010/main" val="29119520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Results</a:t>
            </a:r>
          </a:p>
        </p:txBody>
      </p:sp>
      <p:graphicFrame>
        <p:nvGraphicFramePr>
          <p:cNvPr id="3" name="Tabela 3">
            <a:extLst>
              <a:ext uri="{FF2B5EF4-FFF2-40B4-BE49-F238E27FC236}">
                <a16:creationId xmlns:a16="http://schemas.microsoft.com/office/drawing/2014/main" id="{B2346334-119B-47BA-90B1-A1E487EA54D8}"/>
              </a:ext>
            </a:extLst>
          </p:cNvPr>
          <p:cNvGraphicFramePr>
            <a:graphicFrameLocks noGrp="1"/>
          </p:cNvGraphicFramePr>
          <p:nvPr/>
        </p:nvGraphicFramePr>
        <p:xfrm>
          <a:off x="1657246" y="2316480"/>
          <a:ext cx="8128000" cy="22250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803056125"/>
                    </a:ext>
                  </a:extLst>
                </a:gridCol>
                <a:gridCol w="4064000">
                  <a:extLst>
                    <a:ext uri="{9D8B030D-6E8A-4147-A177-3AD203B41FA5}">
                      <a16:colId xmlns:a16="http://schemas.microsoft.com/office/drawing/2014/main" val="2418907843"/>
                    </a:ext>
                  </a:extLst>
                </a:gridCol>
              </a:tblGrid>
              <a:tr h="370840">
                <a:tc>
                  <a:txBody>
                    <a:bodyPr/>
                    <a:lstStyle/>
                    <a:p>
                      <a:pPr algn="ctr"/>
                      <a:r>
                        <a:rPr lang="pt-BR" dirty="0" err="1"/>
                        <a:t>Fleet</a:t>
                      </a:r>
                      <a:r>
                        <a:rPr lang="pt-BR" dirty="0"/>
                        <a:t> </a:t>
                      </a:r>
                      <a:r>
                        <a:rPr lang="pt-BR" dirty="0" err="1"/>
                        <a:t>type</a:t>
                      </a:r>
                      <a:endParaRPr lang="en-CA" dirty="0"/>
                    </a:p>
                  </a:txBody>
                  <a:tcPr/>
                </a:tc>
                <a:tc>
                  <a:txBody>
                    <a:bodyPr/>
                    <a:lstStyle/>
                    <a:p>
                      <a:pPr algn="ctr"/>
                      <a:r>
                        <a:rPr lang="pt-BR" dirty="0" err="1"/>
                        <a:t>Runtime</a:t>
                      </a:r>
                      <a:r>
                        <a:rPr lang="pt-BR" dirty="0"/>
                        <a:t> (minutes)</a:t>
                      </a:r>
                      <a:endParaRPr lang="en-CA" dirty="0"/>
                    </a:p>
                  </a:txBody>
                  <a:tcPr/>
                </a:tc>
                <a:extLst>
                  <a:ext uri="{0D108BD9-81ED-4DB2-BD59-A6C34878D82A}">
                    <a16:rowId xmlns:a16="http://schemas.microsoft.com/office/drawing/2014/main" val="116469040"/>
                  </a:ext>
                </a:extLst>
              </a:tr>
              <a:tr h="370840">
                <a:tc>
                  <a:txBody>
                    <a:bodyPr/>
                    <a:lstStyle/>
                    <a:p>
                      <a:pPr algn="ctr"/>
                      <a:r>
                        <a:rPr lang="pt-BR" dirty="0"/>
                        <a:t>F-231</a:t>
                      </a:r>
                      <a:endParaRPr lang="en-CA" dirty="0"/>
                    </a:p>
                  </a:txBody>
                  <a:tcPr/>
                </a:tc>
                <a:tc>
                  <a:txBody>
                    <a:bodyPr/>
                    <a:lstStyle/>
                    <a:p>
                      <a:pPr algn="ctr"/>
                      <a:r>
                        <a:rPr lang="pt-BR" dirty="0"/>
                        <a:t>11.2</a:t>
                      </a:r>
                      <a:endParaRPr lang="en-CA" dirty="0"/>
                    </a:p>
                  </a:txBody>
                  <a:tcPr/>
                </a:tc>
                <a:extLst>
                  <a:ext uri="{0D108BD9-81ED-4DB2-BD59-A6C34878D82A}">
                    <a16:rowId xmlns:a16="http://schemas.microsoft.com/office/drawing/2014/main" val="2771733067"/>
                  </a:ext>
                </a:extLst>
              </a:tr>
              <a:tr h="370840">
                <a:tc>
                  <a:txBody>
                    <a:bodyPr/>
                    <a:lstStyle/>
                    <a:p>
                      <a:pPr algn="ctr"/>
                      <a:r>
                        <a:rPr lang="pt-BR" dirty="0"/>
                        <a:t>F-286</a:t>
                      </a:r>
                      <a:endParaRPr lang="en-CA" dirty="0"/>
                    </a:p>
                  </a:txBody>
                  <a:tcPr/>
                </a:tc>
                <a:tc>
                  <a:txBody>
                    <a:bodyPr/>
                    <a:lstStyle/>
                    <a:p>
                      <a:pPr algn="ctr"/>
                      <a:r>
                        <a:rPr lang="pt-BR" dirty="0"/>
                        <a:t>15.1</a:t>
                      </a:r>
                      <a:endParaRPr lang="en-CA" dirty="0"/>
                    </a:p>
                  </a:txBody>
                  <a:tcPr/>
                </a:tc>
                <a:extLst>
                  <a:ext uri="{0D108BD9-81ED-4DB2-BD59-A6C34878D82A}">
                    <a16:rowId xmlns:a16="http://schemas.microsoft.com/office/drawing/2014/main" val="4052606446"/>
                  </a:ext>
                </a:extLst>
              </a:tr>
              <a:tr h="370840">
                <a:tc>
                  <a:txBody>
                    <a:bodyPr/>
                    <a:lstStyle/>
                    <a:p>
                      <a:pPr algn="ctr"/>
                      <a:r>
                        <a:rPr lang="pt-BR" dirty="0"/>
                        <a:t>F-295</a:t>
                      </a:r>
                      <a:endParaRPr lang="en-CA" dirty="0"/>
                    </a:p>
                  </a:txBody>
                  <a:tcPr/>
                </a:tc>
                <a:tc>
                  <a:txBody>
                    <a:bodyPr/>
                    <a:lstStyle/>
                    <a:p>
                      <a:pPr algn="ctr"/>
                      <a:r>
                        <a:rPr lang="pt-BR" dirty="0"/>
                        <a:t>17.7</a:t>
                      </a:r>
                      <a:endParaRPr lang="en-CA" dirty="0"/>
                    </a:p>
                  </a:txBody>
                  <a:tcPr/>
                </a:tc>
                <a:extLst>
                  <a:ext uri="{0D108BD9-81ED-4DB2-BD59-A6C34878D82A}">
                    <a16:rowId xmlns:a16="http://schemas.microsoft.com/office/drawing/2014/main" val="1505901650"/>
                  </a:ext>
                </a:extLst>
              </a:tr>
              <a:tr h="370840">
                <a:tc>
                  <a:txBody>
                    <a:bodyPr/>
                    <a:lstStyle/>
                    <a:p>
                      <a:pPr algn="ctr"/>
                      <a:r>
                        <a:rPr lang="pt-BR" dirty="0"/>
                        <a:t>F-630</a:t>
                      </a:r>
                      <a:endParaRPr lang="en-CA" dirty="0"/>
                    </a:p>
                  </a:txBody>
                  <a:tcPr/>
                </a:tc>
                <a:tc>
                  <a:txBody>
                    <a:bodyPr/>
                    <a:lstStyle/>
                    <a:p>
                      <a:pPr algn="ctr"/>
                      <a:r>
                        <a:rPr lang="pt-BR" dirty="0"/>
                        <a:t>25.4</a:t>
                      </a:r>
                      <a:endParaRPr lang="en-CA" dirty="0"/>
                    </a:p>
                  </a:txBody>
                  <a:tcPr/>
                </a:tc>
                <a:extLst>
                  <a:ext uri="{0D108BD9-81ED-4DB2-BD59-A6C34878D82A}">
                    <a16:rowId xmlns:a16="http://schemas.microsoft.com/office/drawing/2014/main" val="2995551306"/>
                  </a:ext>
                </a:extLst>
              </a:tr>
              <a:tr h="370840">
                <a:tc>
                  <a:txBody>
                    <a:bodyPr/>
                    <a:lstStyle/>
                    <a:p>
                      <a:pPr algn="ctr"/>
                      <a:r>
                        <a:rPr lang="pt-BR" dirty="0"/>
                        <a:t>F-855</a:t>
                      </a:r>
                      <a:endParaRPr lang="en-CA" dirty="0"/>
                    </a:p>
                  </a:txBody>
                  <a:tcPr/>
                </a:tc>
                <a:tc>
                  <a:txBody>
                    <a:bodyPr/>
                    <a:lstStyle/>
                    <a:p>
                      <a:pPr algn="ctr"/>
                      <a:r>
                        <a:rPr lang="pt-BR" dirty="0"/>
                        <a:t>8.1</a:t>
                      </a:r>
                      <a:endParaRPr lang="en-CA" dirty="0"/>
                    </a:p>
                  </a:txBody>
                  <a:tcPr/>
                </a:tc>
                <a:extLst>
                  <a:ext uri="{0D108BD9-81ED-4DB2-BD59-A6C34878D82A}">
                    <a16:rowId xmlns:a16="http://schemas.microsoft.com/office/drawing/2014/main" val="697094850"/>
                  </a:ext>
                </a:extLst>
              </a:tr>
            </a:tbl>
          </a:graphicData>
        </a:graphic>
      </p:graphicFrame>
    </p:spTree>
    <p:extLst>
      <p:ext uri="{BB962C8B-B14F-4D97-AF65-F5344CB8AC3E}">
        <p14:creationId xmlns:p14="http://schemas.microsoft.com/office/powerpoint/2010/main" val="1186949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Final remarks</a:t>
            </a:r>
          </a:p>
        </p:txBody>
      </p:sp>
      <p:sp>
        <p:nvSpPr>
          <p:cNvPr id="3" name="Content Placeholder 2">
            <a:extLst>
              <a:ext uri="{FF2B5EF4-FFF2-40B4-BE49-F238E27FC236}">
                <a16:creationId xmlns:a16="http://schemas.microsoft.com/office/drawing/2014/main" id="{B35938E9-17DD-4012-8111-6D0E8A5C447D}"/>
              </a:ext>
            </a:extLst>
          </p:cNvPr>
          <p:cNvSpPr txBox="1">
            <a:spLocks/>
          </p:cNvSpPr>
          <p:nvPr/>
        </p:nvSpPr>
        <p:spPr>
          <a:xfrm>
            <a:off x="838200" y="1825625"/>
            <a:ext cx="10515600" cy="4351338"/>
          </a:xfrm>
          <a:prstGeom prst="rect">
            <a:avLst/>
          </a:prstGeom>
        </p:spPr>
        <p:txBody>
          <a:bodyPr/>
          <a:lst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solidFill>
                  <a:schemeClr val="bg1"/>
                </a:solidFill>
              </a:rPr>
              <a:t>The generation of the shift profile based on ground times gives appropriate results</a:t>
            </a:r>
          </a:p>
          <a:p>
            <a:pPr marL="285750" indent="-285750">
              <a:buFont typeface="Arial" panose="020B0604020202020204" pitchFamily="34" charset="0"/>
              <a:buChar char="•"/>
            </a:pPr>
            <a:r>
              <a:rPr lang="en-US" dirty="0">
                <a:solidFill>
                  <a:schemeClr val="bg1"/>
                </a:solidFill>
              </a:rPr>
              <a:t>The greedy heuristic finds good feasible solutions in a reasonable amount of time</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r>
              <a:rPr lang="en-US" dirty="0">
                <a:solidFill>
                  <a:schemeClr val="bg1"/>
                </a:solidFill>
              </a:rPr>
              <a:t> </a:t>
            </a:r>
          </a:p>
          <a:p>
            <a:pPr marL="285750" indent="-285750">
              <a:buFont typeface="Arial" panose="020B0604020202020204" pitchFamily="34" charset="0"/>
              <a:buChar char="•"/>
            </a:pPr>
            <a:r>
              <a:rPr lang="en-US" dirty="0">
                <a:solidFill>
                  <a:schemeClr val="bg1"/>
                </a:solidFill>
              </a:rPr>
              <a:t>The greedy heuristic can thrive with a more detailed implementation of the algorithm</a:t>
            </a:r>
          </a:p>
          <a:p>
            <a:pPr marL="285750" indent="-285750">
              <a:buFont typeface="Arial" panose="020B0604020202020204" pitchFamily="34" charset="0"/>
              <a:buChar char="•"/>
            </a:pPr>
            <a:r>
              <a:rPr lang="en-US" dirty="0">
                <a:solidFill>
                  <a:schemeClr val="bg1"/>
                </a:solidFill>
              </a:rPr>
              <a:t>The integer programming idea can be further developed to better describe the problem</a:t>
            </a:r>
          </a:p>
          <a:p>
            <a:pPr marL="285750" indent="-285750">
              <a:buFont typeface="Arial" panose="020B0604020202020204" pitchFamily="34" charset="0"/>
              <a:buChar char="•"/>
            </a:pPr>
            <a:r>
              <a:rPr lang="en-US" dirty="0">
                <a:solidFill>
                  <a:schemeClr val="bg1"/>
                </a:solidFill>
              </a:rPr>
              <a:t>The greedy heuristic can profit from having better set parameters (e.g., task scoring)</a:t>
            </a:r>
          </a:p>
          <a:p>
            <a:pPr marL="285750" indent="-285750">
              <a:buFont typeface="Arial" panose="020B0604020202020204" pitchFamily="34" charset="0"/>
              <a:buChar char="•"/>
            </a:pPr>
            <a:r>
              <a:rPr lang="en-US" dirty="0">
                <a:solidFill>
                  <a:schemeClr val="bg1"/>
                </a:solidFill>
              </a:rPr>
              <a:t>There could also be some sensitivity analysis on the change of shift profile</a:t>
            </a:r>
          </a:p>
          <a:p>
            <a:pPr marL="285750" indent="-285750">
              <a:buFont typeface="Arial" panose="020B0604020202020204" pitchFamily="34" charset="0"/>
              <a:buChar char="•"/>
            </a:pPr>
            <a:r>
              <a:rPr lang="en-US" dirty="0">
                <a:solidFill>
                  <a:schemeClr val="bg1"/>
                </a:solidFill>
              </a:rPr>
              <a:t>There could be a local search outside of the greedy heuristic to decide the shift profile</a:t>
            </a:r>
          </a:p>
        </p:txBody>
      </p:sp>
    </p:spTree>
    <p:extLst>
      <p:ext uri="{BB962C8B-B14F-4D97-AF65-F5344CB8AC3E}">
        <p14:creationId xmlns:p14="http://schemas.microsoft.com/office/powerpoint/2010/main" val="6113941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5938E9-17DD-4012-8111-6D0E8A5C447D}"/>
              </a:ext>
            </a:extLst>
          </p:cNvPr>
          <p:cNvSpPr txBox="1">
            <a:spLocks/>
          </p:cNvSpPr>
          <p:nvPr/>
        </p:nvSpPr>
        <p:spPr>
          <a:xfrm>
            <a:off x="838200" y="1825625"/>
            <a:ext cx="10515600" cy="4351338"/>
          </a:xfrm>
          <a:prstGeom prst="rect">
            <a:avLst/>
          </a:prstGeom>
        </p:spPr>
        <p:txBody>
          <a:bodyPr/>
          <a:lst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10000" dirty="0">
              <a:solidFill>
                <a:schemeClr val="bg1"/>
              </a:solidFill>
            </a:endParaRPr>
          </a:p>
        </p:txBody>
      </p:sp>
      <p:sp>
        <p:nvSpPr>
          <p:cNvPr id="5" name="CaixaDeTexto 4">
            <a:extLst>
              <a:ext uri="{FF2B5EF4-FFF2-40B4-BE49-F238E27FC236}">
                <a16:creationId xmlns:a16="http://schemas.microsoft.com/office/drawing/2014/main" id="{E858807C-F1E0-4B41-9036-80EF677EBF56}"/>
              </a:ext>
            </a:extLst>
          </p:cNvPr>
          <p:cNvSpPr txBox="1"/>
          <p:nvPr/>
        </p:nvSpPr>
        <p:spPr>
          <a:xfrm>
            <a:off x="2717592" y="2477800"/>
            <a:ext cx="6756816" cy="3046988"/>
          </a:xfrm>
          <a:prstGeom prst="rect">
            <a:avLst/>
          </a:prstGeom>
          <a:noFill/>
        </p:spPr>
        <p:txBody>
          <a:bodyPr wrap="square">
            <a:spAutoFit/>
          </a:bodyPr>
          <a:lstStyle/>
          <a:p>
            <a:pPr algn="ctr"/>
            <a:r>
              <a:rPr lang="en-US" sz="9600" dirty="0">
                <a:solidFill>
                  <a:schemeClr val="bg1"/>
                </a:solidFill>
              </a:rPr>
              <a:t>Thank you</a:t>
            </a:r>
          </a:p>
          <a:p>
            <a:pPr algn="ctr"/>
            <a:r>
              <a:rPr lang="en-US" sz="9600" dirty="0">
                <a:solidFill>
                  <a:schemeClr val="bg1"/>
                </a:solidFill>
              </a:rPr>
              <a:t>Merci</a:t>
            </a:r>
          </a:p>
        </p:txBody>
      </p:sp>
    </p:spTree>
    <p:extLst>
      <p:ext uri="{BB962C8B-B14F-4D97-AF65-F5344CB8AC3E}">
        <p14:creationId xmlns:p14="http://schemas.microsoft.com/office/powerpoint/2010/main" val="15563476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79E4D-0CEC-E2F3-AA7C-66E82BAFB0CD}"/>
              </a:ext>
            </a:extLst>
          </p:cNvPr>
          <p:cNvSpPr>
            <a:spLocks noGrp="1"/>
          </p:cNvSpPr>
          <p:nvPr>
            <p:ph type="title"/>
          </p:nvPr>
        </p:nvSpPr>
        <p:spPr/>
        <p:txBody>
          <a:bodyPr/>
          <a:lstStyle/>
          <a:p>
            <a:r>
              <a:rPr lang="en-US" dirty="0"/>
              <a:t>Problem Statement</a:t>
            </a:r>
            <a:endParaRPr lang="en-CA" dirty="0"/>
          </a:p>
        </p:txBody>
      </p:sp>
      <p:sp>
        <p:nvSpPr>
          <p:cNvPr id="3" name="Content Placeholder 2">
            <a:extLst>
              <a:ext uri="{FF2B5EF4-FFF2-40B4-BE49-F238E27FC236}">
                <a16:creationId xmlns:a16="http://schemas.microsoft.com/office/drawing/2014/main" id="{C46E2D6A-CD8F-A61A-EE05-2F8550C83415}"/>
              </a:ext>
            </a:extLst>
          </p:cNvPr>
          <p:cNvSpPr>
            <a:spLocks noGrp="1"/>
          </p:cNvSpPr>
          <p:nvPr>
            <p:ph idx="1"/>
          </p:nvPr>
        </p:nvSpPr>
        <p:spPr/>
        <p:txBody>
          <a:bodyPr/>
          <a:lstStyle/>
          <a:p>
            <a:r>
              <a:rPr lang="en-US" sz="1600" dirty="0"/>
              <a:t>At Air Canada Maintenance we must maintain our aircraft through a defined preventative maintenance program using accumulated hours/cycles and/or calendar days on our assets since their last maintenance activity. We incidentally also have defects that occur along the way and naturally we must fix those within similar constrained thresholds of hours/ cycles or calendar days. </a:t>
            </a:r>
          </a:p>
          <a:p>
            <a:endParaRPr lang="en-US" sz="1600" dirty="0"/>
          </a:p>
          <a:p>
            <a:r>
              <a:rPr lang="en-US" sz="1600" dirty="0"/>
              <a:t>We must plan the maintenance program items down to the day of execution without losing yield, whereas we must plan to rectify the defects as soon as possible without overrunning the due dates derived from the limits on the hours/ cycles or calendar days, while accounting for a limited number of resources available to perform the work required at multiple locations. </a:t>
            </a:r>
          </a:p>
          <a:p>
            <a:endParaRPr lang="en-US" sz="1600" dirty="0"/>
          </a:p>
          <a:p>
            <a:r>
              <a:rPr lang="en-US" sz="1600" dirty="0"/>
              <a:t>The objective of this problem is to build a forecasted maintenance plan that combines competing goals: minimize the yield remaining at the due date for a given task per asset and maximize the yield remaining for a defect that has occurred along the way. Upper bounds on available resources and ground time availability at multiple stations must also be considered.</a:t>
            </a:r>
            <a:endParaRPr lang="en-CA" sz="1600" dirty="0"/>
          </a:p>
        </p:txBody>
      </p:sp>
      <p:pic>
        <p:nvPicPr>
          <p:cNvPr id="5" name="Picture 4" descr="Shape&#10;&#10;Description automatically generated with medium confidence">
            <a:extLst>
              <a:ext uri="{FF2B5EF4-FFF2-40B4-BE49-F238E27FC236}">
                <a16:creationId xmlns:a16="http://schemas.microsoft.com/office/drawing/2014/main" id="{B23F8EB9-92BC-8545-B320-5FE5E389DD61}"/>
              </a:ext>
            </a:extLst>
          </p:cNvPr>
          <p:cNvPicPr>
            <a:picLocks noChangeAspect="1"/>
          </p:cNvPicPr>
          <p:nvPr/>
        </p:nvPicPr>
        <p:blipFill>
          <a:blip r:embed="rId2"/>
          <a:stretch>
            <a:fillRect/>
          </a:stretch>
        </p:blipFill>
        <p:spPr>
          <a:xfrm>
            <a:off x="9665044" y="140041"/>
            <a:ext cx="2425825" cy="533427"/>
          </a:xfrm>
          <a:prstGeom prst="rect">
            <a:avLst/>
          </a:prstGeom>
        </p:spPr>
      </p:pic>
      <p:sp>
        <p:nvSpPr>
          <p:cNvPr id="6" name="TextBox 5">
            <a:extLst>
              <a:ext uri="{FF2B5EF4-FFF2-40B4-BE49-F238E27FC236}">
                <a16:creationId xmlns:a16="http://schemas.microsoft.com/office/drawing/2014/main" id="{8756D108-BE49-22AB-1753-A3D56FF7F9E7}"/>
              </a:ext>
            </a:extLst>
          </p:cNvPr>
          <p:cNvSpPr txBox="1"/>
          <p:nvPr/>
        </p:nvSpPr>
        <p:spPr>
          <a:xfrm>
            <a:off x="4553447" y="6439650"/>
            <a:ext cx="3085106" cy="349858"/>
          </a:xfrm>
          <a:prstGeom prst="rect">
            <a:avLst/>
          </a:prstGeom>
          <a:noFill/>
        </p:spPr>
        <p:txBody>
          <a:bodyPr wrap="square" lIns="0" tIns="0" rIns="0" bIns="0" rtlCol="0">
            <a:noAutofit/>
          </a:bodyPr>
          <a:lstStyle/>
          <a:p>
            <a:r>
              <a:rPr lang="en-US" sz="1700" dirty="0">
                <a:solidFill>
                  <a:schemeClr val="bg1"/>
                </a:solidFill>
              </a:rPr>
              <a:t>*Privileged and Confidential</a:t>
            </a:r>
            <a:endParaRPr lang="en-CA" sz="1700" dirty="0">
              <a:solidFill>
                <a:schemeClr val="bg1"/>
              </a:solidFill>
            </a:endParaRPr>
          </a:p>
        </p:txBody>
      </p:sp>
    </p:spTree>
    <p:extLst>
      <p:ext uri="{BB962C8B-B14F-4D97-AF65-F5344CB8AC3E}">
        <p14:creationId xmlns:p14="http://schemas.microsoft.com/office/powerpoint/2010/main" val="37894185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F3FFBF-A88F-4A59-867B-FC78FF8C3249}"/>
              </a:ext>
            </a:extLst>
          </p:cNvPr>
          <p:cNvSpPr txBox="1"/>
          <p:nvPr/>
        </p:nvSpPr>
        <p:spPr>
          <a:xfrm>
            <a:off x="138316" y="1769600"/>
            <a:ext cx="4608569" cy="87441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Limits set by the Original Aircraft Manufacturer (OAM), Original Equipment Manufacturer of our components (OEM) and our Engineers to ensure we maintain the structural integrity, reliability, safety and Airworthiness of our fleet.</a:t>
            </a:r>
            <a:endParaRPr kumimoji="0" lang="en-CA" sz="11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8" name="TextBox 17">
            <a:extLst>
              <a:ext uri="{FF2B5EF4-FFF2-40B4-BE49-F238E27FC236}">
                <a16:creationId xmlns:a16="http://schemas.microsoft.com/office/drawing/2014/main" id="{B5E5D13A-614D-4C6F-BB83-82F2380D5F9F}"/>
              </a:ext>
            </a:extLst>
          </p:cNvPr>
          <p:cNvSpPr txBox="1"/>
          <p:nvPr/>
        </p:nvSpPr>
        <p:spPr>
          <a:xfrm>
            <a:off x="1092882" y="2591021"/>
            <a:ext cx="2370469" cy="54676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ngineer Controls (EC’s), PN Engineering Controls (PN EC’s), PN Controls</a:t>
            </a:r>
            <a:endParaRPr kumimoji="0" lang="en-CA" sz="11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9" name="TextBox 18">
            <a:extLst>
              <a:ext uri="{FF2B5EF4-FFF2-40B4-BE49-F238E27FC236}">
                <a16:creationId xmlns:a16="http://schemas.microsoft.com/office/drawing/2014/main" id="{5AF165DD-6C8E-481E-924F-4F6B4C35ED33}"/>
              </a:ext>
            </a:extLst>
          </p:cNvPr>
          <p:cNvSpPr txBox="1"/>
          <p:nvPr/>
        </p:nvSpPr>
        <p:spPr>
          <a:xfrm>
            <a:off x="1472252" y="2332464"/>
            <a:ext cx="1578307" cy="25855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a:ea typeface="+mn-ea"/>
                <a:cs typeface="+mn-cs"/>
              </a:rPr>
              <a:t>Defined in </a:t>
            </a:r>
            <a:r>
              <a:rPr kumimoji="0" lang="en-US" sz="1100" b="1" i="0" u="none" strike="noStrike" kern="1200" cap="none" spc="0" normalizeH="0" baseline="0" noProof="0" err="1">
                <a:ln>
                  <a:noFill/>
                </a:ln>
                <a:solidFill>
                  <a:srgbClr val="000000"/>
                </a:solidFill>
                <a:effectLst/>
                <a:uLnTx/>
                <a:uFillTx/>
                <a:latin typeface="Verdana" panose="020B0604030504040204"/>
                <a:ea typeface="+mn-ea"/>
                <a:cs typeface="+mn-cs"/>
              </a:rPr>
              <a:t>Trax</a:t>
            </a:r>
            <a:r>
              <a:rPr kumimoji="0" lang="en-US" sz="1100" b="1" i="0" u="none" strike="noStrike" kern="1200" cap="none" spc="0" normalizeH="0" baseline="0" noProof="0">
                <a:ln>
                  <a:noFill/>
                </a:ln>
                <a:solidFill>
                  <a:srgbClr val="000000"/>
                </a:solidFill>
                <a:effectLst/>
                <a:uLnTx/>
                <a:uFillTx/>
                <a:latin typeface="Verdana" panose="020B0604030504040204"/>
                <a:ea typeface="+mn-ea"/>
                <a:cs typeface="+mn-cs"/>
              </a:rPr>
              <a:t> as</a:t>
            </a:r>
            <a:endParaRPr kumimoji="0" lang="en-CA" sz="1700" b="1"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1" name="TextBox 20">
            <a:extLst>
              <a:ext uri="{FF2B5EF4-FFF2-40B4-BE49-F238E27FC236}">
                <a16:creationId xmlns:a16="http://schemas.microsoft.com/office/drawing/2014/main" id="{5E3E8BDE-CE4F-45EC-868A-D8E546DECED9}"/>
              </a:ext>
            </a:extLst>
          </p:cNvPr>
          <p:cNvSpPr txBox="1"/>
          <p:nvPr/>
        </p:nvSpPr>
        <p:spPr>
          <a:xfrm>
            <a:off x="1653448" y="3030792"/>
            <a:ext cx="1578307" cy="25855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a:ea typeface="+mn-ea"/>
                <a:cs typeface="+mn-cs"/>
              </a:rPr>
              <a:t>Thresholds controlled by</a:t>
            </a:r>
            <a:endParaRPr kumimoji="0" lang="en-CA" sz="1700" b="1"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3" name="TextBox 22">
            <a:extLst>
              <a:ext uri="{FF2B5EF4-FFF2-40B4-BE49-F238E27FC236}">
                <a16:creationId xmlns:a16="http://schemas.microsoft.com/office/drawing/2014/main" id="{DAFAE7FA-750D-411B-9E44-9FE0BEC7AC73}"/>
              </a:ext>
            </a:extLst>
          </p:cNvPr>
          <p:cNvSpPr txBox="1"/>
          <p:nvPr/>
        </p:nvSpPr>
        <p:spPr>
          <a:xfrm>
            <a:off x="1359248" y="3429416"/>
            <a:ext cx="2104103" cy="54676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ours, Cycles or Calendar Days</a:t>
            </a:r>
            <a:endParaRPr kumimoji="0" lang="en-CA" sz="11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
        <p:nvSpPr>
          <p:cNvPr id="25" name="TextBox 24">
            <a:extLst>
              <a:ext uri="{FF2B5EF4-FFF2-40B4-BE49-F238E27FC236}">
                <a16:creationId xmlns:a16="http://schemas.microsoft.com/office/drawing/2014/main" id="{ECA14A4D-88CB-46C0-945F-4AB65297ED5F}"/>
              </a:ext>
            </a:extLst>
          </p:cNvPr>
          <p:cNvSpPr txBox="1"/>
          <p:nvPr/>
        </p:nvSpPr>
        <p:spPr>
          <a:xfrm>
            <a:off x="1617336" y="3707376"/>
            <a:ext cx="1578307" cy="25855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a:ea typeface="+mn-ea"/>
                <a:cs typeface="+mn-cs"/>
              </a:rPr>
              <a:t>Created By</a:t>
            </a:r>
            <a:endParaRPr kumimoji="0" lang="en-CA" sz="1700" b="1"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7" name="TextBox 26">
            <a:extLst>
              <a:ext uri="{FF2B5EF4-FFF2-40B4-BE49-F238E27FC236}">
                <a16:creationId xmlns:a16="http://schemas.microsoft.com/office/drawing/2014/main" id="{61666662-254E-4DCC-85F5-4A9C5E331B93}"/>
              </a:ext>
            </a:extLst>
          </p:cNvPr>
          <p:cNvSpPr txBox="1"/>
          <p:nvPr/>
        </p:nvSpPr>
        <p:spPr>
          <a:xfrm>
            <a:off x="1354442" y="3999647"/>
            <a:ext cx="2104103" cy="45313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CM Engineering and System Configuration</a:t>
            </a:r>
            <a:endParaRPr kumimoji="0" lang="en-CA" sz="11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0" name="Rectangle 29">
            <a:extLst>
              <a:ext uri="{FF2B5EF4-FFF2-40B4-BE49-F238E27FC236}">
                <a16:creationId xmlns:a16="http://schemas.microsoft.com/office/drawing/2014/main" id="{B1979477-5B75-4036-8E75-8FA7E7EC5A83}"/>
              </a:ext>
            </a:extLst>
          </p:cNvPr>
          <p:cNvSpPr/>
          <p:nvPr/>
        </p:nvSpPr>
        <p:spPr>
          <a:xfrm>
            <a:off x="1701442" y="803568"/>
            <a:ext cx="1119925" cy="70918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panose="020B0604030504040204"/>
                <a:ea typeface="+mn-ea"/>
                <a:cs typeface="+mn-cs"/>
              </a:rPr>
              <a:t>Maintenance Program</a:t>
            </a:r>
            <a:endParaRPr kumimoji="0" lang="en-CA" sz="1000" b="1" i="0" u="none" strike="noStrike" kern="1200" cap="none" spc="0" normalizeH="0" baseline="0" noProof="0">
              <a:ln>
                <a:noFill/>
              </a:ln>
              <a:solidFill>
                <a:srgbClr val="FFFFFF"/>
              </a:solidFill>
              <a:effectLst/>
              <a:uLnTx/>
              <a:uFillTx/>
              <a:latin typeface="Verdana" panose="020B0604030504040204"/>
              <a:ea typeface="+mn-ea"/>
              <a:cs typeface="+mn-cs"/>
            </a:endParaRPr>
          </a:p>
        </p:txBody>
      </p:sp>
      <p:sp>
        <p:nvSpPr>
          <p:cNvPr id="32" name="Rectangle 31">
            <a:extLst>
              <a:ext uri="{FF2B5EF4-FFF2-40B4-BE49-F238E27FC236}">
                <a16:creationId xmlns:a16="http://schemas.microsoft.com/office/drawing/2014/main" id="{30EF45D0-D7B3-4FE8-9245-6543CE088B59}"/>
              </a:ext>
            </a:extLst>
          </p:cNvPr>
          <p:cNvSpPr/>
          <p:nvPr/>
        </p:nvSpPr>
        <p:spPr>
          <a:xfrm>
            <a:off x="9481818" y="803568"/>
            <a:ext cx="1119925" cy="70918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panose="020B0604030504040204"/>
                <a:ea typeface="+mn-ea"/>
                <a:cs typeface="+mn-cs"/>
              </a:rPr>
              <a:t>Defects</a:t>
            </a:r>
            <a:endParaRPr kumimoji="0" lang="en-CA" sz="1000" b="1" i="0" u="none" strike="noStrike" kern="1200" cap="none" spc="0" normalizeH="0" baseline="0" noProof="0">
              <a:ln>
                <a:noFill/>
              </a:ln>
              <a:solidFill>
                <a:srgbClr val="FFFFFF"/>
              </a:solidFill>
              <a:effectLst/>
              <a:uLnTx/>
              <a:uFillTx/>
              <a:latin typeface="Verdana" panose="020B0604030504040204"/>
              <a:ea typeface="+mn-ea"/>
              <a:cs typeface="+mn-cs"/>
            </a:endParaRPr>
          </a:p>
        </p:txBody>
      </p:sp>
      <p:sp>
        <p:nvSpPr>
          <p:cNvPr id="34" name="Rectangle 33">
            <a:extLst>
              <a:ext uri="{FF2B5EF4-FFF2-40B4-BE49-F238E27FC236}">
                <a16:creationId xmlns:a16="http://schemas.microsoft.com/office/drawing/2014/main" id="{68D72B92-1928-4772-B447-8459130734EE}"/>
              </a:ext>
            </a:extLst>
          </p:cNvPr>
          <p:cNvSpPr/>
          <p:nvPr/>
        </p:nvSpPr>
        <p:spPr>
          <a:xfrm>
            <a:off x="5537768" y="3274440"/>
            <a:ext cx="1119925" cy="70918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panose="020B0604030504040204"/>
                <a:ea typeface="+mn-ea"/>
                <a:cs typeface="+mn-cs"/>
              </a:rPr>
              <a:t>Defining our Limits</a:t>
            </a:r>
            <a:endParaRPr kumimoji="0" lang="en-CA" sz="1000" b="1" i="0" u="none" strike="noStrike" kern="1200" cap="none" spc="0" normalizeH="0" baseline="0" noProof="0">
              <a:ln>
                <a:noFill/>
              </a:ln>
              <a:solidFill>
                <a:srgbClr val="FFFFFF"/>
              </a:solidFill>
              <a:effectLst/>
              <a:uLnTx/>
              <a:uFillTx/>
              <a:latin typeface="Verdana" panose="020B0604030504040204"/>
              <a:ea typeface="+mn-ea"/>
              <a:cs typeface="+mn-cs"/>
            </a:endParaRPr>
          </a:p>
        </p:txBody>
      </p:sp>
      <p:sp>
        <p:nvSpPr>
          <p:cNvPr id="36" name="TextBox 35">
            <a:extLst>
              <a:ext uri="{FF2B5EF4-FFF2-40B4-BE49-F238E27FC236}">
                <a16:creationId xmlns:a16="http://schemas.microsoft.com/office/drawing/2014/main" id="{F3349B99-AD05-44DC-BDFE-D44497A1EAC1}"/>
              </a:ext>
            </a:extLst>
          </p:cNvPr>
          <p:cNvSpPr txBox="1"/>
          <p:nvPr/>
        </p:nvSpPr>
        <p:spPr>
          <a:xfrm>
            <a:off x="7583094" y="1775728"/>
            <a:ext cx="4391761" cy="87441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espite having a well-defined preventative maintenance program, items still break along the way. We call these defects, and/or snags at Air Canad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lso known as squawks or complaints outside of AC).</a:t>
            </a:r>
            <a:endParaRPr kumimoji="0" lang="en-CA" sz="11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8" name="TextBox 37">
            <a:extLst>
              <a:ext uri="{FF2B5EF4-FFF2-40B4-BE49-F238E27FC236}">
                <a16:creationId xmlns:a16="http://schemas.microsoft.com/office/drawing/2014/main" id="{023E8B88-5C8D-468A-8CA3-B55FC7040F8F}"/>
              </a:ext>
            </a:extLst>
          </p:cNvPr>
          <p:cNvSpPr txBox="1"/>
          <p:nvPr/>
        </p:nvSpPr>
        <p:spPr>
          <a:xfrm>
            <a:off x="9299650" y="2394263"/>
            <a:ext cx="1578307" cy="25855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a:ea typeface="+mn-ea"/>
                <a:cs typeface="+mn-cs"/>
              </a:rPr>
              <a:t>Defined in </a:t>
            </a:r>
            <a:r>
              <a:rPr kumimoji="0" lang="en-US" sz="1100" b="1" i="0" u="none" strike="noStrike" kern="1200" cap="none" spc="0" normalizeH="0" baseline="0" noProof="0" err="1">
                <a:ln>
                  <a:noFill/>
                </a:ln>
                <a:solidFill>
                  <a:srgbClr val="000000"/>
                </a:solidFill>
                <a:effectLst/>
                <a:uLnTx/>
                <a:uFillTx/>
                <a:latin typeface="Verdana" panose="020B0604030504040204"/>
                <a:ea typeface="+mn-ea"/>
                <a:cs typeface="+mn-cs"/>
              </a:rPr>
              <a:t>Trax</a:t>
            </a:r>
            <a:r>
              <a:rPr kumimoji="0" lang="en-US" sz="1100" b="1" i="0" u="none" strike="noStrike" kern="1200" cap="none" spc="0" normalizeH="0" baseline="0" noProof="0">
                <a:ln>
                  <a:noFill/>
                </a:ln>
                <a:solidFill>
                  <a:srgbClr val="000000"/>
                </a:solidFill>
                <a:effectLst/>
                <a:uLnTx/>
                <a:uFillTx/>
                <a:latin typeface="Verdana" panose="020B0604030504040204"/>
                <a:ea typeface="+mn-ea"/>
                <a:cs typeface="+mn-cs"/>
              </a:rPr>
              <a:t> as</a:t>
            </a:r>
            <a:endParaRPr kumimoji="0" lang="en-CA" sz="1700" b="1"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0" name="TextBox 39">
            <a:extLst>
              <a:ext uri="{FF2B5EF4-FFF2-40B4-BE49-F238E27FC236}">
                <a16:creationId xmlns:a16="http://schemas.microsoft.com/office/drawing/2014/main" id="{2BF0FE8C-ACC6-4D09-8A7B-B0477BF06AF4}"/>
              </a:ext>
            </a:extLst>
          </p:cNvPr>
          <p:cNvSpPr txBox="1"/>
          <p:nvPr/>
        </p:nvSpPr>
        <p:spPr>
          <a:xfrm>
            <a:off x="9036750" y="2687398"/>
            <a:ext cx="2104103" cy="16449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efect Type L, M, C or E</a:t>
            </a:r>
            <a:endParaRPr kumimoji="0" lang="en-CA" sz="11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2" name="TextBox 41">
            <a:extLst>
              <a:ext uri="{FF2B5EF4-FFF2-40B4-BE49-F238E27FC236}">
                <a16:creationId xmlns:a16="http://schemas.microsoft.com/office/drawing/2014/main" id="{4E4C0CFD-855B-4A92-86BC-6290BF6B7BD6}"/>
              </a:ext>
            </a:extLst>
          </p:cNvPr>
          <p:cNvSpPr txBox="1"/>
          <p:nvPr/>
        </p:nvSpPr>
        <p:spPr>
          <a:xfrm>
            <a:off x="9299650" y="2893551"/>
            <a:ext cx="1578307" cy="25855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a:ea typeface="+mn-ea"/>
                <a:cs typeface="+mn-cs"/>
              </a:rPr>
              <a:t>Thresholds controlled by</a:t>
            </a:r>
            <a:endParaRPr kumimoji="0" lang="en-CA" sz="1700" b="1"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4" name="TextBox 43">
            <a:extLst>
              <a:ext uri="{FF2B5EF4-FFF2-40B4-BE49-F238E27FC236}">
                <a16:creationId xmlns:a16="http://schemas.microsoft.com/office/drawing/2014/main" id="{2C86F502-8F71-4537-A20E-F468A654E0F3}"/>
              </a:ext>
            </a:extLst>
          </p:cNvPr>
          <p:cNvSpPr txBox="1"/>
          <p:nvPr/>
        </p:nvSpPr>
        <p:spPr>
          <a:xfrm>
            <a:off x="8851920" y="3279815"/>
            <a:ext cx="2525984" cy="22869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ours, Cycles, Calendar Days or inherent EC</a:t>
            </a:r>
            <a:endParaRPr kumimoji="0" lang="en-CA" sz="11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6" name="TextBox 45">
            <a:extLst>
              <a:ext uri="{FF2B5EF4-FFF2-40B4-BE49-F238E27FC236}">
                <a16:creationId xmlns:a16="http://schemas.microsoft.com/office/drawing/2014/main" id="{237D12BA-86AF-48C4-A62F-14375B644FC3}"/>
              </a:ext>
            </a:extLst>
          </p:cNvPr>
          <p:cNvSpPr txBox="1"/>
          <p:nvPr/>
        </p:nvSpPr>
        <p:spPr>
          <a:xfrm>
            <a:off x="9174406" y="3494637"/>
            <a:ext cx="1828792" cy="21904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a:ea typeface="+mn-ea"/>
                <a:cs typeface="+mn-cs"/>
              </a:rPr>
              <a:t>Thresholds defined by</a:t>
            </a:r>
            <a:endParaRPr kumimoji="0" lang="en-CA" sz="1700" b="1"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8" name="TextBox 47">
            <a:extLst>
              <a:ext uri="{FF2B5EF4-FFF2-40B4-BE49-F238E27FC236}">
                <a16:creationId xmlns:a16="http://schemas.microsoft.com/office/drawing/2014/main" id="{E5FF5645-1A1F-4D7F-8C77-8A033D09CB68}"/>
              </a:ext>
            </a:extLst>
          </p:cNvPr>
          <p:cNvSpPr txBox="1"/>
          <p:nvPr/>
        </p:nvSpPr>
        <p:spPr>
          <a:xfrm>
            <a:off x="8896167" y="3702928"/>
            <a:ext cx="2444866" cy="155974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sng" strike="noStrike" kern="1200" cap="none" spc="0" normalizeH="0" baseline="0" noProof="0">
                <a:ln>
                  <a:noFill/>
                </a:ln>
                <a:solidFill>
                  <a:srgbClr val="000000"/>
                </a:solidFill>
                <a:effectLst/>
                <a:uLnTx/>
                <a:uFillTx/>
                <a:latin typeface="Calibri" panose="020F0502020204030204" pitchFamily="34" charset="0"/>
                <a:ea typeface="+mn-ea"/>
                <a:cs typeface="+mn-cs"/>
              </a:rPr>
              <a:t>Minimum Equipment List (M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efect type L &amp; MEL Category A, B, C or D</a:t>
            </a:r>
            <a:b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br>
            <a:r>
              <a:rPr kumimoji="0" lang="en-US" sz="1100" b="0" i="1" u="sng" strike="noStrike" kern="1200" cap="none" spc="0" normalizeH="0" baseline="0" noProof="0">
                <a:ln>
                  <a:noFill/>
                </a:ln>
                <a:solidFill>
                  <a:srgbClr val="000000"/>
                </a:solidFill>
                <a:effectLst/>
                <a:uLnTx/>
                <a:uFillTx/>
                <a:latin typeface="Calibri" panose="020F0502020204030204" pitchFamily="34" charset="0"/>
                <a:ea typeface="+mn-ea"/>
                <a:cs typeface="+mn-cs"/>
              </a:rPr>
              <a:t>Non-MEL</a:t>
            </a:r>
            <a:br>
              <a:rPr kumimoji="0" lang="en-US" sz="1100" b="0" i="1" u="none" strike="noStrike" kern="1200" cap="none" spc="0" normalizeH="0" baseline="0" noProof="0">
                <a:ln>
                  <a:noFill/>
                </a:ln>
                <a:solidFill>
                  <a:srgbClr val="000000"/>
                </a:solidFill>
                <a:effectLst/>
                <a:uLnTx/>
                <a:uFillTx/>
                <a:latin typeface="Calibri" panose="020F0502020204030204" pitchFamily="34" charset="0"/>
                <a:ea typeface="+mn-ea"/>
                <a:cs typeface="+mn-cs"/>
              </a:rPr>
            </a:b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efect Type C, M or E</a:t>
            </a:r>
            <a:endParaRPr kumimoji="0" lang="en-US" sz="1100" b="0" i="1"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0" name="TextBox 49">
            <a:extLst>
              <a:ext uri="{FF2B5EF4-FFF2-40B4-BE49-F238E27FC236}">
                <a16:creationId xmlns:a16="http://schemas.microsoft.com/office/drawing/2014/main" id="{DCEA1F64-0439-471C-B93A-37C1D463FF9F}"/>
              </a:ext>
            </a:extLst>
          </p:cNvPr>
          <p:cNvSpPr txBox="1"/>
          <p:nvPr/>
        </p:nvSpPr>
        <p:spPr>
          <a:xfrm>
            <a:off x="9410308" y="4424394"/>
            <a:ext cx="1578307" cy="25855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a:ea typeface="+mn-ea"/>
                <a:cs typeface="+mn-cs"/>
              </a:rPr>
              <a:t>Reported By</a:t>
            </a:r>
            <a:endParaRPr kumimoji="0" lang="en-CA" sz="1700" b="1"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2" name="TextBox 51">
            <a:extLst>
              <a:ext uri="{FF2B5EF4-FFF2-40B4-BE49-F238E27FC236}">
                <a16:creationId xmlns:a16="http://schemas.microsoft.com/office/drawing/2014/main" id="{3E56C764-9CC8-401C-9AAD-D706D8BEFC8A}"/>
              </a:ext>
            </a:extLst>
          </p:cNvPr>
          <p:cNvSpPr txBox="1"/>
          <p:nvPr/>
        </p:nvSpPr>
        <p:spPr>
          <a:xfrm>
            <a:off x="4102645" y="4131157"/>
            <a:ext cx="3986710" cy="112026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Verdana" panose="020B0604030504040204"/>
                <a:ea typeface="+mn-ea"/>
                <a:cs typeface="+mn-cs"/>
              </a:rPr>
              <a:t>Through combining our maintenance planning document with our aircraft utilization ratio and calendar days we derive the maintenance program and defect due dates for our engines, airframe events, landing gear removals, component removals, as well as our line maintenance resource requirements to maintain our fleet… all the while applying our objective functions to obtain an optimal strategy.</a:t>
            </a:r>
            <a:endParaRPr kumimoji="0" lang="en-CA" sz="1100" b="0" i="0" u="none" strike="noStrike" kern="1200" cap="none" spc="0" normalizeH="0" baseline="0" noProof="0">
              <a:ln>
                <a:noFill/>
              </a:ln>
              <a:solidFill>
                <a:srgbClr val="000000"/>
              </a:solidFill>
              <a:effectLst/>
              <a:uLnTx/>
              <a:uFillTx/>
              <a:latin typeface="Verdana" panose="020B0604030504040204"/>
              <a:ea typeface="+mn-ea"/>
              <a:cs typeface="+mn-cs"/>
            </a:endParaRPr>
          </a:p>
        </p:txBody>
      </p:sp>
      <p:cxnSp>
        <p:nvCxnSpPr>
          <p:cNvPr id="58" name="Connector: Elbow 57">
            <a:extLst>
              <a:ext uri="{FF2B5EF4-FFF2-40B4-BE49-F238E27FC236}">
                <a16:creationId xmlns:a16="http://schemas.microsoft.com/office/drawing/2014/main" id="{F38F1D91-6087-46C0-9096-040E3CC7508B}"/>
              </a:ext>
            </a:extLst>
          </p:cNvPr>
          <p:cNvCxnSpPr>
            <a:stCxn id="30" idx="3"/>
            <a:endCxn id="34" idx="0"/>
          </p:cNvCxnSpPr>
          <p:nvPr/>
        </p:nvCxnSpPr>
        <p:spPr>
          <a:xfrm>
            <a:off x="2821367" y="1158161"/>
            <a:ext cx="3276364" cy="2116279"/>
          </a:xfrm>
          <a:prstGeom prst="bentConnector2">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1E1A403E-11F6-40CF-80D1-36C911900DB8}"/>
              </a:ext>
            </a:extLst>
          </p:cNvPr>
          <p:cNvCxnSpPr>
            <a:stCxn id="32" idx="1"/>
            <a:endCxn id="34" idx="0"/>
          </p:cNvCxnSpPr>
          <p:nvPr/>
        </p:nvCxnSpPr>
        <p:spPr>
          <a:xfrm rot="10800000" flipV="1">
            <a:off x="6097732" y="1158160"/>
            <a:ext cx="3384087" cy="2116279"/>
          </a:xfrm>
          <a:prstGeom prst="bentConnector2">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4E4DBA53-F028-4D98-9BA8-8DE53C485CBE}"/>
              </a:ext>
            </a:extLst>
          </p:cNvPr>
          <p:cNvSpPr txBox="1"/>
          <p:nvPr/>
        </p:nvSpPr>
        <p:spPr>
          <a:xfrm>
            <a:off x="9050959" y="4649809"/>
            <a:ext cx="2359736" cy="16324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nyone that identifies the defect</a:t>
            </a:r>
          </a:p>
        </p:txBody>
      </p:sp>
      <p:sp>
        <p:nvSpPr>
          <p:cNvPr id="2" name="TextBox 1">
            <a:extLst>
              <a:ext uri="{FF2B5EF4-FFF2-40B4-BE49-F238E27FC236}">
                <a16:creationId xmlns:a16="http://schemas.microsoft.com/office/drawing/2014/main" id="{ADC90173-ABE6-4F6A-9794-371E4AA3F7AD}"/>
              </a:ext>
            </a:extLst>
          </p:cNvPr>
          <p:cNvSpPr txBox="1"/>
          <p:nvPr/>
        </p:nvSpPr>
        <p:spPr>
          <a:xfrm>
            <a:off x="1617335" y="4401737"/>
            <a:ext cx="1578307" cy="25855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a:ea typeface="+mn-ea"/>
                <a:cs typeface="+mn-cs"/>
              </a:rPr>
              <a:t>Taxonomy</a:t>
            </a:r>
            <a:endParaRPr kumimoji="0" lang="en-CA" sz="1700" b="1"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 name="TextBox 2">
            <a:extLst>
              <a:ext uri="{FF2B5EF4-FFF2-40B4-BE49-F238E27FC236}">
                <a16:creationId xmlns:a16="http://schemas.microsoft.com/office/drawing/2014/main" id="{06A71AC4-FB71-4D55-997D-D72D2BE2206B}"/>
              </a:ext>
            </a:extLst>
          </p:cNvPr>
          <p:cNvSpPr txBox="1"/>
          <p:nvPr/>
        </p:nvSpPr>
        <p:spPr>
          <a:xfrm>
            <a:off x="1092882" y="4620783"/>
            <a:ext cx="2444331" cy="45313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put data - </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stly Structured and relia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utput data – </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istorical is paper based with digital starting Q4 2022</a:t>
            </a:r>
            <a:endParaRPr kumimoji="0" lang="en-CA" sz="11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
        <p:nvSpPr>
          <p:cNvPr id="5" name="TextBox 4">
            <a:extLst>
              <a:ext uri="{FF2B5EF4-FFF2-40B4-BE49-F238E27FC236}">
                <a16:creationId xmlns:a16="http://schemas.microsoft.com/office/drawing/2014/main" id="{6FFBC55E-E0D8-4293-9DD7-80DA94EBED4B}"/>
              </a:ext>
            </a:extLst>
          </p:cNvPr>
          <p:cNvSpPr txBox="1"/>
          <p:nvPr/>
        </p:nvSpPr>
        <p:spPr>
          <a:xfrm>
            <a:off x="9360826" y="4918631"/>
            <a:ext cx="1578307" cy="25855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a:ea typeface="+mn-ea"/>
                <a:cs typeface="+mn-cs"/>
              </a:rPr>
              <a:t>Taxonomy</a:t>
            </a:r>
            <a:endParaRPr kumimoji="0" lang="en-CA" sz="1700" b="1"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 name="TextBox 5">
            <a:extLst>
              <a:ext uri="{FF2B5EF4-FFF2-40B4-BE49-F238E27FC236}">
                <a16:creationId xmlns:a16="http://schemas.microsoft.com/office/drawing/2014/main" id="{FE876D3C-5010-4737-841C-A2593B80B2FA}"/>
              </a:ext>
            </a:extLst>
          </p:cNvPr>
          <p:cNvSpPr txBox="1"/>
          <p:nvPr/>
        </p:nvSpPr>
        <p:spPr>
          <a:xfrm>
            <a:off x="8974835" y="5105102"/>
            <a:ext cx="2444331" cy="45313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Calibri" panose="020F0502020204030204" pitchFamily="34" charset="0"/>
                <a:ea typeface="+mn-ea"/>
                <a:cs typeface="+mn-cs"/>
              </a:rPr>
              <a:t>Input/Output is paper based but digitalized post initial report… Taxonomy is unreliable</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CD01032F-6A6A-469A-B710-2F2B25DFB37B}"/>
              </a:ext>
            </a:extLst>
          </p:cNvPr>
          <p:cNvSpPr txBox="1"/>
          <p:nvPr/>
        </p:nvSpPr>
        <p:spPr>
          <a:xfrm>
            <a:off x="4285791" y="5670385"/>
            <a:ext cx="3620417" cy="25855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dirty="0">
                <a:ln>
                  <a:noFill/>
                </a:ln>
                <a:solidFill>
                  <a:srgbClr val="000000"/>
                </a:solidFill>
                <a:effectLst/>
                <a:uLnTx/>
                <a:uFillTx/>
                <a:latin typeface="Verdana" panose="020B0604030504040204"/>
                <a:ea typeface="+mn-ea"/>
                <a:cs typeface="+mn-cs"/>
              </a:rPr>
              <a:t>Corpus for the 2022 IPSW</a:t>
            </a:r>
            <a:endParaRPr kumimoji="0" lang="en-CA" sz="1700" b="1" i="0" u="sng" strike="noStrike" kern="1200" cap="none" spc="0" normalizeH="0" baseline="0" noProof="0" dirty="0">
              <a:ln>
                <a:noFill/>
              </a:ln>
              <a:solidFill>
                <a:srgbClr val="000000"/>
              </a:solidFill>
              <a:effectLst/>
              <a:uLnTx/>
              <a:uFillTx/>
              <a:latin typeface="Verdana" panose="020B0604030504040204"/>
              <a:ea typeface="+mn-ea"/>
              <a:cs typeface="+mn-cs"/>
            </a:endParaRPr>
          </a:p>
        </p:txBody>
      </p:sp>
      <p:sp>
        <p:nvSpPr>
          <p:cNvPr id="8" name="TextBox 7">
            <a:extLst>
              <a:ext uri="{FF2B5EF4-FFF2-40B4-BE49-F238E27FC236}">
                <a16:creationId xmlns:a16="http://schemas.microsoft.com/office/drawing/2014/main" id="{A379EEAF-9D50-434A-9308-632E21B8BE5C}"/>
              </a:ext>
            </a:extLst>
          </p:cNvPr>
          <p:cNvSpPr txBox="1"/>
          <p:nvPr/>
        </p:nvSpPr>
        <p:spPr>
          <a:xfrm>
            <a:off x="2607975" y="5881526"/>
            <a:ext cx="6976048" cy="418236"/>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Will be provided if you select this problem to solve</a:t>
            </a:r>
            <a:endParaRPr kumimoji="0" lang="en-CA" sz="11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pic>
        <p:nvPicPr>
          <p:cNvPr id="10" name="Picture 9">
            <a:extLst>
              <a:ext uri="{FF2B5EF4-FFF2-40B4-BE49-F238E27FC236}">
                <a16:creationId xmlns:a16="http://schemas.microsoft.com/office/drawing/2014/main" id="{24F1A8FB-6BD5-478F-B023-C3F06A46F4E8}"/>
              </a:ext>
            </a:extLst>
          </p:cNvPr>
          <p:cNvPicPr>
            <a:picLocks noChangeAspect="1"/>
          </p:cNvPicPr>
          <p:nvPr/>
        </p:nvPicPr>
        <p:blipFill>
          <a:blip r:embed="rId3"/>
          <a:stretch>
            <a:fillRect/>
          </a:stretch>
        </p:blipFill>
        <p:spPr>
          <a:xfrm>
            <a:off x="3666113" y="-53446"/>
            <a:ext cx="4208898" cy="2251551"/>
          </a:xfrm>
          <a:prstGeom prst="rect">
            <a:avLst/>
          </a:prstGeom>
        </p:spPr>
      </p:pic>
      <p:cxnSp>
        <p:nvCxnSpPr>
          <p:cNvPr id="11" name="Straight Connector 10">
            <a:extLst>
              <a:ext uri="{FF2B5EF4-FFF2-40B4-BE49-F238E27FC236}">
                <a16:creationId xmlns:a16="http://schemas.microsoft.com/office/drawing/2014/main" id="{5920FEEC-F74C-4764-83F0-5A8632D9FFF0}"/>
              </a:ext>
            </a:extLst>
          </p:cNvPr>
          <p:cNvCxnSpPr/>
          <p:nvPr/>
        </p:nvCxnSpPr>
        <p:spPr>
          <a:xfrm>
            <a:off x="2025445" y="5627060"/>
            <a:ext cx="764949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BA9B483-4831-40C4-8F8B-D3DB657DDBC8}"/>
              </a:ext>
            </a:extLst>
          </p:cNvPr>
          <p:cNvCxnSpPr>
            <a:cxnSpLocks/>
          </p:cNvCxnSpPr>
          <p:nvPr/>
        </p:nvCxnSpPr>
        <p:spPr>
          <a:xfrm>
            <a:off x="2043789" y="6162921"/>
            <a:ext cx="764949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37" name="Picture 36" descr="Shape&#10;&#10;Description automatically generated with medium confidence">
            <a:extLst>
              <a:ext uri="{FF2B5EF4-FFF2-40B4-BE49-F238E27FC236}">
                <a16:creationId xmlns:a16="http://schemas.microsoft.com/office/drawing/2014/main" id="{35766192-3DF2-46D2-9E8B-56E9615F602F}"/>
              </a:ext>
            </a:extLst>
          </p:cNvPr>
          <p:cNvPicPr>
            <a:picLocks noChangeAspect="1"/>
          </p:cNvPicPr>
          <p:nvPr/>
        </p:nvPicPr>
        <p:blipFill>
          <a:blip r:embed="rId4"/>
          <a:stretch>
            <a:fillRect/>
          </a:stretch>
        </p:blipFill>
        <p:spPr>
          <a:xfrm>
            <a:off x="9665044" y="140041"/>
            <a:ext cx="2425825" cy="533427"/>
          </a:xfrm>
          <a:prstGeom prst="rect">
            <a:avLst/>
          </a:prstGeom>
        </p:spPr>
      </p:pic>
      <p:sp>
        <p:nvSpPr>
          <p:cNvPr id="9" name="TextBox 8">
            <a:extLst>
              <a:ext uri="{FF2B5EF4-FFF2-40B4-BE49-F238E27FC236}">
                <a16:creationId xmlns:a16="http://schemas.microsoft.com/office/drawing/2014/main" id="{4ACE7628-1CAE-8966-AA3F-623052E93990}"/>
              </a:ext>
            </a:extLst>
          </p:cNvPr>
          <p:cNvSpPr txBox="1"/>
          <p:nvPr/>
        </p:nvSpPr>
        <p:spPr>
          <a:xfrm>
            <a:off x="4553447" y="6439650"/>
            <a:ext cx="3085106" cy="349858"/>
          </a:xfrm>
          <a:prstGeom prst="rect">
            <a:avLst/>
          </a:prstGeom>
          <a:noFill/>
        </p:spPr>
        <p:txBody>
          <a:bodyPr wrap="square" lIns="0" tIns="0" rIns="0" bIns="0" rtlCol="0">
            <a:noAutofit/>
          </a:bodyPr>
          <a:lstStyle/>
          <a:p>
            <a:r>
              <a:rPr lang="en-US" sz="1700" dirty="0">
                <a:solidFill>
                  <a:schemeClr val="bg1"/>
                </a:solidFill>
              </a:rPr>
              <a:t>*Privileged and Confidential</a:t>
            </a:r>
            <a:endParaRPr lang="en-CA" sz="1700" dirty="0">
              <a:solidFill>
                <a:schemeClr val="bg1"/>
              </a:solidFill>
            </a:endParaRPr>
          </a:p>
        </p:txBody>
      </p:sp>
    </p:spTree>
    <p:extLst>
      <p:ext uri="{BB962C8B-B14F-4D97-AF65-F5344CB8AC3E}">
        <p14:creationId xmlns:p14="http://schemas.microsoft.com/office/powerpoint/2010/main" val="2904920000"/>
      </p:ext>
    </p:extLst>
  </p:cSld>
  <p:clrMapOvr>
    <a:masterClrMapping/>
  </p:clrMapOvr>
  <mc:AlternateContent xmlns:mc="http://schemas.openxmlformats.org/markup-compatibility/2006" xmlns:p14="http://schemas.microsoft.com/office/powerpoint/2010/main">
    <mc:Choice Requires="p14">
      <p:transition spd="slow" p14:dur="2000" advTm="80421"/>
    </mc:Choice>
    <mc:Fallback xmlns="">
      <p:transition spd="slow" advTm="80421"/>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89490-7D92-4D9B-B5D5-9D2F1EBAF3F4}"/>
              </a:ext>
            </a:extLst>
          </p:cNvPr>
          <p:cNvSpPr>
            <a:spLocks noGrp="1"/>
          </p:cNvSpPr>
          <p:nvPr>
            <p:ph type="title"/>
          </p:nvPr>
        </p:nvSpPr>
        <p:spPr>
          <a:xfrm>
            <a:off x="940200" y="576000"/>
            <a:ext cx="10464000" cy="714320"/>
          </a:xfrm>
        </p:spPr>
        <p:txBody>
          <a:bodyPr/>
          <a:lstStyle/>
          <a:p>
            <a:r>
              <a:rPr lang="en-CA">
                <a:cs typeface="Arial"/>
              </a:rPr>
              <a:t>MAINTENANCE PLANNING</a:t>
            </a:r>
            <a:br>
              <a:rPr lang="en-CA">
                <a:cs typeface="Arial"/>
              </a:rPr>
            </a:br>
            <a:endParaRPr lang="en-CA"/>
          </a:p>
        </p:txBody>
      </p:sp>
      <p:sp>
        <p:nvSpPr>
          <p:cNvPr id="24" name="Rectangle: Rounded Corners 23">
            <a:extLst>
              <a:ext uri="{FF2B5EF4-FFF2-40B4-BE49-F238E27FC236}">
                <a16:creationId xmlns:a16="http://schemas.microsoft.com/office/drawing/2014/main" id="{21BA89CC-2904-A5F2-3025-377BFA7969EA}"/>
              </a:ext>
            </a:extLst>
          </p:cNvPr>
          <p:cNvSpPr/>
          <p:nvPr/>
        </p:nvSpPr>
        <p:spPr>
          <a:xfrm>
            <a:off x="726558" y="3851215"/>
            <a:ext cx="6260382" cy="825361"/>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ine Maintenance Planner</a:t>
            </a:r>
          </a:p>
        </p:txBody>
      </p:sp>
      <p:sp>
        <p:nvSpPr>
          <p:cNvPr id="29" name="Rectangle: Rounded Corners 28">
            <a:extLst>
              <a:ext uri="{FF2B5EF4-FFF2-40B4-BE49-F238E27FC236}">
                <a16:creationId xmlns:a16="http://schemas.microsoft.com/office/drawing/2014/main" id="{5B9DC06E-B5B8-F33C-6D11-BA1E9BBA46E6}"/>
              </a:ext>
            </a:extLst>
          </p:cNvPr>
          <p:cNvSpPr/>
          <p:nvPr/>
        </p:nvSpPr>
        <p:spPr>
          <a:xfrm>
            <a:off x="618012" y="1557269"/>
            <a:ext cx="10786188" cy="1951771"/>
          </a:xfrm>
          <a:prstGeom prst="round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CA"/>
          </a:p>
        </p:txBody>
      </p:sp>
      <p:sp>
        <p:nvSpPr>
          <p:cNvPr id="35" name="TextBox 34">
            <a:extLst>
              <a:ext uri="{FF2B5EF4-FFF2-40B4-BE49-F238E27FC236}">
                <a16:creationId xmlns:a16="http://schemas.microsoft.com/office/drawing/2014/main" id="{F5CDFF13-1836-0B83-01C7-199678FFDEDB}"/>
              </a:ext>
            </a:extLst>
          </p:cNvPr>
          <p:cNvSpPr txBox="1"/>
          <p:nvPr/>
        </p:nvSpPr>
        <p:spPr>
          <a:xfrm>
            <a:off x="726558" y="2954278"/>
            <a:ext cx="914400" cy="914400"/>
          </a:xfrm>
          <a:prstGeom prst="rect">
            <a:avLst/>
          </a:prstGeom>
          <a:noFill/>
        </p:spPr>
        <p:txBody>
          <a:bodyPr wrap="none" lIns="0" tIns="0" rIns="0" bIns="0" rtlCol="0">
            <a:noAutofit/>
          </a:bodyPr>
          <a:lstStyle/>
          <a:p>
            <a:endParaRPr lang="en-CA" sz="1400"/>
          </a:p>
        </p:txBody>
      </p:sp>
      <p:sp>
        <p:nvSpPr>
          <p:cNvPr id="52" name="Rectangle: Rounded Corners 51">
            <a:extLst>
              <a:ext uri="{FF2B5EF4-FFF2-40B4-BE49-F238E27FC236}">
                <a16:creationId xmlns:a16="http://schemas.microsoft.com/office/drawing/2014/main" id="{24364135-4DC6-211F-9140-96B6A9DEE2FE}"/>
              </a:ext>
            </a:extLst>
          </p:cNvPr>
          <p:cNvSpPr/>
          <p:nvPr/>
        </p:nvSpPr>
        <p:spPr>
          <a:xfrm>
            <a:off x="757335" y="5174494"/>
            <a:ext cx="6750370" cy="914400"/>
          </a:xfrm>
          <a:prstGeom prst="round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CA"/>
          </a:p>
        </p:txBody>
      </p:sp>
      <p:sp>
        <p:nvSpPr>
          <p:cNvPr id="57" name="TextBox 56">
            <a:extLst>
              <a:ext uri="{FF2B5EF4-FFF2-40B4-BE49-F238E27FC236}">
                <a16:creationId xmlns:a16="http://schemas.microsoft.com/office/drawing/2014/main" id="{447D38BB-4210-5318-0F60-7AE16278C2D8}"/>
              </a:ext>
            </a:extLst>
          </p:cNvPr>
          <p:cNvSpPr txBox="1"/>
          <p:nvPr/>
        </p:nvSpPr>
        <p:spPr>
          <a:xfrm>
            <a:off x="866786" y="5321869"/>
            <a:ext cx="6544650" cy="659394"/>
          </a:xfrm>
          <a:prstGeom prst="rect">
            <a:avLst/>
          </a:prstGeom>
          <a:noFill/>
        </p:spPr>
        <p:txBody>
          <a:bodyPr wrap="none" lIns="0" tIns="0" rIns="0" bIns="0" rtlCol="0" anchor="t">
            <a:noAutofit/>
          </a:bodyPr>
          <a:lstStyle/>
          <a:p>
            <a:pPr marL="285750" indent="-285750">
              <a:buFontTx/>
              <a:buChar char="-"/>
            </a:pPr>
            <a:r>
              <a:rPr lang="en-CA" sz="1000" b="1" dirty="0"/>
              <a:t>Scheduled Maintenance Events </a:t>
            </a:r>
            <a:r>
              <a:rPr lang="en-CA" sz="1000" dirty="0"/>
              <a:t>for 30 days, and give feasible solution for 31 days to 2 years</a:t>
            </a:r>
          </a:p>
          <a:p>
            <a:pPr marL="285750" indent="-285750">
              <a:buFontTx/>
              <a:buChar char="-"/>
            </a:pPr>
            <a:r>
              <a:rPr lang="en-CA" sz="1000" b="1" dirty="0"/>
              <a:t>When </a:t>
            </a:r>
            <a:r>
              <a:rPr lang="en-CA" sz="1000" dirty="0"/>
              <a:t>(</a:t>
            </a:r>
            <a:r>
              <a:rPr lang="en-CA" sz="1000" dirty="0">
                <a:solidFill>
                  <a:schemeClr val="accent5"/>
                </a:solidFill>
              </a:rPr>
              <a:t>24h 7w 365d</a:t>
            </a:r>
            <a:r>
              <a:rPr lang="en-CA" sz="1000" dirty="0"/>
              <a:t>) and</a:t>
            </a:r>
            <a:r>
              <a:rPr lang="en-CA" sz="1000" b="1" dirty="0"/>
              <a:t> </a:t>
            </a:r>
          </a:p>
          <a:p>
            <a:pPr marL="285750" indent="-285750">
              <a:buFontTx/>
              <a:buChar char="-"/>
            </a:pPr>
            <a:r>
              <a:rPr lang="en-CA" sz="1000" b="1" dirty="0"/>
              <a:t>where </a:t>
            </a:r>
            <a:r>
              <a:rPr lang="en-CA" sz="1000" dirty="0"/>
              <a:t>(what location) to fix everything (based on ground time availability at location) </a:t>
            </a:r>
            <a:br>
              <a:rPr lang="en-CA" sz="1000" dirty="0"/>
            </a:br>
            <a:r>
              <a:rPr lang="en-CA" sz="1000" dirty="0"/>
              <a:t>Identify where work can be performed considering constraints, and lost opportunities</a:t>
            </a:r>
          </a:p>
        </p:txBody>
      </p:sp>
      <p:sp>
        <p:nvSpPr>
          <p:cNvPr id="58" name="Arrow: Right 57">
            <a:extLst>
              <a:ext uri="{FF2B5EF4-FFF2-40B4-BE49-F238E27FC236}">
                <a16:creationId xmlns:a16="http://schemas.microsoft.com/office/drawing/2014/main" id="{D5CDA0DD-3658-E63B-417E-838B293C1147}"/>
              </a:ext>
            </a:extLst>
          </p:cNvPr>
          <p:cNvSpPr/>
          <p:nvPr/>
        </p:nvSpPr>
        <p:spPr>
          <a:xfrm rot="5400000">
            <a:off x="3664468" y="3426980"/>
            <a:ext cx="220465"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9" name="Arrow: Right 58">
            <a:extLst>
              <a:ext uri="{FF2B5EF4-FFF2-40B4-BE49-F238E27FC236}">
                <a16:creationId xmlns:a16="http://schemas.microsoft.com/office/drawing/2014/main" id="{E9438129-5CBD-1697-AFB8-87E3A571556A}"/>
              </a:ext>
            </a:extLst>
          </p:cNvPr>
          <p:cNvSpPr/>
          <p:nvPr/>
        </p:nvSpPr>
        <p:spPr>
          <a:xfrm rot="5400000">
            <a:off x="3664467" y="4748175"/>
            <a:ext cx="220465"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7" name="Rectangle: Rounded Corners 76">
            <a:extLst>
              <a:ext uri="{FF2B5EF4-FFF2-40B4-BE49-F238E27FC236}">
                <a16:creationId xmlns:a16="http://schemas.microsoft.com/office/drawing/2014/main" id="{A83E1943-C549-E76C-376C-6B3E933787BE}"/>
              </a:ext>
            </a:extLst>
          </p:cNvPr>
          <p:cNvSpPr/>
          <p:nvPr/>
        </p:nvSpPr>
        <p:spPr>
          <a:xfrm>
            <a:off x="1088575" y="1167307"/>
            <a:ext cx="852198" cy="384915"/>
          </a:xfrm>
          <a:prstGeom prst="roundRect">
            <a:avLst/>
          </a:prstGeom>
          <a:solidFill>
            <a:srgbClr val="FCD668"/>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CA"/>
          </a:p>
        </p:txBody>
      </p:sp>
      <p:sp>
        <p:nvSpPr>
          <p:cNvPr id="79" name="Rectangle: Rounded Corners 78">
            <a:extLst>
              <a:ext uri="{FF2B5EF4-FFF2-40B4-BE49-F238E27FC236}">
                <a16:creationId xmlns:a16="http://schemas.microsoft.com/office/drawing/2014/main" id="{4C7CCAA5-EB32-954B-5859-05929BB4DC89}"/>
              </a:ext>
            </a:extLst>
          </p:cNvPr>
          <p:cNvSpPr/>
          <p:nvPr/>
        </p:nvSpPr>
        <p:spPr>
          <a:xfrm>
            <a:off x="1091683" y="4793896"/>
            <a:ext cx="852198" cy="384915"/>
          </a:xfrm>
          <a:prstGeom prst="roundRect">
            <a:avLst/>
          </a:prstGeom>
          <a:solidFill>
            <a:srgbClr val="FCD668"/>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CA"/>
          </a:p>
        </p:txBody>
      </p:sp>
      <p:sp>
        <p:nvSpPr>
          <p:cNvPr id="30" name="TextBox 29">
            <a:extLst>
              <a:ext uri="{FF2B5EF4-FFF2-40B4-BE49-F238E27FC236}">
                <a16:creationId xmlns:a16="http://schemas.microsoft.com/office/drawing/2014/main" id="{B7B18A39-5045-CC52-DEE0-2AA64AEC04EC}"/>
              </a:ext>
            </a:extLst>
          </p:cNvPr>
          <p:cNvSpPr txBox="1"/>
          <p:nvPr/>
        </p:nvSpPr>
        <p:spPr>
          <a:xfrm>
            <a:off x="1215741" y="1206434"/>
            <a:ext cx="914400" cy="914400"/>
          </a:xfrm>
          <a:prstGeom prst="rect">
            <a:avLst/>
          </a:prstGeom>
          <a:noFill/>
        </p:spPr>
        <p:txBody>
          <a:bodyPr wrap="none" lIns="0" tIns="0" rIns="0" bIns="0" rtlCol="0">
            <a:noAutofit/>
          </a:bodyPr>
          <a:lstStyle/>
          <a:p>
            <a:r>
              <a:rPr lang="en-CA" sz="1400" dirty="0"/>
              <a:t>Input</a:t>
            </a:r>
          </a:p>
        </p:txBody>
      </p:sp>
      <p:sp>
        <p:nvSpPr>
          <p:cNvPr id="78" name="TextBox 77">
            <a:extLst>
              <a:ext uri="{FF2B5EF4-FFF2-40B4-BE49-F238E27FC236}">
                <a16:creationId xmlns:a16="http://schemas.microsoft.com/office/drawing/2014/main" id="{9B806960-FB6A-184A-7A3F-F4A8285F4017}"/>
              </a:ext>
            </a:extLst>
          </p:cNvPr>
          <p:cNvSpPr txBox="1"/>
          <p:nvPr/>
        </p:nvSpPr>
        <p:spPr>
          <a:xfrm>
            <a:off x="1144566" y="4842295"/>
            <a:ext cx="914400" cy="258429"/>
          </a:xfrm>
          <a:prstGeom prst="rect">
            <a:avLst/>
          </a:prstGeom>
          <a:noFill/>
        </p:spPr>
        <p:txBody>
          <a:bodyPr wrap="none" lIns="0" tIns="0" rIns="0" bIns="0" rtlCol="0">
            <a:noAutofit/>
          </a:bodyPr>
          <a:lstStyle/>
          <a:p>
            <a:r>
              <a:rPr lang="en-CA" sz="1400" dirty="0"/>
              <a:t>Output</a:t>
            </a:r>
          </a:p>
        </p:txBody>
      </p:sp>
      <p:sp>
        <p:nvSpPr>
          <p:cNvPr id="16" name="TextBox 15">
            <a:extLst>
              <a:ext uri="{FF2B5EF4-FFF2-40B4-BE49-F238E27FC236}">
                <a16:creationId xmlns:a16="http://schemas.microsoft.com/office/drawing/2014/main" id="{A7771597-1958-070B-1D45-9A83DB801B45}"/>
              </a:ext>
            </a:extLst>
          </p:cNvPr>
          <p:cNvSpPr txBox="1"/>
          <p:nvPr/>
        </p:nvSpPr>
        <p:spPr>
          <a:xfrm>
            <a:off x="866786" y="1869140"/>
            <a:ext cx="9690348" cy="1394627"/>
          </a:xfrm>
          <a:prstGeom prst="rect">
            <a:avLst/>
          </a:prstGeom>
          <a:noFill/>
        </p:spPr>
        <p:txBody>
          <a:bodyPr wrap="none" lIns="0" tIns="0" rIns="0" bIns="0" rtlCol="0" anchor="t">
            <a:noAutofit/>
          </a:bodyPr>
          <a:lstStyle/>
          <a:p>
            <a:pPr marL="285750" indent="-285750">
              <a:buFontTx/>
              <a:buChar char="-"/>
            </a:pPr>
            <a:r>
              <a:rPr lang="en-CA" sz="1400" b="1" dirty="0"/>
              <a:t>Due dates for both maintenance program and defects</a:t>
            </a:r>
            <a:endParaRPr lang="en-CA" sz="1400" b="1" dirty="0">
              <a:ea typeface="Verdana"/>
            </a:endParaRPr>
          </a:p>
          <a:p>
            <a:pPr marL="285750" indent="-285750">
              <a:buFontTx/>
              <a:buChar char="-"/>
            </a:pPr>
            <a:r>
              <a:rPr lang="en-CA" sz="1400" b="1" dirty="0"/>
              <a:t>Ground time per aircraft, opposite the block time (Commercial Schedule )</a:t>
            </a:r>
            <a:endParaRPr lang="en-CA" sz="1400" b="1" dirty="0">
              <a:ea typeface="Verdana"/>
            </a:endParaRPr>
          </a:p>
          <a:p>
            <a:pPr marL="285750" indent="-285750">
              <a:buFontTx/>
              <a:buChar char="-"/>
            </a:pPr>
            <a:r>
              <a:rPr lang="en-CA" sz="1400" b="1" dirty="0"/>
              <a:t>Available man hours and available defects man hours</a:t>
            </a:r>
            <a:endParaRPr lang="en-CA" sz="1400" b="1" dirty="0">
              <a:ea typeface="Verdana"/>
            </a:endParaRPr>
          </a:p>
          <a:p>
            <a:pPr marL="285750" indent="-285750">
              <a:buFontTx/>
              <a:buChar char="-"/>
            </a:pPr>
            <a:r>
              <a:rPr lang="en-CA" sz="1400" b="1" dirty="0"/>
              <a:t>Location:</a:t>
            </a:r>
            <a:r>
              <a:rPr lang="en-CA" sz="1400" dirty="0"/>
              <a:t> man-hours available by location by skill</a:t>
            </a:r>
            <a:endParaRPr lang="en-CA" sz="1400" dirty="0">
              <a:ea typeface="Verdana"/>
            </a:endParaRPr>
          </a:p>
          <a:p>
            <a:pPr marL="285750" indent="-285750">
              <a:buFontTx/>
              <a:buChar char="-"/>
            </a:pPr>
            <a:r>
              <a:rPr lang="en-CA" sz="1400" b="1" dirty="0"/>
              <a:t>Cost of yield loss per task </a:t>
            </a:r>
            <a:r>
              <a:rPr lang="en-CA" sz="1400" dirty="0"/>
              <a:t>(to be derived)</a:t>
            </a:r>
            <a:endParaRPr lang="en-CA" sz="1400" dirty="0">
              <a:ea typeface="Verdana"/>
            </a:endParaRPr>
          </a:p>
          <a:p>
            <a:pPr marL="285750" indent="-285750">
              <a:buFontTx/>
              <a:buChar char="-"/>
            </a:pPr>
            <a:r>
              <a:rPr lang="en-CA" sz="1400" b="1" dirty="0"/>
              <a:t>Aircraft type to home base assignment </a:t>
            </a:r>
            <a:r>
              <a:rPr lang="en-CA" sz="1400" dirty="0"/>
              <a:t>(to be derived) </a:t>
            </a:r>
            <a:endParaRPr lang="en-CA" sz="1400" dirty="0">
              <a:ea typeface="Verdana"/>
            </a:endParaRPr>
          </a:p>
          <a:p>
            <a:pPr marL="285750" indent="-285750">
              <a:buFontTx/>
              <a:buChar char="-"/>
            </a:pPr>
            <a:endParaRPr lang="en-CA" sz="1400" dirty="0"/>
          </a:p>
          <a:p>
            <a:endParaRPr lang="en-CA" sz="1400" dirty="0"/>
          </a:p>
        </p:txBody>
      </p:sp>
      <p:pic>
        <p:nvPicPr>
          <p:cNvPr id="4" name="Picture 3">
            <a:extLst>
              <a:ext uri="{FF2B5EF4-FFF2-40B4-BE49-F238E27FC236}">
                <a16:creationId xmlns:a16="http://schemas.microsoft.com/office/drawing/2014/main" id="{EDEA208C-0238-B8CB-9025-9EB7D97EDF75}"/>
              </a:ext>
            </a:extLst>
          </p:cNvPr>
          <p:cNvPicPr>
            <a:picLocks noChangeAspect="1"/>
          </p:cNvPicPr>
          <p:nvPr/>
        </p:nvPicPr>
        <p:blipFill>
          <a:blip r:embed="rId3"/>
          <a:stretch>
            <a:fillRect/>
          </a:stretch>
        </p:blipFill>
        <p:spPr>
          <a:xfrm>
            <a:off x="7668089" y="3965285"/>
            <a:ext cx="4387315" cy="2139851"/>
          </a:xfrm>
          <a:prstGeom prst="rect">
            <a:avLst/>
          </a:prstGeom>
          <a:ln>
            <a:solidFill>
              <a:schemeClr val="tx1"/>
            </a:solidFill>
          </a:ln>
        </p:spPr>
      </p:pic>
      <p:sp>
        <p:nvSpPr>
          <p:cNvPr id="5" name="TextBox 4">
            <a:extLst>
              <a:ext uri="{FF2B5EF4-FFF2-40B4-BE49-F238E27FC236}">
                <a16:creationId xmlns:a16="http://schemas.microsoft.com/office/drawing/2014/main" id="{1FFD8B76-7679-3B0B-30E2-B682E52627B2}"/>
              </a:ext>
            </a:extLst>
          </p:cNvPr>
          <p:cNvSpPr txBox="1"/>
          <p:nvPr/>
        </p:nvSpPr>
        <p:spPr>
          <a:xfrm>
            <a:off x="9133380" y="3720011"/>
            <a:ext cx="2012675" cy="245273"/>
          </a:xfrm>
          <a:prstGeom prst="rect">
            <a:avLst/>
          </a:prstGeom>
          <a:noFill/>
        </p:spPr>
        <p:txBody>
          <a:bodyPr wrap="square" lIns="0" tIns="0" rIns="0" bIns="0" rtlCol="0">
            <a:noAutofit/>
          </a:bodyPr>
          <a:lstStyle/>
          <a:p>
            <a:r>
              <a:rPr lang="en-CA" sz="1100" dirty="0"/>
              <a:t>Short term view</a:t>
            </a:r>
          </a:p>
        </p:txBody>
      </p:sp>
      <p:pic>
        <p:nvPicPr>
          <p:cNvPr id="6" name="Picture 5" descr="Shape&#10;&#10;Description automatically generated with medium confidence">
            <a:extLst>
              <a:ext uri="{FF2B5EF4-FFF2-40B4-BE49-F238E27FC236}">
                <a16:creationId xmlns:a16="http://schemas.microsoft.com/office/drawing/2014/main" id="{E4B8C1BA-30F8-18B3-8AAC-6ECDACD1765E}"/>
              </a:ext>
            </a:extLst>
          </p:cNvPr>
          <p:cNvPicPr>
            <a:picLocks noChangeAspect="1"/>
          </p:cNvPicPr>
          <p:nvPr/>
        </p:nvPicPr>
        <p:blipFill>
          <a:blip r:embed="rId4"/>
          <a:stretch>
            <a:fillRect/>
          </a:stretch>
        </p:blipFill>
        <p:spPr>
          <a:xfrm>
            <a:off x="9665044" y="140041"/>
            <a:ext cx="2425825" cy="533427"/>
          </a:xfrm>
          <a:prstGeom prst="rect">
            <a:avLst/>
          </a:prstGeom>
        </p:spPr>
      </p:pic>
      <p:sp>
        <p:nvSpPr>
          <p:cNvPr id="8" name="TextBox 7">
            <a:extLst>
              <a:ext uri="{FF2B5EF4-FFF2-40B4-BE49-F238E27FC236}">
                <a16:creationId xmlns:a16="http://schemas.microsoft.com/office/drawing/2014/main" id="{F636BAA5-A512-7961-B37D-0C60AA186D03}"/>
              </a:ext>
            </a:extLst>
          </p:cNvPr>
          <p:cNvSpPr txBox="1"/>
          <p:nvPr/>
        </p:nvSpPr>
        <p:spPr>
          <a:xfrm>
            <a:off x="4553447" y="6439650"/>
            <a:ext cx="3085106" cy="349858"/>
          </a:xfrm>
          <a:prstGeom prst="rect">
            <a:avLst/>
          </a:prstGeom>
          <a:noFill/>
        </p:spPr>
        <p:txBody>
          <a:bodyPr wrap="square" lIns="0" tIns="0" rIns="0" bIns="0" rtlCol="0">
            <a:noAutofit/>
          </a:bodyPr>
          <a:lstStyle/>
          <a:p>
            <a:r>
              <a:rPr lang="en-US" sz="1700" dirty="0">
                <a:solidFill>
                  <a:schemeClr val="bg1"/>
                </a:solidFill>
              </a:rPr>
              <a:t>*Privileged and Confidential</a:t>
            </a:r>
            <a:endParaRPr lang="en-CA" sz="1700" dirty="0">
              <a:solidFill>
                <a:schemeClr val="bg1"/>
              </a:solidFill>
            </a:endParaRPr>
          </a:p>
        </p:txBody>
      </p:sp>
    </p:spTree>
    <p:extLst>
      <p:ext uri="{BB962C8B-B14F-4D97-AF65-F5344CB8AC3E}">
        <p14:creationId xmlns:p14="http://schemas.microsoft.com/office/powerpoint/2010/main" val="932169600"/>
      </p:ext>
    </p:extLst>
  </p:cSld>
  <p:clrMapOvr>
    <a:masterClrMapping/>
  </p:clrMapOvr>
  <mc:AlternateContent xmlns:mc="http://schemas.openxmlformats.org/markup-compatibility/2006" xmlns:p14="http://schemas.microsoft.com/office/powerpoint/2010/main">
    <mc:Choice Requires="p14">
      <p:transition spd="slow" p14:dur="2000" advTm="134883"/>
    </mc:Choice>
    <mc:Fallback xmlns="">
      <p:transition spd="slow" advTm="134883"/>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344FA1-5634-4722-B6A4-E0C4BA536E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2" name="think-cell Slide" r:id="rId5" imgW="351" imgH="351" progId="TCLayout.ActiveDocument.1">
                  <p:embed/>
                </p:oleObj>
              </mc:Choice>
              <mc:Fallback>
                <p:oleObj name="think-cell Slide" r:id="rId5" imgW="351" imgH="351" progId="TCLayout.ActiveDocument.1">
                  <p:embed/>
                  <p:pic>
                    <p:nvPicPr>
                      <p:cNvPr id="6" name="Object 5" hidden="1">
                        <a:extLst>
                          <a:ext uri="{FF2B5EF4-FFF2-40B4-BE49-F238E27FC236}">
                            <a16:creationId xmlns:a16="http://schemas.microsoft.com/office/drawing/2014/main" id="{CC344FA1-5634-4722-B6A4-E0C4BA536E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3">
            <a:extLst>
              <a:ext uri="{FF2B5EF4-FFF2-40B4-BE49-F238E27FC236}">
                <a16:creationId xmlns:a16="http://schemas.microsoft.com/office/drawing/2014/main" id="{35DF833D-669D-4AEA-BBCD-86198840CD0D}"/>
              </a:ext>
            </a:extLst>
          </p:cNvPr>
          <p:cNvSpPr txBox="1">
            <a:spLocks/>
          </p:cNvSpPr>
          <p:nvPr/>
        </p:nvSpPr>
        <p:spPr>
          <a:xfrm>
            <a:off x="864000" y="576000"/>
            <a:ext cx="10464000" cy="714320"/>
          </a:xfrm>
          <a:prstGeom prst="rect">
            <a:avLst/>
          </a:prstGeom>
        </p:spPr>
        <p:txBody>
          <a:bodyPr vert="horz" lIns="0" tIns="0" rIns="0" bIns="0" rtlCol="0" anchor="t">
            <a:noAutofit/>
          </a:bodyPr>
          <a:lstStyle>
            <a:lvl1pPr algn="l" defTabSz="914400" rtl="0" eaLnBrk="1" latinLnBrk="0" hangingPunct="1">
              <a:lnSpc>
                <a:spcPts val="2800"/>
              </a:lnSpc>
              <a:spcBef>
                <a:spcPct val="0"/>
              </a:spcBef>
              <a:buNone/>
              <a:defRPr sz="2400" b="1" kern="1200">
                <a:solidFill>
                  <a:schemeClr val="tx1"/>
                </a:solidFill>
                <a:latin typeface="+mn-lt"/>
                <a:ea typeface="+mj-ea"/>
                <a:cs typeface="+mj-cs"/>
              </a:defRPr>
            </a:lvl1pPr>
          </a:lstStyle>
          <a:p>
            <a:pPr>
              <a:defRPr/>
            </a:pPr>
            <a:r>
              <a:rPr kumimoji="0" lang="en-US" sz="2400" b="1" i="0" u="none" strike="noStrike" kern="1200" cap="none" spc="0" normalizeH="0" baseline="0" noProof="0" dirty="0">
                <a:ln>
                  <a:noFill/>
                </a:ln>
                <a:solidFill>
                  <a:srgbClr val="000000"/>
                </a:solidFill>
                <a:effectLst/>
                <a:uLnTx/>
                <a:uFillTx/>
                <a:latin typeface="Verdana" panose="020B0604030504040204"/>
                <a:ea typeface="+mj-ea"/>
                <a:cs typeface="+mj-cs"/>
              </a:rPr>
              <a:t>Closer look at the LT horizon view</a:t>
            </a:r>
            <a:r>
              <a:rPr lang="en-US" dirty="0">
                <a:solidFill>
                  <a:srgbClr val="000000"/>
                </a:solidFill>
                <a:latin typeface="Verdana" panose="020B0604030504040204"/>
              </a:rPr>
              <a:t> for the bigger picture we have to solve </a:t>
            </a:r>
            <a:endParaRPr kumimoji="0" lang="en-US" sz="2400" b="1" i="0" u="none" strike="noStrike" kern="1200" cap="none" spc="0" normalizeH="0" baseline="0" noProof="0" dirty="0">
              <a:ln>
                <a:noFill/>
              </a:ln>
              <a:solidFill>
                <a:srgbClr val="000000"/>
              </a:solidFill>
              <a:effectLst/>
              <a:uLnTx/>
              <a:uFillTx/>
              <a:latin typeface="Verdana" panose="020B0604030504040204"/>
              <a:ea typeface="+mj-ea"/>
              <a:cs typeface="+mj-cs"/>
            </a:endParaRPr>
          </a:p>
          <a:p>
            <a:pPr marL="0" marR="0" lvl="0" indent="0" algn="l" defTabSz="914400" rtl="0" eaLnBrk="1" fontAlgn="auto" latinLnBrk="0" hangingPunct="1">
              <a:lnSpc>
                <a:spcPts val="2800"/>
              </a:lnSpc>
              <a:spcBef>
                <a:spcPct val="0"/>
              </a:spcBef>
              <a:spcAft>
                <a:spcPts val="0"/>
              </a:spcAft>
              <a:buClrTx/>
              <a:buSzTx/>
              <a:buFontTx/>
              <a:buNone/>
              <a:tabLst/>
              <a:defRPr/>
            </a:pPr>
            <a:endParaRPr kumimoji="0" lang="en-CA" sz="2400" b="1" i="1" u="none" strike="noStrike" kern="1200" cap="none" spc="0" normalizeH="0" baseline="0" noProof="0" dirty="0">
              <a:ln>
                <a:noFill/>
              </a:ln>
              <a:solidFill>
                <a:srgbClr val="000000"/>
              </a:solidFill>
              <a:effectLst/>
              <a:uLnTx/>
              <a:uFillTx/>
              <a:latin typeface="Verdana" panose="020B0604030504040204"/>
              <a:ea typeface="+mj-ea"/>
              <a:cs typeface="+mj-cs"/>
            </a:endParaRPr>
          </a:p>
        </p:txBody>
      </p:sp>
      <p:cxnSp>
        <p:nvCxnSpPr>
          <p:cNvPr id="3" name="Straight Arrow Connector 2">
            <a:extLst>
              <a:ext uri="{FF2B5EF4-FFF2-40B4-BE49-F238E27FC236}">
                <a16:creationId xmlns:a16="http://schemas.microsoft.com/office/drawing/2014/main" id="{76F02516-09AA-8B81-EE51-A468E8D9B363}"/>
              </a:ext>
            </a:extLst>
          </p:cNvPr>
          <p:cNvCxnSpPr>
            <a:cxnSpLocks/>
          </p:cNvCxnSpPr>
          <p:nvPr/>
        </p:nvCxnSpPr>
        <p:spPr>
          <a:xfrm>
            <a:off x="1852159" y="3795828"/>
            <a:ext cx="9915929"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32373BF-F073-7C4C-982A-3E909D71C9EA}"/>
              </a:ext>
            </a:extLst>
          </p:cNvPr>
          <p:cNvCxnSpPr>
            <a:cxnSpLocks/>
          </p:cNvCxnSpPr>
          <p:nvPr/>
        </p:nvCxnSpPr>
        <p:spPr>
          <a:xfrm>
            <a:off x="2286610" y="3488740"/>
            <a:ext cx="0" cy="602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Graphic 10" descr="Arrow circle with solid fill">
            <a:extLst>
              <a:ext uri="{FF2B5EF4-FFF2-40B4-BE49-F238E27FC236}">
                <a16:creationId xmlns:a16="http://schemas.microsoft.com/office/drawing/2014/main" id="{A9037475-7AFD-B629-8CDC-2AD6BC6268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58010" y="3038577"/>
            <a:ext cx="457199" cy="457199"/>
          </a:xfrm>
          <a:prstGeom prst="rect">
            <a:avLst/>
          </a:prstGeom>
        </p:spPr>
      </p:pic>
      <p:cxnSp>
        <p:nvCxnSpPr>
          <p:cNvPr id="13" name="Straight Connector 12">
            <a:extLst>
              <a:ext uri="{FF2B5EF4-FFF2-40B4-BE49-F238E27FC236}">
                <a16:creationId xmlns:a16="http://schemas.microsoft.com/office/drawing/2014/main" id="{303F5F47-A13D-CACD-0820-0FE54182BB0A}"/>
              </a:ext>
            </a:extLst>
          </p:cNvPr>
          <p:cNvCxnSpPr>
            <a:cxnSpLocks/>
          </p:cNvCxnSpPr>
          <p:nvPr/>
        </p:nvCxnSpPr>
        <p:spPr>
          <a:xfrm>
            <a:off x="4425021" y="3504445"/>
            <a:ext cx="0" cy="602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CAE8E7D-7604-287D-9563-E8FA09EB0451}"/>
              </a:ext>
            </a:extLst>
          </p:cNvPr>
          <p:cNvSpPr txBox="1"/>
          <p:nvPr/>
        </p:nvSpPr>
        <p:spPr>
          <a:xfrm>
            <a:off x="4033640" y="4142027"/>
            <a:ext cx="172528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2A2A2A"/>
                </a:solidFill>
                <a:effectLst/>
                <a:uLnTx/>
                <a:uFillTx/>
                <a:latin typeface="Arial"/>
                <a:ea typeface="+mn-ea"/>
                <a:cs typeface="+mn-cs"/>
              </a:rPr>
              <a:t>A Check interval</a:t>
            </a:r>
          </a:p>
        </p:txBody>
      </p:sp>
      <p:pic>
        <p:nvPicPr>
          <p:cNvPr id="17" name="Graphic 16" descr="Arrow circle with solid fill">
            <a:extLst>
              <a:ext uri="{FF2B5EF4-FFF2-40B4-BE49-F238E27FC236}">
                <a16:creationId xmlns:a16="http://schemas.microsoft.com/office/drawing/2014/main" id="{F50C1403-00F3-644E-5DBA-D44FF99DE03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96421" y="3038577"/>
            <a:ext cx="457199" cy="457199"/>
          </a:xfrm>
          <a:prstGeom prst="rect">
            <a:avLst/>
          </a:prstGeom>
        </p:spPr>
      </p:pic>
      <p:cxnSp>
        <p:nvCxnSpPr>
          <p:cNvPr id="19" name="Straight Connector 18">
            <a:extLst>
              <a:ext uri="{FF2B5EF4-FFF2-40B4-BE49-F238E27FC236}">
                <a16:creationId xmlns:a16="http://schemas.microsoft.com/office/drawing/2014/main" id="{6A9505E6-505F-97ED-9D58-371025CB51BB}"/>
              </a:ext>
            </a:extLst>
          </p:cNvPr>
          <p:cNvCxnSpPr>
            <a:cxnSpLocks/>
          </p:cNvCxnSpPr>
          <p:nvPr/>
        </p:nvCxnSpPr>
        <p:spPr>
          <a:xfrm>
            <a:off x="6628522" y="3504445"/>
            <a:ext cx="0" cy="602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C027B8-2036-C48F-AC61-76479C293D63}"/>
              </a:ext>
            </a:extLst>
          </p:cNvPr>
          <p:cNvSpPr txBox="1"/>
          <p:nvPr/>
        </p:nvSpPr>
        <p:spPr>
          <a:xfrm>
            <a:off x="6287700" y="4157732"/>
            <a:ext cx="15766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2A2A2A"/>
                </a:solidFill>
                <a:effectLst/>
                <a:uLnTx/>
                <a:uFillTx/>
                <a:latin typeface="Arial"/>
                <a:ea typeface="+mn-ea"/>
                <a:cs typeface="+mn-cs"/>
              </a:rPr>
              <a:t>A Check interval</a:t>
            </a:r>
          </a:p>
        </p:txBody>
      </p:sp>
      <p:pic>
        <p:nvPicPr>
          <p:cNvPr id="23" name="Graphic 22" descr="Arrow circle with solid fill">
            <a:extLst>
              <a:ext uri="{FF2B5EF4-FFF2-40B4-BE49-F238E27FC236}">
                <a16:creationId xmlns:a16="http://schemas.microsoft.com/office/drawing/2014/main" id="{02608F46-A747-A156-090A-73BA1A3977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78864" y="3038577"/>
            <a:ext cx="457199" cy="457199"/>
          </a:xfrm>
          <a:prstGeom prst="rect">
            <a:avLst/>
          </a:prstGeom>
        </p:spPr>
      </p:pic>
      <p:sp>
        <p:nvSpPr>
          <p:cNvPr id="26" name="TextBox 25">
            <a:extLst>
              <a:ext uri="{FF2B5EF4-FFF2-40B4-BE49-F238E27FC236}">
                <a16:creationId xmlns:a16="http://schemas.microsoft.com/office/drawing/2014/main" id="{F0C1B033-0242-A289-E710-42350EA5F500}"/>
              </a:ext>
            </a:extLst>
          </p:cNvPr>
          <p:cNvSpPr txBox="1"/>
          <p:nvPr/>
        </p:nvSpPr>
        <p:spPr>
          <a:xfrm>
            <a:off x="289961" y="2946953"/>
            <a:ext cx="1680882"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A2A2A"/>
                </a:solidFill>
                <a:effectLst/>
                <a:uLnTx/>
                <a:uFillTx/>
                <a:latin typeface="Arial"/>
                <a:ea typeface="+mn-ea"/>
                <a:cs typeface="+mn-cs"/>
              </a:rPr>
              <a:t>Line </a:t>
            </a:r>
            <a:r>
              <a:rPr kumimoji="0" lang="en-US" sz="1200" b="1" i="0" u="none" strike="noStrike" kern="1200" cap="none" spc="0" normalizeH="0" baseline="0" noProof="0" dirty="0" err="1">
                <a:ln>
                  <a:noFill/>
                </a:ln>
                <a:solidFill>
                  <a:srgbClr val="2A2A2A"/>
                </a:solidFill>
                <a:effectLst/>
                <a:uLnTx/>
                <a:uFillTx/>
                <a:latin typeface="Arial"/>
                <a:ea typeface="+mn-ea"/>
                <a:cs typeface="+mn-cs"/>
              </a:rPr>
              <a:t>Mtce</a:t>
            </a:r>
            <a:endParaRPr kumimoji="0" lang="en-US" sz="1200" b="1" i="0" u="none" strike="noStrike" kern="1200" cap="none" spc="0" normalizeH="0" baseline="0" noProof="0" dirty="0">
              <a:ln>
                <a:noFill/>
              </a:ln>
              <a:solidFill>
                <a:srgbClr val="2A2A2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2A2A2A"/>
                </a:solidFill>
                <a:effectLst/>
                <a:uLnTx/>
                <a:uFillTx/>
                <a:latin typeface="Arial"/>
                <a:ea typeface="+mn-ea"/>
                <a:cs typeface="+mn-cs"/>
              </a:rPr>
              <a:t>View every 90 days over a 2-year interval</a:t>
            </a:r>
          </a:p>
        </p:txBody>
      </p:sp>
      <p:sp>
        <p:nvSpPr>
          <p:cNvPr id="48" name="TextBox 47">
            <a:extLst>
              <a:ext uri="{FF2B5EF4-FFF2-40B4-BE49-F238E27FC236}">
                <a16:creationId xmlns:a16="http://schemas.microsoft.com/office/drawing/2014/main" id="{2F79DC55-4990-4667-6CCD-A0C86087CD54}"/>
              </a:ext>
            </a:extLst>
          </p:cNvPr>
          <p:cNvSpPr txBox="1"/>
          <p:nvPr/>
        </p:nvSpPr>
        <p:spPr>
          <a:xfrm>
            <a:off x="1187246" y="2647811"/>
            <a:ext cx="211143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sng" strike="noStrike" kern="1200" cap="none" spc="0" normalizeH="0" baseline="0" noProof="0" dirty="0">
                <a:ln>
                  <a:noFill/>
                </a:ln>
                <a:solidFill>
                  <a:srgbClr val="C00000"/>
                </a:solidFill>
                <a:effectLst/>
                <a:uLnTx/>
                <a:uFillTx/>
                <a:latin typeface="Arial"/>
                <a:ea typeface="+mn-ea"/>
                <a:cs typeface="+mn-cs"/>
              </a:rPr>
              <a:t>Day 1</a:t>
            </a:r>
          </a:p>
        </p:txBody>
      </p:sp>
      <p:sp>
        <p:nvSpPr>
          <p:cNvPr id="50" name="TextBox 49">
            <a:extLst>
              <a:ext uri="{FF2B5EF4-FFF2-40B4-BE49-F238E27FC236}">
                <a16:creationId xmlns:a16="http://schemas.microsoft.com/office/drawing/2014/main" id="{EA005F93-E848-5C8B-085E-03D713AF1B51}"/>
              </a:ext>
            </a:extLst>
          </p:cNvPr>
          <p:cNvSpPr txBox="1"/>
          <p:nvPr/>
        </p:nvSpPr>
        <p:spPr>
          <a:xfrm>
            <a:off x="3294575" y="2647811"/>
            <a:ext cx="24643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sng" strike="noStrike" kern="1200" cap="none" spc="0" normalizeH="0" baseline="0" noProof="0" dirty="0">
                <a:ln>
                  <a:noFill/>
                </a:ln>
                <a:solidFill>
                  <a:srgbClr val="C8C8C8">
                    <a:lumMod val="75000"/>
                  </a:srgbClr>
                </a:solidFill>
                <a:effectLst/>
                <a:uLnTx/>
                <a:uFillTx/>
                <a:latin typeface="Arial"/>
                <a:ea typeface="+mn-ea"/>
                <a:cs typeface="+mn-cs"/>
              </a:rPr>
              <a:t>Day 90</a:t>
            </a:r>
          </a:p>
        </p:txBody>
      </p:sp>
      <p:cxnSp>
        <p:nvCxnSpPr>
          <p:cNvPr id="52" name="Straight Arrow Connector 51">
            <a:extLst>
              <a:ext uri="{FF2B5EF4-FFF2-40B4-BE49-F238E27FC236}">
                <a16:creationId xmlns:a16="http://schemas.microsoft.com/office/drawing/2014/main" id="{417464E9-348D-17D4-3A4A-CE582509E960}"/>
              </a:ext>
            </a:extLst>
          </p:cNvPr>
          <p:cNvCxnSpPr>
            <a:cxnSpLocks/>
          </p:cNvCxnSpPr>
          <p:nvPr/>
        </p:nvCxnSpPr>
        <p:spPr>
          <a:xfrm>
            <a:off x="2662012" y="3435064"/>
            <a:ext cx="1054277" cy="3553"/>
          </a:xfrm>
          <a:prstGeom prst="straightConnector1">
            <a:avLst/>
          </a:prstGeom>
          <a:ln>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2DCF1B3-5532-A9EF-BF04-74D1497B2F5D}"/>
              </a:ext>
            </a:extLst>
          </p:cNvPr>
          <p:cNvSpPr txBox="1"/>
          <p:nvPr/>
        </p:nvSpPr>
        <p:spPr>
          <a:xfrm>
            <a:off x="2723334" y="3175876"/>
            <a:ext cx="182736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7030A0"/>
                </a:solidFill>
                <a:effectLst/>
                <a:uLnTx/>
                <a:uFillTx/>
                <a:latin typeface="Arial"/>
                <a:ea typeface="+mn-ea"/>
                <a:cs typeface="+mn-cs"/>
              </a:rPr>
              <a:t>optimization</a:t>
            </a:r>
            <a:endParaRPr kumimoji="0" lang="en-CA" sz="1100" b="0" i="1" u="none" strike="noStrike" kern="1200" cap="none" spc="0" normalizeH="0" baseline="0" noProof="0" dirty="0">
              <a:ln>
                <a:noFill/>
              </a:ln>
              <a:solidFill>
                <a:srgbClr val="7030A0"/>
              </a:solidFill>
              <a:effectLst/>
              <a:uLnTx/>
              <a:uFillTx/>
              <a:latin typeface="Arial"/>
              <a:ea typeface="+mn-ea"/>
              <a:cs typeface="+mn-cs"/>
            </a:endParaRPr>
          </a:p>
        </p:txBody>
      </p:sp>
      <p:sp>
        <p:nvSpPr>
          <p:cNvPr id="4" name="TextBox 3">
            <a:extLst>
              <a:ext uri="{FF2B5EF4-FFF2-40B4-BE49-F238E27FC236}">
                <a16:creationId xmlns:a16="http://schemas.microsoft.com/office/drawing/2014/main" id="{58B1C4C6-1E98-A8B8-0F44-2516A12BC1FE}"/>
              </a:ext>
            </a:extLst>
          </p:cNvPr>
          <p:cNvSpPr txBox="1"/>
          <p:nvPr/>
        </p:nvSpPr>
        <p:spPr>
          <a:xfrm>
            <a:off x="5483165" y="2647811"/>
            <a:ext cx="24643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sng" strike="noStrike" kern="1200" cap="none" spc="0" normalizeH="0" baseline="0" noProof="0" dirty="0">
                <a:ln>
                  <a:noFill/>
                </a:ln>
                <a:solidFill>
                  <a:srgbClr val="C8C8C8">
                    <a:lumMod val="75000"/>
                  </a:srgbClr>
                </a:solidFill>
                <a:effectLst/>
                <a:uLnTx/>
                <a:uFillTx/>
                <a:latin typeface="Arial"/>
                <a:ea typeface="+mn-ea"/>
                <a:cs typeface="+mn-cs"/>
              </a:rPr>
              <a:t>+90 day</a:t>
            </a:r>
          </a:p>
        </p:txBody>
      </p:sp>
      <p:cxnSp>
        <p:nvCxnSpPr>
          <p:cNvPr id="9" name="Straight Connector 8">
            <a:extLst>
              <a:ext uri="{FF2B5EF4-FFF2-40B4-BE49-F238E27FC236}">
                <a16:creationId xmlns:a16="http://schemas.microsoft.com/office/drawing/2014/main" id="{894666FF-EF89-2102-1937-0F42ED361CCC}"/>
              </a:ext>
            </a:extLst>
          </p:cNvPr>
          <p:cNvCxnSpPr>
            <a:cxnSpLocks/>
          </p:cNvCxnSpPr>
          <p:nvPr/>
        </p:nvCxnSpPr>
        <p:spPr>
          <a:xfrm>
            <a:off x="10837063" y="3453831"/>
            <a:ext cx="0" cy="602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9DBB8DF-B9BE-F9F1-E126-95C87A6D58D7}"/>
              </a:ext>
            </a:extLst>
          </p:cNvPr>
          <p:cNvCxnSpPr>
            <a:cxnSpLocks/>
          </p:cNvCxnSpPr>
          <p:nvPr/>
        </p:nvCxnSpPr>
        <p:spPr>
          <a:xfrm>
            <a:off x="8617593" y="3485752"/>
            <a:ext cx="0" cy="602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62E85FE-D941-22FE-3CA8-177A1A0FF013}"/>
              </a:ext>
            </a:extLst>
          </p:cNvPr>
          <p:cNvSpPr txBox="1"/>
          <p:nvPr/>
        </p:nvSpPr>
        <p:spPr>
          <a:xfrm>
            <a:off x="8080363" y="4139661"/>
            <a:ext cx="127184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2A2A2A"/>
                </a:solidFill>
                <a:effectLst/>
                <a:uLnTx/>
                <a:uFillTx/>
                <a:latin typeface="Arial"/>
                <a:ea typeface="+mn-ea"/>
                <a:cs typeface="+mn-cs"/>
              </a:rPr>
              <a:t>A check interval</a:t>
            </a:r>
          </a:p>
        </p:txBody>
      </p:sp>
      <p:sp>
        <p:nvSpPr>
          <p:cNvPr id="33" name="TextBox 32">
            <a:extLst>
              <a:ext uri="{FF2B5EF4-FFF2-40B4-BE49-F238E27FC236}">
                <a16:creationId xmlns:a16="http://schemas.microsoft.com/office/drawing/2014/main" id="{B64F67C1-903C-62E0-3B0B-D583020FC52A}"/>
              </a:ext>
            </a:extLst>
          </p:cNvPr>
          <p:cNvSpPr txBox="1"/>
          <p:nvPr/>
        </p:nvSpPr>
        <p:spPr>
          <a:xfrm>
            <a:off x="7605409" y="2647811"/>
            <a:ext cx="24643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sng" strike="noStrike" kern="1200" cap="none" spc="0" normalizeH="0" baseline="0" noProof="0" dirty="0">
                <a:ln>
                  <a:noFill/>
                </a:ln>
                <a:solidFill>
                  <a:srgbClr val="C8C8C8">
                    <a:lumMod val="75000"/>
                  </a:srgbClr>
                </a:solidFill>
                <a:effectLst/>
                <a:uLnTx/>
                <a:uFillTx/>
                <a:latin typeface="Arial"/>
                <a:ea typeface="+mn-ea"/>
                <a:cs typeface="+mn-cs"/>
              </a:rPr>
              <a:t>+90 day</a:t>
            </a:r>
          </a:p>
        </p:txBody>
      </p:sp>
      <p:pic>
        <p:nvPicPr>
          <p:cNvPr id="37" name="Graphic 36" descr="Arrow circle with solid fill">
            <a:extLst>
              <a:ext uri="{FF2B5EF4-FFF2-40B4-BE49-F238E27FC236}">
                <a16:creationId xmlns:a16="http://schemas.microsoft.com/office/drawing/2014/main" id="{464BB87F-31ED-6013-0DCA-D55429150EF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88993" y="3038577"/>
            <a:ext cx="457199" cy="457199"/>
          </a:xfrm>
          <a:prstGeom prst="rect">
            <a:avLst/>
          </a:prstGeom>
        </p:spPr>
      </p:pic>
      <p:sp>
        <p:nvSpPr>
          <p:cNvPr id="41" name="TextBox 40">
            <a:extLst>
              <a:ext uri="{FF2B5EF4-FFF2-40B4-BE49-F238E27FC236}">
                <a16:creationId xmlns:a16="http://schemas.microsoft.com/office/drawing/2014/main" id="{B80E9A1E-59EF-C8DF-7361-4728A8881D82}"/>
              </a:ext>
            </a:extLst>
          </p:cNvPr>
          <p:cNvSpPr txBox="1"/>
          <p:nvPr/>
        </p:nvSpPr>
        <p:spPr>
          <a:xfrm>
            <a:off x="9727653" y="2647811"/>
            <a:ext cx="24643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sng" strike="noStrike" kern="1200" cap="none" spc="0" normalizeH="0" baseline="0" noProof="0" dirty="0">
                <a:ln>
                  <a:noFill/>
                </a:ln>
                <a:solidFill>
                  <a:srgbClr val="C00000"/>
                </a:solidFill>
                <a:effectLst/>
                <a:uLnTx/>
                <a:uFillTx/>
                <a:latin typeface="Arial"/>
                <a:ea typeface="+mn-ea"/>
                <a:cs typeface="+mn-cs"/>
              </a:rPr>
              <a:t>2 </a:t>
            </a:r>
            <a:r>
              <a:rPr kumimoji="0" lang="en-CA" sz="1400" b="1" i="0" u="sng" strike="noStrike" kern="1200" cap="none" spc="0" normalizeH="0" baseline="0" noProof="0" dirty="0" err="1">
                <a:ln>
                  <a:noFill/>
                </a:ln>
                <a:solidFill>
                  <a:srgbClr val="C00000"/>
                </a:solidFill>
                <a:effectLst/>
                <a:uLnTx/>
                <a:uFillTx/>
                <a:latin typeface="Arial"/>
                <a:ea typeface="+mn-ea"/>
                <a:cs typeface="+mn-cs"/>
              </a:rPr>
              <a:t>yrs</a:t>
            </a:r>
            <a:endParaRPr kumimoji="0" lang="en-CA" sz="1400" b="1" i="0" u="sng" strike="noStrike" kern="1200" cap="none" spc="0" normalizeH="0" baseline="0" noProof="0" dirty="0">
              <a:ln>
                <a:noFill/>
              </a:ln>
              <a:solidFill>
                <a:srgbClr val="C00000"/>
              </a:solidFill>
              <a:effectLst/>
              <a:uLnTx/>
              <a:uFillTx/>
              <a:latin typeface="Arial"/>
              <a:ea typeface="+mn-ea"/>
              <a:cs typeface="+mn-cs"/>
            </a:endParaRPr>
          </a:p>
        </p:txBody>
      </p:sp>
      <p:pic>
        <p:nvPicPr>
          <p:cNvPr id="45" name="Graphic 44" descr="Arrow circle with solid fill">
            <a:extLst>
              <a:ext uri="{FF2B5EF4-FFF2-40B4-BE49-F238E27FC236}">
                <a16:creationId xmlns:a16="http://schemas.microsoft.com/office/drawing/2014/main" id="{73132DFA-908D-E729-A45A-2BF211C4B7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72883" y="3040625"/>
            <a:ext cx="457199" cy="457199"/>
          </a:xfrm>
          <a:prstGeom prst="rect">
            <a:avLst/>
          </a:prstGeom>
        </p:spPr>
      </p:pic>
      <p:sp>
        <p:nvSpPr>
          <p:cNvPr id="94" name="TextBox 93">
            <a:extLst>
              <a:ext uri="{FF2B5EF4-FFF2-40B4-BE49-F238E27FC236}">
                <a16:creationId xmlns:a16="http://schemas.microsoft.com/office/drawing/2014/main" id="{4567386E-7B75-9EF2-9DC2-A28A47713268}"/>
              </a:ext>
            </a:extLst>
          </p:cNvPr>
          <p:cNvSpPr txBox="1"/>
          <p:nvPr/>
        </p:nvSpPr>
        <p:spPr>
          <a:xfrm>
            <a:off x="9270115" y="3357276"/>
            <a:ext cx="127184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2A2A2A"/>
                </a:solidFill>
                <a:effectLst/>
                <a:uLnTx/>
                <a:uFillTx/>
                <a:latin typeface="Arial"/>
                <a:ea typeface="+mn-ea"/>
                <a:cs typeface="+mn-cs"/>
              </a:rPr>
              <a:t>……..</a:t>
            </a:r>
          </a:p>
        </p:txBody>
      </p:sp>
      <p:pic>
        <p:nvPicPr>
          <p:cNvPr id="8" name="Picture 7" descr="Shape&#10;&#10;Description automatically generated with medium confidence">
            <a:extLst>
              <a:ext uri="{FF2B5EF4-FFF2-40B4-BE49-F238E27FC236}">
                <a16:creationId xmlns:a16="http://schemas.microsoft.com/office/drawing/2014/main" id="{9F5C3757-3602-3324-A942-9E3126A828B6}"/>
              </a:ext>
            </a:extLst>
          </p:cNvPr>
          <p:cNvPicPr>
            <a:picLocks noChangeAspect="1"/>
          </p:cNvPicPr>
          <p:nvPr/>
        </p:nvPicPr>
        <p:blipFill>
          <a:blip r:embed="rId9"/>
          <a:stretch>
            <a:fillRect/>
          </a:stretch>
        </p:blipFill>
        <p:spPr>
          <a:xfrm>
            <a:off x="9665044" y="140041"/>
            <a:ext cx="2425825" cy="533427"/>
          </a:xfrm>
          <a:prstGeom prst="rect">
            <a:avLst/>
          </a:prstGeom>
        </p:spPr>
      </p:pic>
      <p:sp>
        <p:nvSpPr>
          <p:cNvPr id="12" name="TextBox 11">
            <a:extLst>
              <a:ext uri="{FF2B5EF4-FFF2-40B4-BE49-F238E27FC236}">
                <a16:creationId xmlns:a16="http://schemas.microsoft.com/office/drawing/2014/main" id="{188A8071-5E88-5126-F60A-42B7D4CB00F4}"/>
              </a:ext>
            </a:extLst>
          </p:cNvPr>
          <p:cNvSpPr txBox="1"/>
          <p:nvPr/>
        </p:nvSpPr>
        <p:spPr>
          <a:xfrm>
            <a:off x="4553447" y="6439650"/>
            <a:ext cx="3085106" cy="349858"/>
          </a:xfrm>
          <a:prstGeom prst="rect">
            <a:avLst/>
          </a:prstGeom>
          <a:noFill/>
        </p:spPr>
        <p:txBody>
          <a:bodyPr wrap="square" lIns="0" tIns="0" rIns="0" bIns="0" rtlCol="0">
            <a:noAutofit/>
          </a:bodyPr>
          <a:lstStyle/>
          <a:p>
            <a:r>
              <a:rPr lang="en-US" sz="1700" dirty="0">
                <a:solidFill>
                  <a:schemeClr val="bg1"/>
                </a:solidFill>
              </a:rPr>
              <a:t>*Privileged and Confidential</a:t>
            </a:r>
            <a:endParaRPr lang="en-CA" sz="1700" dirty="0">
              <a:solidFill>
                <a:schemeClr val="bg1"/>
              </a:solidFill>
            </a:endParaRPr>
          </a:p>
        </p:txBody>
      </p:sp>
    </p:spTree>
    <p:extLst>
      <p:ext uri="{BB962C8B-B14F-4D97-AF65-F5344CB8AC3E}">
        <p14:creationId xmlns:p14="http://schemas.microsoft.com/office/powerpoint/2010/main" val="2085079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0459B-F383-CA2B-7923-34B747BB5813}"/>
              </a:ext>
            </a:extLst>
          </p:cNvPr>
          <p:cNvSpPr>
            <a:spLocks noGrp="1"/>
          </p:cNvSpPr>
          <p:nvPr>
            <p:ph type="title"/>
          </p:nvPr>
        </p:nvSpPr>
        <p:spPr/>
        <p:txBody>
          <a:bodyPr/>
          <a:lstStyle/>
          <a:p>
            <a:r>
              <a:rPr lang="en-US" dirty="0"/>
              <a:t>Appendix</a:t>
            </a:r>
            <a:endParaRPr lang="en-CA" dirty="0"/>
          </a:p>
        </p:txBody>
      </p:sp>
      <p:pic>
        <p:nvPicPr>
          <p:cNvPr id="4" name="Picture 3" descr="Shape&#10;&#10;Description automatically generated with medium confidence">
            <a:extLst>
              <a:ext uri="{FF2B5EF4-FFF2-40B4-BE49-F238E27FC236}">
                <a16:creationId xmlns:a16="http://schemas.microsoft.com/office/drawing/2014/main" id="{FBAA615F-26AA-A7A2-C996-BE32A69E38EA}"/>
              </a:ext>
            </a:extLst>
          </p:cNvPr>
          <p:cNvPicPr>
            <a:picLocks noChangeAspect="1"/>
          </p:cNvPicPr>
          <p:nvPr/>
        </p:nvPicPr>
        <p:blipFill>
          <a:blip r:embed="rId2"/>
          <a:stretch>
            <a:fillRect/>
          </a:stretch>
        </p:blipFill>
        <p:spPr>
          <a:xfrm>
            <a:off x="9665044" y="140041"/>
            <a:ext cx="2425825" cy="533427"/>
          </a:xfrm>
          <a:prstGeom prst="rect">
            <a:avLst/>
          </a:prstGeom>
        </p:spPr>
      </p:pic>
    </p:spTree>
    <p:extLst>
      <p:ext uri="{BB962C8B-B14F-4D97-AF65-F5344CB8AC3E}">
        <p14:creationId xmlns:p14="http://schemas.microsoft.com/office/powerpoint/2010/main" val="28446185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C3278-1259-E4B1-0AA0-0E96A96638FA}"/>
              </a:ext>
            </a:extLst>
          </p:cNvPr>
          <p:cNvSpPr>
            <a:spLocks noGrp="1"/>
          </p:cNvSpPr>
          <p:nvPr>
            <p:ph type="title"/>
          </p:nvPr>
        </p:nvSpPr>
        <p:spPr/>
        <p:txBody>
          <a:bodyPr/>
          <a:lstStyle/>
          <a:p>
            <a:r>
              <a:rPr lang="en-US" dirty="0"/>
              <a:t>Cost of Yield Loss</a:t>
            </a:r>
            <a:endParaRPr lang="en-CA" dirty="0"/>
          </a:p>
        </p:txBody>
      </p:sp>
      <p:sp>
        <p:nvSpPr>
          <p:cNvPr id="3" name="Content Placeholder 2">
            <a:extLst>
              <a:ext uri="{FF2B5EF4-FFF2-40B4-BE49-F238E27FC236}">
                <a16:creationId xmlns:a16="http://schemas.microsoft.com/office/drawing/2014/main" id="{E289E590-DC97-F990-C804-8BACBAA7CD84}"/>
              </a:ext>
            </a:extLst>
          </p:cNvPr>
          <p:cNvSpPr>
            <a:spLocks noGrp="1"/>
          </p:cNvSpPr>
          <p:nvPr>
            <p:ph idx="1"/>
          </p:nvPr>
        </p:nvSpPr>
        <p:spPr/>
        <p:txBody>
          <a:bodyPr/>
          <a:lstStyle/>
          <a:p>
            <a:r>
              <a:rPr lang="en-US" dirty="0"/>
              <a:t>Consider the total cost of ownership for any asset increases the more times your maintenance events repeat.</a:t>
            </a:r>
          </a:p>
          <a:p>
            <a:endParaRPr lang="en-US" dirty="0"/>
          </a:p>
          <a:p>
            <a:r>
              <a:rPr lang="en-US" dirty="0"/>
              <a:t>An aircraft can operate for over 30 years, many tasks have repeat intervals, just like changing the oil in your car. </a:t>
            </a:r>
          </a:p>
          <a:p>
            <a:endParaRPr lang="en-CA" dirty="0"/>
          </a:p>
          <a:p>
            <a:r>
              <a:rPr lang="en-CA" dirty="0"/>
              <a:t>Performing a MPD task earlier than its due date might mean that you will have to do it more than once prior to the aircraft retirement. </a:t>
            </a:r>
          </a:p>
          <a:p>
            <a:endParaRPr lang="en-CA" dirty="0"/>
          </a:p>
          <a:p>
            <a:r>
              <a:rPr lang="en-CA" dirty="0"/>
              <a:t>It is favourable then to minimize the yield remaining at that due date, however at times, the ground time and resource availability and the competing objective functions might not allow for that to occur. </a:t>
            </a:r>
          </a:p>
          <a:p>
            <a:endParaRPr lang="en-CA" dirty="0"/>
          </a:p>
          <a:p>
            <a:r>
              <a:rPr lang="en-CA" dirty="0"/>
              <a:t>Therefore, it is important to provided a weighted cost of loss in yield into the model to ensure that the weighted cost is used to solve for optimality. </a:t>
            </a:r>
            <a:endParaRPr lang="en-US" dirty="0"/>
          </a:p>
        </p:txBody>
      </p:sp>
      <p:pic>
        <p:nvPicPr>
          <p:cNvPr id="5" name="Picture 4" descr="Shape&#10;&#10;Description automatically generated with medium confidence">
            <a:extLst>
              <a:ext uri="{FF2B5EF4-FFF2-40B4-BE49-F238E27FC236}">
                <a16:creationId xmlns:a16="http://schemas.microsoft.com/office/drawing/2014/main" id="{8DC203B3-E867-45AE-990E-15CA93E4AD9D}"/>
              </a:ext>
            </a:extLst>
          </p:cNvPr>
          <p:cNvPicPr>
            <a:picLocks noChangeAspect="1"/>
          </p:cNvPicPr>
          <p:nvPr/>
        </p:nvPicPr>
        <p:blipFill>
          <a:blip r:embed="rId2"/>
          <a:stretch>
            <a:fillRect/>
          </a:stretch>
        </p:blipFill>
        <p:spPr>
          <a:xfrm>
            <a:off x="9665044" y="140041"/>
            <a:ext cx="2425825" cy="533427"/>
          </a:xfrm>
          <a:prstGeom prst="rect">
            <a:avLst/>
          </a:prstGeom>
        </p:spPr>
      </p:pic>
      <p:sp>
        <p:nvSpPr>
          <p:cNvPr id="7" name="TextBox 6">
            <a:extLst>
              <a:ext uri="{FF2B5EF4-FFF2-40B4-BE49-F238E27FC236}">
                <a16:creationId xmlns:a16="http://schemas.microsoft.com/office/drawing/2014/main" id="{BCF857B3-90CD-ACCB-E0B9-6ADCB4DBFAC5}"/>
              </a:ext>
            </a:extLst>
          </p:cNvPr>
          <p:cNvSpPr txBox="1"/>
          <p:nvPr/>
        </p:nvSpPr>
        <p:spPr>
          <a:xfrm>
            <a:off x="4553447" y="6439650"/>
            <a:ext cx="3085106" cy="349858"/>
          </a:xfrm>
          <a:prstGeom prst="rect">
            <a:avLst/>
          </a:prstGeom>
          <a:noFill/>
        </p:spPr>
        <p:txBody>
          <a:bodyPr wrap="square" lIns="0" tIns="0" rIns="0" bIns="0" rtlCol="0">
            <a:noAutofit/>
          </a:bodyPr>
          <a:lstStyle/>
          <a:p>
            <a:r>
              <a:rPr lang="en-US" sz="1700" dirty="0">
                <a:solidFill>
                  <a:schemeClr val="bg1"/>
                </a:solidFill>
              </a:rPr>
              <a:t>*Privileged and Confidential</a:t>
            </a:r>
            <a:endParaRPr lang="en-CA" sz="1700" dirty="0">
              <a:solidFill>
                <a:schemeClr val="bg1"/>
              </a:solidFill>
            </a:endParaRPr>
          </a:p>
        </p:txBody>
      </p:sp>
    </p:spTree>
    <p:extLst>
      <p:ext uri="{BB962C8B-B14F-4D97-AF65-F5344CB8AC3E}">
        <p14:creationId xmlns:p14="http://schemas.microsoft.com/office/powerpoint/2010/main" val="2024922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Introduction</a:t>
            </a:r>
          </a:p>
        </p:txBody>
      </p:sp>
      <p:pic>
        <p:nvPicPr>
          <p:cNvPr id="4" name="Content Placeholder 6">
            <a:extLst>
              <a:ext uri="{FF2B5EF4-FFF2-40B4-BE49-F238E27FC236}">
                <a16:creationId xmlns:a16="http://schemas.microsoft.com/office/drawing/2014/main" id="{957C28CC-CBBF-DE48-9704-13466CBDAEB2}"/>
              </a:ext>
            </a:extLst>
          </p:cNvPr>
          <p:cNvPicPr>
            <a:picLocks noChangeAspect="1"/>
          </p:cNvPicPr>
          <p:nvPr/>
        </p:nvPicPr>
        <p:blipFill>
          <a:blip r:embed="rId2"/>
          <a:stretch>
            <a:fillRect/>
          </a:stretch>
        </p:blipFill>
        <p:spPr>
          <a:xfrm>
            <a:off x="7005638" y="711522"/>
            <a:ext cx="3162300" cy="774293"/>
          </a:xfrm>
          <a:prstGeom prst="rect">
            <a:avLst/>
          </a:prstGeom>
        </p:spPr>
      </p:pic>
      <p:sp>
        <p:nvSpPr>
          <p:cNvPr id="5" name="Rounded Rectangle 4">
            <a:extLst>
              <a:ext uri="{FF2B5EF4-FFF2-40B4-BE49-F238E27FC236}">
                <a16:creationId xmlns:a16="http://schemas.microsoft.com/office/drawing/2014/main" id="{531A0336-AA8F-364E-8BE1-EA8BA2E620CC}"/>
              </a:ext>
            </a:extLst>
          </p:cNvPr>
          <p:cNvSpPr/>
          <p:nvPr/>
        </p:nvSpPr>
        <p:spPr>
          <a:xfrm>
            <a:off x="6929192" y="2170072"/>
            <a:ext cx="2950369" cy="73341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Preventive Maintenance – As late as possible</a:t>
            </a:r>
          </a:p>
        </p:txBody>
      </p:sp>
      <p:sp>
        <p:nvSpPr>
          <p:cNvPr id="6" name="Rounded Rectangle 5">
            <a:extLst>
              <a:ext uri="{FF2B5EF4-FFF2-40B4-BE49-F238E27FC236}">
                <a16:creationId xmlns:a16="http://schemas.microsoft.com/office/drawing/2014/main" id="{EC67722C-C308-C941-B928-BB388B988826}"/>
              </a:ext>
            </a:extLst>
          </p:cNvPr>
          <p:cNvSpPr/>
          <p:nvPr/>
        </p:nvSpPr>
        <p:spPr>
          <a:xfrm>
            <a:off x="6929192" y="4548740"/>
            <a:ext cx="2950369" cy="73341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Repair Defects – As soon as possible</a:t>
            </a:r>
          </a:p>
        </p:txBody>
      </p:sp>
      <p:pic>
        <p:nvPicPr>
          <p:cNvPr id="12" name="Picture 11">
            <a:extLst>
              <a:ext uri="{FF2B5EF4-FFF2-40B4-BE49-F238E27FC236}">
                <a16:creationId xmlns:a16="http://schemas.microsoft.com/office/drawing/2014/main" id="{6E1E657C-7A70-334B-91BC-28F8640400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47587" y="3284482"/>
            <a:ext cx="3098800" cy="1066800"/>
          </a:xfrm>
          <a:prstGeom prst="rect">
            <a:avLst/>
          </a:prstGeom>
        </p:spPr>
      </p:pic>
      <p:cxnSp>
        <p:nvCxnSpPr>
          <p:cNvPr id="14" name="Straight Arrow Connector 13">
            <a:extLst>
              <a:ext uri="{FF2B5EF4-FFF2-40B4-BE49-F238E27FC236}">
                <a16:creationId xmlns:a16="http://schemas.microsoft.com/office/drawing/2014/main" id="{31AA8699-E978-1A43-AAB6-C281AB133342}"/>
              </a:ext>
            </a:extLst>
          </p:cNvPr>
          <p:cNvCxnSpPr>
            <a:stCxn id="12" idx="3"/>
            <a:endCxn id="5" idx="1"/>
          </p:cNvCxnSpPr>
          <p:nvPr/>
        </p:nvCxnSpPr>
        <p:spPr>
          <a:xfrm flipV="1">
            <a:off x="5546387" y="2536777"/>
            <a:ext cx="1382805" cy="1281105"/>
          </a:xfrm>
          <a:prstGeom prst="straightConnector1">
            <a:avLst/>
          </a:prstGeom>
          <a:ln w="31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B129064-9347-A340-8996-12EAC19BDE74}"/>
              </a:ext>
            </a:extLst>
          </p:cNvPr>
          <p:cNvCxnSpPr>
            <a:cxnSpLocks/>
            <a:stCxn id="12" idx="3"/>
            <a:endCxn id="6" idx="1"/>
          </p:cNvCxnSpPr>
          <p:nvPr/>
        </p:nvCxnSpPr>
        <p:spPr>
          <a:xfrm>
            <a:off x="5546387" y="3817882"/>
            <a:ext cx="1382805" cy="1097563"/>
          </a:xfrm>
          <a:prstGeom prst="straightConnector1">
            <a:avLst/>
          </a:prstGeom>
          <a:ln w="31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9AC5767-2431-C844-A66E-7112C228A6DB}"/>
              </a:ext>
            </a:extLst>
          </p:cNvPr>
          <p:cNvSpPr txBox="1"/>
          <p:nvPr/>
        </p:nvSpPr>
        <p:spPr>
          <a:xfrm>
            <a:off x="3219268" y="3005319"/>
            <a:ext cx="1555438" cy="273847"/>
          </a:xfrm>
          <a:prstGeom prst="rect">
            <a:avLst/>
          </a:prstGeom>
          <a:noFill/>
        </p:spPr>
        <p:txBody>
          <a:bodyPr wrap="square" lIns="0" tIns="0" rIns="0" bIns="0" rtlCol="0">
            <a:noAutofit/>
          </a:bodyPr>
          <a:lstStyle/>
          <a:p>
            <a:pPr algn="ctr"/>
            <a:r>
              <a:rPr lang="en-US" sz="1700" dirty="0">
                <a:solidFill>
                  <a:schemeClr val="bg1"/>
                </a:solidFill>
              </a:rPr>
              <a:t>FIN - 5496</a:t>
            </a:r>
          </a:p>
        </p:txBody>
      </p:sp>
      <p:sp>
        <p:nvSpPr>
          <p:cNvPr id="3" name="TextBox 2">
            <a:extLst>
              <a:ext uri="{FF2B5EF4-FFF2-40B4-BE49-F238E27FC236}">
                <a16:creationId xmlns:a16="http://schemas.microsoft.com/office/drawing/2014/main" id="{FA03FBE9-9D11-5B4C-A7C8-4038631991BF}"/>
              </a:ext>
            </a:extLst>
          </p:cNvPr>
          <p:cNvSpPr txBox="1"/>
          <p:nvPr/>
        </p:nvSpPr>
        <p:spPr>
          <a:xfrm>
            <a:off x="1369400" y="5867330"/>
            <a:ext cx="5255173" cy="672662"/>
          </a:xfrm>
          <a:prstGeom prst="rect">
            <a:avLst/>
          </a:prstGeom>
          <a:noFill/>
        </p:spPr>
        <p:txBody>
          <a:bodyPr wrap="square" lIns="0" tIns="0" rIns="0" bIns="0" rtlCol="0">
            <a:noAutofit/>
          </a:bodyPr>
          <a:lstStyle/>
          <a:p>
            <a:r>
              <a:rPr lang="en-US" sz="1700" dirty="0">
                <a:solidFill>
                  <a:schemeClr val="bg1"/>
                </a:solidFill>
              </a:rPr>
              <a:t>Tasks defined by a Due Date and Duration </a:t>
            </a:r>
          </a:p>
        </p:txBody>
      </p:sp>
    </p:spTree>
    <p:extLst>
      <p:ext uri="{BB962C8B-B14F-4D97-AF65-F5344CB8AC3E}">
        <p14:creationId xmlns:p14="http://schemas.microsoft.com/office/powerpoint/2010/main" val="26456298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C3278-1259-E4B1-0AA0-0E96A96638FA}"/>
              </a:ext>
            </a:extLst>
          </p:cNvPr>
          <p:cNvSpPr>
            <a:spLocks noGrp="1"/>
          </p:cNvSpPr>
          <p:nvPr>
            <p:ph type="title"/>
          </p:nvPr>
        </p:nvSpPr>
        <p:spPr/>
        <p:txBody>
          <a:bodyPr/>
          <a:lstStyle/>
          <a:p>
            <a:r>
              <a:rPr lang="en-US" dirty="0"/>
              <a:t>Aircraft Type Home-Base</a:t>
            </a:r>
            <a:endParaRPr lang="en-CA" dirty="0"/>
          </a:p>
        </p:txBody>
      </p:sp>
      <p:sp>
        <p:nvSpPr>
          <p:cNvPr id="3" name="Content Placeholder 2">
            <a:extLst>
              <a:ext uri="{FF2B5EF4-FFF2-40B4-BE49-F238E27FC236}">
                <a16:creationId xmlns:a16="http://schemas.microsoft.com/office/drawing/2014/main" id="{E289E590-DC97-F990-C804-8BACBAA7CD84}"/>
              </a:ext>
            </a:extLst>
          </p:cNvPr>
          <p:cNvSpPr>
            <a:spLocks noGrp="1"/>
          </p:cNvSpPr>
          <p:nvPr>
            <p:ph idx="1"/>
          </p:nvPr>
        </p:nvSpPr>
        <p:spPr/>
        <p:txBody>
          <a:bodyPr/>
          <a:lstStyle/>
          <a:p>
            <a:r>
              <a:rPr lang="en-US" sz="1400" b="1" u="sng" dirty="0"/>
              <a:t>How to Derive the Aircraft type home-base</a:t>
            </a:r>
          </a:p>
          <a:p>
            <a:r>
              <a:rPr lang="en-US" sz="1400" dirty="0"/>
              <a:t>Through constant iteration of planning our maintenance schedule day over day and year over year it quickly becomes apparent where the Aircraft type home-base is located through repetitive opportunities constantly occurring in the same location. </a:t>
            </a:r>
          </a:p>
          <a:p>
            <a:endParaRPr lang="en-US" sz="1400" dirty="0"/>
          </a:p>
          <a:p>
            <a:r>
              <a:rPr lang="en-US" sz="1400" dirty="0"/>
              <a:t>Algorithmically defining it however is a slightly different challenge. To derive it, consider the following. Every aircraft will fly multiple missions throughout the course of a single day. As soon as that flying schedule allows for more than 4 hours of ground time at XXX location considering all available FINs within the same aircraft type, we can build an entire overnight work order package at that location. The instantiation of most of the available ground time opportunities where that criteria is met, allows us to declare XXX location as the Home-Base. Consider that a single aircraft rolls up into an Aircraft type, and all fins that are of the same aircraft type share the same flight schedule. </a:t>
            </a:r>
          </a:p>
          <a:p>
            <a:endParaRPr lang="en-US" sz="1400" dirty="0"/>
          </a:p>
          <a:p>
            <a:r>
              <a:rPr lang="en-US" sz="1400" dirty="0"/>
              <a:t>Ground time availability does not designate touch time on the Aircraft. A minimum 1-hour buffer should be applied to the ground time.</a:t>
            </a:r>
          </a:p>
        </p:txBody>
      </p:sp>
      <p:pic>
        <p:nvPicPr>
          <p:cNvPr id="5" name="Picture 4" descr="Shape&#10;&#10;Description automatically generated with medium confidence">
            <a:extLst>
              <a:ext uri="{FF2B5EF4-FFF2-40B4-BE49-F238E27FC236}">
                <a16:creationId xmlns:a16="http://schemas.microsoft.com/office/drawing/2014/main" id="{25A73941-BC9E-ED3B-025E-0493659F74D2}"/>
              </a:ext>
            </a:extLst>
          </p:cNvPr>
          <p:cNvPicPr>
            <a:picLocks noChangeAspect="1"/>
          </p:cNvPicPr>
          <p:nvPr/>
        </p:nvPicPr>
        <p:blipFill>
          <a:blip r:embed="rId2"/>
          <a:stretch>
            <a:fillRect/>
          </a:stretch>
        </p:blipFill>
        <p:spPr>
          <a:xfrm>
            <a:off x="9665044" y="140041"/>
            <a:ext cx="2425825" cy="533427"/>
          </a:xfrm>
          <a:prstGeom prst="rect">
            <a:avLst/>
          </a:prstGeom>
        </p:spPr>
      </p:pic>
      <p:sp>
        <p:nvSpPr>
          <p:cNvPr id="7" name="TextBox 6">
            <a:extLst>
              <a:ext uri="{FF2B5EF4-FFF2-40B4-BE49-F238E27FC236}">
                <a16:creationId xmlns:a16="http://schemas.microsoft.com/office/drawing/2014/main" id="{610C6DE9-F5F5-140A-1D22-8D6DEAA845F4}"/>
              </a:ext>
            </a:extLst>
          </p:cNvPr>
          <p:cNvSpPr txBox="1"/>
          <p:nvPr/>
        </p:nvSpPr>
        <p:spPr>
          <a:xfrm>
            <a:off x="4553447" y="6439650"/>
            <a:ext cx="3085106" cy="349858"/>
          </a:xfrm>
          <a:prstGeom prst="rect">
            <a:avLst/>
          </a:prstGeom>
          <a:noFill/>
        </p:spPr>
        <p:txBody>
          <a:bodyPr wrap="square" lIns="0" tIns="0" rIns="0" bIns="0" rtlCol="0">
            <a:noAutofit/>
          </a:bodyPr>
          <a:lstStyle/>
          <a:p>
            <a:r>
              <a:rPr lang="en-US" sz="1700" dirty="0">
                <a:solidFill>
                  <a:schemeClr val="bg1"/>
                </a:solidFill>
              </a:rPr>
              <a:t>*Privileged and Confidential</a:t>
            </a:r>
            <a:endParaRPr lang="en-CA" sz="1700" dirty="0">
              <a:solidFill>
                <a:schemeClr val="bg1"/>
              </a:solidFill>
            </a:endParaRPr>
          </a:p>
        </p:txBody>
      </p:sp>
    </p:spTree>
    <p:extLst>
      <p:ext uri="{BB962C8B-B14F-4D97-AF65-F5344CB8AC3E}">
        <p14:creationId xmlns:p14="http://schemas.microsoft.com/office/powerpoint/2010/main" val="1122471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3DF7-95B4-5A48-F948-1B4811925844}"/>
              </a:ext>
            </a:extLst>
          </p:cNvPr>
          <p:cNvSpPr>
            <a:spLocks noGrp="1"/>
          </p:cNvSpPr>
          <p:nvPr>
            <p:ph type="title"/>
          </p:nvPr>
        </p:nvSpPr>
        <p:spPr/>
        <p:txBody>
          <a:bodyPr/>
          <a:lstStyle/>
          <a:p>
            <a:r>
              <a:rPr lang="en-US" dirty="0"/>
              <a:t>About Air Canada</a:t>
            </a:r>
            <a:endParaRPr lang="en-CA" dirty="0"/>
          </a:p>
        </p:txBody>
      </p:sp>
      <p:pic>
        <p:nvPicPr>
          <p:cNvPr id="4" name="Picture 3" descr="Shape&#10;&#10;Description automatically generated with medium confidence">
            <a:extLst>
              <a:ext uri="{FF2B5EF4-FFF2-40B4-BE49-F238E27FC236}">
                <a16:creationId xmlns:a16="http://schemas.microsoft.com/office/drawing/2014/main" id="{96506842-D1D5-F0F7-112F-FAA32CEC6778}"/>
              </a:ext>
            </a:extLst>
          </p:cNvPr>
          <p:cNvPicPr>
            <a:picLocks noChangeAspect="1"/>
          </p:cNvPicPr>
          <p:nvPr/>
        </p:nvPicPr>
        <p:blipFill>
          <a:blip r:embed="rId2"/>
          <a:stretch>
            <a:fillRect/>
          </a:stretch>
        </p:blipFill>
        <p:spPr>
          <a:xfrm>
            <a:off x="9665044" y="140041"/>
            <a:ext cx="2425825" cy="533427"/>
          </a:xfrm>
          <a:prstGeom prst="rect">
            <a:avLst/>
          </a:prstGeom>
        </p:spPr>
      </p:pic>
    </p:spTree>
    <p:extLst>
      <p:ext uri="{BB962C8B-B14F-4D97-AF65-F5344CB8AC3E}">
        <p14:creationId xmlns:p14="http://schemas.microsoft.com/office/powerpoint/2010/main" val="20731187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8079441" y="0"/>
            <a:ext cx="2050676" cy="6858000"/>
            <a:chOff x="7277100" y="0"/>
            <a:chExt cx="2324100" cy="7772400"/>
          </a:xfrm>
        </p:grpSpPr>
        <p:sp>
          <p:nvSpPr>
            <p:cNvPr id="3" name="object 3"/>
            <p:cNvSpPr/>
            <p:nvPr/>
          </p:nvSpPr>
          <p:spPr>
            <a:xfrm>
              <a:off x="7277100" y="0"/>
              <a:ext cx="2324100" cy="6746240"/>
            </a:xfrm>
            <a:custGeom>
              <a:avLst/>
              <a:gdLst/>
              <a:ahLst/>
              <a:cxnLst/>
              <a:rect l="l" t="t" r="r" b="b"/>
              <a:pathLst>
                <a:path w="2324100" h="6746240">
                  <a:moveTo>
                    <a:pt x="2324100" y="0"/>
                  </a:moveTo>
                  <a:lnTo>
                    <a:pt x="0" y="0"/>
                  </a:lnTo>
                  <a:lnTo>
                    <a:pt x="0" y="6746240"/>
                  </a:lnTo>
                  <a:lnTo>
                    <a:pt x="2324100" y="6746240"/>
                  </a:lnTo>
                  <a:lnTo>
                    <a:pt x="2324100" y="0"/>
                  </a:lnTo>
                  <a:close/>
                </a:path>
              </a:pathLst>
            </a:custGeom>
            <a:solidFill>
              <a:srgbClr val="EBEBEB"/>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 name="object 4"/>
            <p:cNvSpPr/>
            <p:nvPr/>
          </p:nvSpPr>
          <p:spPr>
            <a:xfrm>
              <a:off x="7277100" y="558800"/>
              <a:ext cx="2324100" cy="7213600"/>
            </a:xfrm>
            <a:custGeom>
              <a:avLst/>
              <a:gdLst/>
              <a:ahLst/>
              <a:cxnLst/>
              <a:rect l="l" t="t" r="r" b="b"/>
              <a:pathLst>
                <a:path w="2324100" h="7213600">
                  <a:moveTo>
                    <a:pt x="2324100" y="0"/>
                  </a:moveTo>
                  <a:lnTo>
                    <a:pt x="0" y="0"/>
                  </a:lnTo>
                  <a:lnTo>
                    <a:pt x="0" y="7213600"/>
                  </a:lnTo>
                  <a:lnTo>
                    <a:pt x="2324100" y="7213600"/>
                  </a:lnTo>
                  <a:lnTo>
                    <a:pt x="2324100" y="0"/>
                  </a:lnTo>
                  <a:close/>
                </a:path>
              </a:pathLst>
            </a:custGeom>
            <a:solidFill>
              <a:srgbClr val="EBEBEB"/>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 name="object 5"/>
            <p:cNvPicPr/>
            <p:nvPr/>
          </p:nvPicPr>
          <p:blipFill>
            <a:blip r:embed="rId2" cstate="print"/>
            <a:stretch>
              <a:fillRect/>
            </a:stretch>
          </p:blipFill>
          <p:spPr>
            <a:xfrm>
              <a:off x="8901645" y="7285958"/>
              <a:ext cx="132867" cy="132867"/>
            </a:xfrm>
            <a:prstGeom prst="rect">
              <a:avLst/>
            </a:prstGeom>
          </p:spPr>
        </p:pic>
      </p:grpSp>
      <p:sp>
        <p:nvSpPr>
          <p:cNvPr id="6" name="object 6"/>
          <p:cNvSpPr txBox="1"/>
          <p:nvPr/>
        </p:nvSpPr>
        <p:spPr>
          <a:xfrm>
            <a:off x="2050677" y="2720168"/>
            <a:ext cx="5178799" cy="1088533"/>
          </a:xfrm>
          <a:prstGeom prst="rect">
            <a:avLst/>
          </a:prstGeom>
        </p:spPr>
        <p:txBody>
          <a:bodyPr vert="horz" wrap="square" lIns="0" tIns="11206" rIns="0" bIns="0" rtlCol="0">
            <a:spAutoFit/>
          </a:bodyPr>
          <a:lstStyle/>
          <a:p>
            <a:pPr marL="11206" marR="0" lvl="0" indent="0" algn="l" defTabSz="806867" rtl="0" eaLnBrk="1" fontAlgn="auto" latinLnBrk="0" hangingPunct="1">
              <a:lnSpc>
                <a:spcPts val="940"/>
              </a:lnSpc>
              <a:spcBef>
                <a:spcPts val="88"/>
              </a:spcBef>
              <a:spcAft>
                <a:spcPts val="0"/>
              </a:spcAft>
              <a:buClrTx/>
              <a:buSzTx/>
              <a:buFontTx/>
              <a:buNone/>
              <a:tabLst/>
              <a:defRPr/>
            </a:pPr>
            <a:r>
              <a:rPr kumimoji="0" sz="794" b="1" i="0" u="none" strike="noStrike" kern="0" cap="none" spc="49" normalizeH="0" baseline="0" noProof="0">
                <a:ln>
                  <a:noFill/>
                </a:ln>
                <a:solidFill>
                  <a:srgbClr val="595959"/>
                </a:solidFill>
                <a:effectLst/>
                <a:uLnTx/>
                <a:uFillTx/>
                <a:latin typeface="Calibri"/>
                <a:ea typeface="+mn-ea"/>
                <a:cs typeface="Calibri"/>
              </a:rPr>
              <a:t>TRAVEL</a:t>
            </a:r>
            <a:r>
              <a:rPr kumimoji="0" sz="794" b="1" i="0" u="none" strike="noStrike" kern="0" cap="none" spc="0" normalizeH="0" baseline="0" noProof="0">
                <a:ln>
                  <a:noFill/>
                </a:ln>
                <a:solidFill>
                  <a:srgbClr val="595959"/>
                </a:solidFill>
                <a:effectLst/>
                <a:uLnTx/>
                <a:uFillTx/>
                <a:latin typeface="Calibri"/>
                <a:ea typeface="+mn-ea"/>
                <a:cs typeface="Calibri"/>
              </a:rPr>
              <a:t> </a:t>
            </a:r>
            <a:r>
              <a:rPr kumimoji="0" sz="794" b="1" i="0" u="none" strike="noStrike" kern="0" cap="none" spc="62" normalizeH="0" baseline="0" noProof="0">
                <a:ln>
                  <a:noFill/>
                </a:ln>
                <a:solidFill>
                  <a:srgbClr val="595959"/>
                </a:solidFill>
                <a:effectLst/>
                <a:uLnTx/>
                <a:uFillTx/>
                <a:latin typeface="Calibri"/>
                <a:ea typeface="+mn-ea"/>
                <a:cs typeface="Calibri"/>
              </a:rPr>
              <a:t>POLICY</a:t>
            </a:r>
            <a:r>
              <a:rPr kumimoji="0" sz="794" b="1" i="0" u="none" strike="noStrike" kern="0" cap="none" spc="0" normalizeH="0" baseline="0" noProof="0">
                <a:ln>
                  <a:noFill/>
                </a:ln>
                <a:solidFill>
                  <a:srgbClr val="595959"/>
                </a:solidFill>
                <a:effectLst/>
                <a:uLnTx/>
                <a:uFillTx/>
                <a:latin typeface="Calibri"/>
                <a:ea typeface="+mn-ea"/>
                <a:cs typeface="Calibri"/>
              </a:rPr>
              <a:t> </a:t>
            </a:r>
            <a:r>
              <a:rPr kumimoji="0" sz="794" b="1" i="0" u="none" strike="noStrike" kern="0" cap="none" spc="53" normalizeH="0" baseline="0" noProof="0">
                <a:ln>
                  <a:noFill/>
                </a:ln>
                <a:solidFill>
                  <a:srgbClr val="595959"/>
                </a:solidFill>
                <a:effectLst/>
                <a:uLnTx/>
                <a:uFillTx/>
                <a:latin typeface="Calibri"/>
                <a:ea typeface="+mn-ea"/>
                <a:cs typeface="Calibri"/>
              </a:rPr>
              <a:t>FOR</a:t>
            </a:r>
            <a:r>
              <a:rPr kumimoji="0" sz="794" b="1" i="0" u="none" strike="noStrike" kern="0" cap="none" spc="0" normalizeH="0" baseline="0" noProof="0">
                <a:ln>
                  <a:noFill/>
                </a:ln>
                <a:solidFill>
                  <a:srgbClr val="595959"/>
                </a:solidFill>
                <a:effectLst/>
                <a:uLnTx/>
                <a:uFillTx/>
                <a:latin typeface="Calibri"/>
                <a:ea typeface="+mn-ea"/>
                <a:cs typeface="Calibri"/>
              </a:rPr>
              <a:t> </a:t>
            </a:r>
            <a:r>
              <a:rPr kumimoji="0" sz="794" b="1" i="0" u="none" strike="noStrike" kern="0" cap="none" spc="71" normalizeH="0" baseline="0" noProof="0">
                <a:ln>
                  <a:noFill/>
                </a:ln>
                <a:solidFill>
                  <a:srgbClr val="595959"/>
                </a:solidFill>
                <a:effectLst/>
                <a:uLnTx/>
                <a:uFillTx/>
                <a:latin typeface="Calibri"/>
                <a:ea typeface="+mn-ea"/>
                <a:cs typeface="Calibri"/>
              </a:rPr>
              <a:t>BOOKING</a:t>
            </a:r>
            <a:r>
              <a:rPr kumimoji="0" sz="794" b="1" i="0" u="none" strike="noStrike" kern="0" cap="none" spc="0" normalizeH="0" baseline="0" noProof="0">
                <a:ln>
                  <a:noFill/>
                </a:ln>
                <a:solidFill>
                  <a:srgbClr val="595959"/>
                </a:solidFill>
                <a:effectLst/>
                <a:uLnTx/>
                <a:uFillTx/>
                <a:latin typeface="Calibri"/>
                <a:ea typeface="+mn-ea"/>
                <a:cs typeface="Calibri"/>
              </a:rPr>
              <a:t> </a:t>
            </a:r>
            <a:r>
              <a:rPr kumimoji="0" sz="794" b="1" i="0" u="none" strike="noStrike" kern="0" cap="none" spc="62" normalizeH="0" baseline="0" noProof="0">
                <a:ln>
                  <a:noFill/>
                </a:ln>
                <a:solidFill>
                  <a:srgbClr val="595959"/>
                </a:solidFill>
                <a:effectLst/>
                <a:uLnTx/>
                <a:uFillTx/>
                <a:latin typeface="Calibri"/>
                <a:ea typeface="+mn-ea"/>
                <a:cs typeface="Calibri"/>
              </a:rPr>
              <a:t>WITH</a:t>
            </a:r>
            <a:r>
              <a:rPr kumimoji="0" sz="794" b="1" i="0" u="none" strike="noStrike" kern="0" cap="none" spc="0" normalizeH="0" baseline="0" noProof="0">
                <a:ln>
                  <a:noFill/>
                </a:ln>
                <a:solidFill>
                  <a:srgbClr val="595959"/>
                </a:solidFill>
                <a:effectLst/>
                <a:uLnTx/>
                <a:uFillTx/>
                <a:latin typeface="Calibri"/>
                <a:ea typeface="+mn-ea"/>
                <a:cs typeface="Calibri"/>
              </a:rPr>
              <a:t> </a:t>
            </a:r>
            <a:r>
              <a:rPr kumimoji="0" sz="794" b="1" i="0" u="none" strike="noStrike" kern="0" cap="none" spc="44" normalizeH="0" baseline="0" noProof="0">
                <a:ln>
                  <a:noFill/>
                </a:ln>
                <a:solidFill>
                  <a:srgbClr val="595959"/>
                </a:solidFill>
                <a:effectLst/>
                <a:uLnTx/>
                <a:uFillTx/>
                <a:latin typeface="Calibri"/>
                <a:ea typeface="+mn-ea"/>
                <a:cs typeface="Calibri"/>
              </a:rPr>
              <a:t>COMPLETE</a:t>
            </a:r>
            <a:r>
              <a:rPr kumimoji="0" sz="794" b="1" i="0" u="none" strike="noStrike" kern="0" cap="none" spc="0" normalizeH="0" baseline="0" noProof="0">
                <a:ln>
                  <a:noFill/>
                </a:ln>
                <a:solidFill>
                  <a:srgbClr val="595959"/>
                </a:solidFill>
                <a:effectLst/>
                <a:uLnTx/>
                <a:uFillTx/>
                <a:latin typeface="Calibri"/>
                <a:ea typeface="+mn-ea"/>
                <a:cs typeface="Calibri"/>
              </a:rPr>
              <a:t> </a:t>
            </a:r>
            <a:r>
              <a:rPr kumimoji="0" sz="794" b="1" i="0" u="none" strike="noStrike" kern="0" cap="none" spc="62" normalizeH="0" baseline="0" noProof="0">
                <a:ln>
                  <a:noFill/>
                </a:ln>
                <a:solidFill>
                  <a:srgbClr val="595959"/>
                </a:solidFill>
                <a:effectLst/>
                <a:uLnTx/>
                <a:uFillTx/>
                <a:latin typeface="Calibri"/>
                <a:ea typeface="+mn-ea"/>
                <a:cs typeface="Calibri"/>
              </a:rPr>
              <a:t>CONFIDENCE</a:t>
            </a:r>
            <a:endParaRPr kumimoji="0" sz="794"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66"/>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ir Canada’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ew</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fund</a:t>
            </a:r>
            <a:r>
              <a:rPr kumimoji="0" sz="927" b="0" i="0" u="none" strike="noStrike" kern="0" cap="none" spc="0" normalizeH="0" baseline="0" noProof="0">
                <a:ln>
                  <a:noFill/>
                </a:ln>
                <a:solidFill>
                  <a:sysClr val="windowText" lastClr="000000"/>
                </a:solidFill>
                <a:effectLst/>
                <a:uLnTx/>
                <a:uFillTx/>
                <a:latin typeface="Calibri"/>
                <a:ea typeface="+mn-ea"/>
                <a:cs typeface="Calibri"/>
              </a:rPr>
              <a:t> polic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ppli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ll ticket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urchased.</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line offer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ption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cluding a</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fund </a:t>
            </a:r>
            <a:r>
              <a:rPr kumimoji="0" sz="927" b="0" i="0" u="none" strike="noStrike" kern="0" cap="none" spc="0" normalizeH="0" baseline="0" noProof="0">
                <a:ln>
                  <a:noFill/>
                </a:ln>
                <a:solidFill>
                  <a:sysClr val="windowText" lastClr="000000"/>
                </a:solidFill>
                <a:effectLst/>
                <a:uLnTx/>
                <a:uFillTx/>
                <a:latin typeface="Calibri"/>
                <a:ea typeface="+mn-ea"/>
                <a:cs typeface="Calibri"/>
              </a:rPr>
              <a:t>to the original form of payment, an Air Canada travel voucher o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 equivalent in Aeroplan points plus </a:t>
            </a:r>
            <a:r>
              <a:rPr kumimoji="0" sz="927" b="0" i="0" u="none" strike="noStrike" kern="0" cap="none" spc="-22" normalizeH="0" baseline="0" noProof="0">
                <a:ln>
                  <a:noFill/>
                </a:ln>
                <a:solidFill>
                  <a:sysClr val="windowText" lastClr="000000"/>
                </a:solidFill>
                <a:effectLst/>
                <a:uLnTx/>
                <a:uFillTx/>
                <a:latin typeface="Calibri"/>
                <a:ea typeface="+mn-ea"/>
                <a:cs typeface="Calibri"/>
              </a:rPr>
              <a:t>an </a:t>
            </a:r>
            <a:r>
              <a:rPr kumimoji="0" sz="927" b="0" i="0" u="none" strike="noStrike" kern="0" cap="none" spc="0" normalizeH="0" baseline="0" noProof="0">
                <a:ln>
                  <a:noFill/>
                </a:ln>
                <a:solidFill>
                  <a:sysClr val="windowText" lastClr="000000"/>
                </a:solidFill>
                <a:effectLst/>
                <a:uLnTx/>
                <a:uFillTx/>
                <a:latin typeface="Calibri"/>
                <a:ea typeface="+mn-ea"/>
                <a:cs typeface="Calibri"/>
              </a:rPr>
              <a:t>additional </a:t>
            </a:r>
            <a:r>
              <a:rPr kumimoji="0" sz="927" b="0" i="0" u="none" strike="noStrike" kern="0" cap="none" spc="44" normalizeH="0" baseline="0" noProof="0">
                <a:ln>
                  <a:noFill/>
                </a:ln>
                <a:solidFill>
                  <a:sysClr val="windowText" lastClr="000000"/>
                </a:solidFill>
                <a:effectLst/>
                <a:uLnTx/>
                <a:uFillTx/>
                <a:latin typeface="Calibri"/>
                <a:ea typeface="+mn-ea"/>
                <a:cs typeface="Calibri"/>
              </a:rPr>
              <a:t>65%</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bonu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f</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as to</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ce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ligh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hange 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chedul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b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or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a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re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hour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ts val="940"/>
              </a:lnSpc>
              <a:spcBef>
                <a:spcPts val="935"/>
              </a:spcBef>
              <a:spcAft>
                <a:spcPts val="0"/>
              </a:spcAft>
              <a:buClrTx/>
              <a:buSzTx/>
              <a:buFontTx/>
              <a:buNone/>
              <a:tabLst/>
              <a:defRPr/>
            </a:pPr>
            <a:r>
              <a:rPr kumimoji="0" sz="794" b="1" i="0" u="none" strike="noStrike" kern="0" cap="none" spc="0" normalizeH="0" baseline="0" noProof="0">
                <a:ln>
                  <a:noFill/>
                </a:ln>
                <a:solidFill>
                  <a:srgbClr val="595959"/>
                </a:solidFill>
                <a:effectLst/>
                <a:uLnTx/>
                <a:uFillTx/>
                <a:latin typeface="Calibri"/>
                <a:ea typeface="+mn-ea"/>
                <a:cs typeface="Calibri"/>
              </a:rPr>
              <a:t>ARE</a:t>
            </a:r>
            <a:r>
              <a:rPr kumimoji="0" sz="794" b="1" i="0" u="none" strike="noStrike" kern="0" cap="none" spc="35" normalizeH="0" baseline="0" noProof="0">
                <a:ln>
                  <a:noFill/>
                </a:ln>
                <a:solidFill>
                  <a:srgbClr val="595959"/>
                </a:solidFill>
                <a:effectLst/>
                <a:uLnTx/>
                <a:uFillTx/>
                <a:latin typeface="Calibri"/>
                <a:ea typeface="+mn-ea"/>
                <a:cs typeface="Calibri"/>
              </a:rPr>
              <a:t> </a:t>
            </a:r>
            <a:r>
              <a:rPr kumimoji="0" sz="794" b="1" i="0" u="none" strike="noStrike" kern="0" cap="none" spc="62" normalizeH="0" baseline="0" noProof="0">
                <a:ln>
                  <a:noFill/>
                </a:ln>
                <a:solidFill>
                  <a:srgbClr val="595959"/>
                </a:solidFill>
                <a:effectLst/>
                <a:uLnTx/>
                <a:uFillTx/>
                <a:latin typeface="Calibri"/>
                <a:ea typeface="+mn-ea"/>
                <a:cs typeface="Calibri"/>
              </a:rPr>
              <a:t>YOU</a:t>
            </a:r>
            <a:r>
              <a:rPr kumimoji="0" sz="794" b="1" i="0" u="none" strike="noStrike" kern="0" cap="none" spc="35" normalizeH="0" baseline="0" noProof="0">
                <a:ln>
                  <a:noFill/>
                </a:ln>
                <a:solidFill>
                  <a:srgbClr val="595959"/>
                </a:solidFill>
                <a:effectLst/>
                <a:uLnTx/>
                <a:uFillTx/>
                <a:latin typeface="Calibri"/>
                <a:ea typeface="+mn-ea"/>
                <a:cs typeface="Calibri"/>
              </a:rPr>
              <a:t> </a:t>
            </a:r>
            <a:r>
              <a:rPr kumimoji="0" sz="794" b="1" i="0" u="none" strike="noStrike" kern="0" cap="none" spc="57" normalizeH="0" baseline="0" noProof="0">
                <a:ln>
                  <a:noFill/>
                </a:ln>
                <a:solidFill>
                  <a:srgbClr val="595959"/>
                </a:solidFill>
                <a:effectLst/>
                <a:uLnTx/>
                <a:uFillTx/>
                <a:latin typeface="Calibri"/>
                <a:ea typeface="+mn-ea"/>
                <a:cs typeface="Calibri"/>
              </a:rPr>
              <a:t>TRAVELLING</a:t>
            </a:r>
            <a:r>
              <a:rPr kumimoji="0" sz="794" b="1" i="0" u="none" strike="noStrike" kern="0" cap="none" spc="35" normalizeH="0" baseline="0" noProof="0">
                <a:ln>
                  <a:noFill/>
                </a:ln>
                <a:solidFill>
                  <a:srgbClr val="595959"/>
                </a:solidFill>
                <a:effectLst/>
                <a:uLnTx/>
                <a:uFillTx/>
                <a:latin typeface="Calibri"/>
                <a:ea typeface="+mn-ea"/>
                <a:cs typeface="Calibri"/>
              </a:rPr>
              <a:t> ABROAD?</a:t>
            </a:r>
            <a:endParaRPr kumimoji="0" sz="794" b="0" i="0" u="none" strike="noStrike" kern="0" cap="none" spc="0" normalizeH="0" baseline="0" noProof="0">
              <a:ln>
                <a:noFill/>
              </a:ln>
              <a:solidFill>
                <a:sysClr val="windowText" lastClr="000000"/>
              </a:solidFill>
              <a:effectLst/>
              <a:uLnTx/>
              <a:uFillTx/>
              <a:latin typeface="Calibri"/>
              <a:ea typeface="+mn-ea"/>
              <a:cs typeface="Calibri"/>
            </a:endParaRPr>
          </a:p>
          <a:p>
            <a:pPr marL="11206" marR="225810" lvl="0" indent="0" algn="l" defTabSz="806867" rtl="0" eaLnBrk="1" fontAlgn="auto" latinLnBrk="0" hangingPunct="1">
              <a:lnSpc>
                <a:spcPts val="1059"/>
              </a:lnSpc>
              <a:spcBef>
                <a:spcPts val="66"/>
              </a:spcBef>
              <a:spcAft>
                <a:spcPts val="0"/>
              </a:spcAft>
              <a:buClrTx/>
              <a:buSzTx/>
              <a:buFontTx/>
              <a:buNone/>
              <a:tabLst/>
              <a:defRPr/>
            </a:pPr>
            <a:r>
              <a:rPr kumimoji="0" sz="927" b="0" i="0" u="none" strike="noStrike" kern="0" cap="none" spc="-9" normalizeH="0" baseline="0" noProof="0">
                <a:ln>
                  <a:noFill/>
                </a:ln>
                <a:solidFill>
                  <a:sysClr val="windowText" lastClr="000000"/>
                </a:solidFill>
                <a:effectLst/>
                <a:uLnTx/>
                <a:uFillTx/>
                <a:latin typeface="Calibri"/>
                <a:ea typeface="+mn-ea"/>
                <a:cs typeface="Calibri"/>
              </a:rPr>
              <a:t>Passenger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r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sponsibl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o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aking</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ur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ee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ll</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governmen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ntr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quirement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cluding</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ll </a:t>
            </a:r>
            <a:r>
              <a:rPr kumimoji="0" sz="927" b="0" i="0" u="none" strike="noStrike" kern="0" cap="none" spc="-9" normalizeH="0" baseline="0" noProof="0">
                <a:ln>
                  <a:noFill/>
                </a:ln>
                <a:solidFill>
                  <a:sysClr val="windowText" lastClr="000000"/>
                </a:solidFill>
                <a:effectLst/>
                <a:uLnTx/>
                <a:uFillTx/>
                <a:latin typeface="Calibri"/>
                <a:ea typeface="+mn-ea"/>
                <a:cs typeface="Calibri"/>
              </a:rPr>
              <a:t>require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ravel</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document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visa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ealth</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ertificate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mpl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ith</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ll</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the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ntr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riteria.</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pic>
        <p:nvPicPr>
          <p:cNvPr id="7" name="object 7"/>
          <p:cNvPicPr/>
          <p:nvPr/>
        </p:nvPicPr>
        <p:blipFill>
          <a:blip r:embed="rId2" cstate="print"/>
          <a:stretch>
            <a:fillRect/>
          </a:stretch>
        </p:blipFill>
        <p:spPr>
          <a:xfrm>
            <a:off x="3880003" y="3857985"/>
            <a:ext cx="117236" cy="117236"/>
          </a:xfrm>
          <a:prstGeom prst="rect">
            <a:avLst/>
          </a:prstGeom>
        </p:spPr>
      </p:pic>
      <p:sp>
        <p:nvSpPr>
          <p:cNvPr id="8" name="object 8"/>
          <p:cNvSpPr txBox="1"/>
          <p:nvPr/>
        </p:nvSpPr>
        <p:spPr>
          <a:xfrm>
            <a:off x="2050676" y="3823947"/>
            <a:ext cx="5165912" cy="303627"/>
          </a:xfrm>
          <a:prstGeom prst="rect">
            <a:avLst/>
          </a:prstGeom>
        </p:spPr>
        <p:txBody>
          <a:bodyPr vert="horz" wrap="square" lIns="0" tIns="21291" rIns="0" bIns="0" rtlCol="0">
            <a:spAutoFit/>
          </a:bodyPr>
          <a:lstStyle/>
          <a:p>
            <a:pPr marL="11206" marR="4483" lvl="0" indent="0" algn="l" defTabSz="806867" rtl="0" eaLnBrk="1" fontAlgn="auto" latinLnBrk="0" hangingPunct="1">
              <a:lnSpc>
                <a:spcPts val="1059"/>
              </a:lnSpc>
              <a:spcBef>
                <a:spcPts val="168"/>
              </a:spcBef>
              <a:spcAft>
                <a:spcPts val="0"/>
              </a:spcAft>
              <a:buClrTx/>
              <a:buSzTx/>
              <a:buFontTx/>
              <a:buNone/>
              <a:tabLst>
                <a:tab pos="1974582" algn="l"/>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Check</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s </a:t>
            </a:r>
            <a:r>
              <a:rPr kumimoji="0" sz="927" b="0" i="0" u="sng" strike="noStrike" kern="0" cap="none" spc="0" normalizeH="0" baseline="0" noProof="0">
                <a:ln>
                  <a:noFill/>
                </a:ln>
                <a:solidFill>
                  <a:srgbClr val="0000FF"/>
                </a:solidFill>
                <a:effectLst/>
                <a:uLnTx/>
                <a:uFill>
                  <a:solidFill>
                    <a:srgbClr val="0000FF"/>
                  </a:solidFill>
                </a:uFill>
                <a:latin typeface="Calibri"/>
                <a:ea typeface="+mn-ea"/>
                <a:cs typeface="Calibri"/>
                <a:hlinkClick r:id="rId3"/>
              </a:rPr>
              <a:t>Travel</a:t>
            </a:r>
            <a:r>
              <a:rPr kumimoji="0" sz="927" b="0" i="0" u="sng" strike="noStrike" kern="0" cap="none" spc="-4" normalizeH="0" baseline="0" noProof="0">
                <a:ln>
                  <a:noFill/>
                </a:ln>
                <a:solidFill>
                  <a:srgbClr val="0000FF"/>
                </a:solidFill>
                <a:effectLst/>
                <a:uLnTx/>
                <a:uFill>
                  <a:solidFill>
                    <a:srgbClr val="0000FF"/>
                  </a:solidFill>
                </a:uFill>
                <a:latin typeface="Calibri"/>
                <a:ea typeface="+mn-ea"/>
                <a:cs typeface="Calibri"/>
                <a:hlinkClick r:id="rId3"/>
              </a:rPr>
              <a:t> </a:t>
            </a:r>
            <a:r>
              <a:rPr kumimoji="0" sz="927" b="0" i="0" u="sng" strike="noStrike" kern="0" cap="none" spc="0" normalizeH="0" baseline="0" noProof="0">
                <a:ln>
                  <a:noFill/>
                </a:ln>
                <a:solidFill>
                  <a:srgbClr val="0000FF"/>
                </a:solidFill>
                <a:effectLst/>
                <a:uLnTx/>
                <a:uFill>
                  <a:solidFill>
                    <a:srgbClr val="0000FF"/>
                  </a:solidFill>
                </a:uFill>
                <a:latin typeface="Calibri"/>
                <a:ea typeface="+mn-ea"/>
                <a:cs typeface="Calibri"/>
                <a:hlinkClick r:id="rId3"/>
              </a:rPr>
              <a:t>Ready </a:t>
            </a:r>
            <a:r>
              <a:rPr kumimoji="0" sz="927" b="0" i="0" u="sng" strike="noStrike" kern="0" cap="none" spc="-22" normalizeH="0" baseline="0" noProof="0">
                <a:ln>
                  <a:noFill/>
                </a:ln>
                <a:solidFill>
                  <a:srgbClr val="0000FF"/>
                </a:solidFill>
                <a:effectLst/>
                <a:uLnTx/>
                <a:uFill>
                  <a:solidFill>
                    <a:srgbClr val="0000FF"/>
                  </a:solidFill>
                </a:uFill>
                <a:latin typeface="Calibri"/>
                <a:ea typeface="+mn-ea"/>
                <a:cs typeface="Calibri"/>
                <a:hlinkClick r:id="rId3"/>
              </a:rPr>
              <a:t>Hub</a:t>
            </a:r>
            <a:r>
              <a:rPr kumimoji="0" sz="927" b="0" i="0" u="none" strike="noStrike" kern="0" cap="none" spc="0" normalizeH="0" baseline="0" noProof="0">
                <a:ln>
                  <a:noFill/>
                </a:ln>
                <a:solidFill>
                  <a:srgbClr val="0000FF"/>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o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os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recen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governmen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ntr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quirement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Government requirement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ay</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hange</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t</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hort</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notic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9" name="object 9"/>
          <p:cNvSpPr txBox="1"/>
          <p:nvPr/>
        </p:nvSpPr>
        <p:spPr>
          <a:xfrm>
            <a:off x="2050677" y="4221757"/>
            <a:ext cx="5089151" cy="562748"/>
          </a:xfrm>
          <a:prstGeom prst="rect">
            <a:avLst/>
          </a:prstGeom>
        </p:spPr>
        <p:txBody>
          <a:bodyPr vert="horz" wrap="square" lIns="0" tIns="11206" rIns="0" bIns="0" rtlCol="0">
            <a:spAutoFit/>
          </a:bodyPr>
          <a:lstStyle/>
          <a:p>
            <a:pPr marL="11206" marR="0" lvl="0" indent="0" algn="l" defTabSz="806867" rtl="0" eaLnBrk="1" fontAlgn="auto" latinLnBrk="0" hangingPunct="1">
              <a:lnSpc>
                <a:spcPts val="940"/>
              </a:lnSpc>
              <a:spcBef>
                <a:spcPts val="88"/>
              </a:spcBef>
              <a:spcAft>
                <a:spcPts val="0"/>
              </a:spcAft>
              <a:buClrTx/>
              <a:buSzTx/>
              <a:buFontTx/>
              <a:buNone/>
              <a:tabLst/>
              <a:defRPr/>
            </a:pPr>
            <a:r>
              <a:rPr kumimoji="0" sz="794" b="1" i="0" u="none" strike="noStrike" kern="0" cap="none" spc="84" normalizeH="0" baseline="0" noProof="0">
                <a:ln>
                  <a:noFill/>
                </a:ln>
                <a:solidFill>
                  <a:srgbClr val="595959"/>
                </a:solidFill>
                <a:effectLst/>
                <a:uLnTx/>
                <a:uFillTx/>
                <a:latin typeface="Calibri"/>
                <a:ea typeface="+mn-ea"/>
                <a:cs typeface="Calibri"/>
              </a:rPr>
              <a:t>SCAN</a:t>
            </a:r>
            <a:r>
              <a:rPr kumimoji="0" sz="794" b="1" i="0" u="none" strike="noStrike" kern="0" cap="none" spc="4" normalizeH="0" baseline="0" noProof="0">
                <a:ln>
                  <a:noFill/>
                </a:ln>
                <a:solidFill>
                  <a:srgbClr val="595959"/>
                </a:solidFill>
                <a:effectLst/>
                <a:uLnTx/>
                <a:uFillTx/>
                <a:latin typeface="Calibri"/>
                <a:ea typeface="+mn-ea"/>
                <a:cs typeface="Calibri"/>
              </a:rPr>
              <a:t> </a:t>
            </a:r>
            <a:r>
              <a:rPr kumimoji="0" sz="794" b="1" i="0" u="none" strike="noStrike" kern="0" cap="none" spc="62" normalizeH="0" baseline="0" noProof="0">
                <a:ln>
                  <a:noFill/>
                </a:ln>
                <a:solidFill>
                  <a:srgbClr val="595959"/>
                </a:solidFill>
                <a:effectLst/>
                <a:uLnTx/>
                <a:uFillTx/>
                <a:latin typeface="Calibri"/>
                <a:ea typeface="+mn-ea"/>
                <a:cs typeface="Calibri"/>
              </a:rPr>
              <a:t>YOUR</a:t>
            </a:r>
            <a:r>
              <a:rPr kumimoji="0" sz="794" b="1" i="0" u="none" strike="noStrike" kern="0" cap="none" spc="9" normalizeH="0" baseline="0" noProof="0">
                <a:ln>
                  <a:noFill/>
                </a:ln>
                <a:solidFill>
                  <a:srgbClr val="595959"/>
                </a:solidFill>
                <a:effectLst/>
                <a:uLnTx/>
                <a:uFillTx/>
                <a:latin typeface="Calibri"/>
                <a:ea typeface="+mn-ea"/>
                <a:cs typeface="Calibri"/>
              </a:rPr>
              <a:t> </a:t>
            </a:r>
            <a:r>
              <a:rPr kumimoji="0" sz="794" b="1" i="0" u="none" strike="noStrike" kern="0" cap="none" spc="66" normalizeH="0" baseline="0" noProof="0">
                <a:ln>
                  <a:noFill/>
                </a:ln>
                <a:solidFill>
                  <a:srgbClr val="595959"/>
                </a:solidFill>
                <a:effectLst/>
                <a:uLnTx/>
                <a:uFillTx/>
                <a:latin typeface="Calibri"/>
                <a:ea typeface="+mn-ea"/>
                <a:cs typeface="Calibri"/>
              </a:rPr>
              <a:t>COVID-</a:t>
            </a:r>
            <a:r>
              <a:rPr kumimoji="0" sz="794" b="1" i="0" u="none" strike="noStrike" kern="0" cap="none" spc="0" normalizeH="0" baseline="0" noProof="0">
                <a:ln>
                  <a:noFill/>
                </a:ln>
                <a:solidFill>
                  <a:srgbClr val="595959"/>
                </a:solidFill>
                <a:effectLst/>
                <a:uLnTx/>
                <a:uFillTx/>
                <a:latin typeface="Calibri"/>
                <a:ea typeface="+mn-ea"/>
                <a:cs typeface="Calibri"/>
              </a:rPr>
              <a:t>19</a:t>
            </a:r>
            <a:r>
              <a:rPr kumimoji="0" sz="794" b="1" i="0" u="none" strike="noStrike" kern="0" cap="none" spc="9" normalizeH="0" baseline="0" noProof="0">
                <a:ln>
                  <a:noFill/>
                </a:ln>
                <a:solidFill>
                  <a:srgbClr val="595959"/>
                </a:solidFill>
                <a:effectLst/>
                <a:uLnTx/>
                <a:uFillTx/>
                <a:latin typeface="Calibri"/>
                <a:ea typeface="+mn-ea"/>
                <a:cs typeface="Calibri"/>
              </a:rPr>
              <a:t> </a:t>
            </a:r>
            <a:r>
              <a:rPr kumimoji="0" sz="794" b="1" i="0" u="none" strike="noStrike" kern="0" cap="none" spc="49" normalizeH="0" baseline="0" noProof="0">
                <a:ln>
                  <a:noFill/>
                </a:ln>
                <a:solidFill>
                  <a:srgbClr val="595959"/>
                </a:solidFill>
                <a:effectLst/>
                <a:uLnTx/>
                <a:uFillTx/>
                <a:latin typeface="Calibri"/>
                <a:ea typeface="+mn-ea"/>
                <a:cs typeface="Calibri"/>
              </a:rPr>
              <a:t>TRAVEL</a:t>
            </a:r>
            <a:r>
              <a:rPr kumimoji="0" sz="794" b="1" i="0" u="none" strike="noStrike" kern="0" cap="none" spc="4" normalizeH="0" baseline="0" noProof="0">
                <a:ln>
                  <a:noFill/>
                </a:ln>
                <a:solidFill>
                  <a:srgbClr val="595959"/>
                </a:solidFill>
                <a:effectLst/>
                <a:uLnTx/>
                <a:uFillTx/>
                <a:latin typeface="Calibri"/>
                <a:ea typeface="+mn-ea"/>
                <a:cs typeface="Calibri"/>
              </a:rPr>
              <a:t> </a:t>
            </a:r>
            <a:r>
              <a:rPr kumimoji="0" sz="794" b="1" i="0" u="none" strike="noStrike" kern="0" cap="none" spc="53" normalizeH="0" baseline="0" noProof="0">
                <a:ln>
                  <a:noFill/>
                </a:ln>
                <a:solidFill>
                  <a:srgbClr val="595959"/>
                </a:solidFill>
                <a:effectLst/>
                <a:uLnTx/>
                <a:uFillTx/>
                <a:latin typeface="Calibri"/>
                <a:ea typeface="+mn-ea"/>
                <a:cs typeface="Calibri"/>
              </a:rPr>
              <a:t>DOCUMENTS</a:t>
            </a:r>
            <a:endParaRPr kumimoji="0" sz="794"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66"/>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s digital solution is available on select rout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rough its mobile app for customers to </a:t>
            </a:r>
            <a:r>
              <a:rPr kumimoji="0" sz="927" b="0" i="0" u="none" strike="noStrike" kern="0" cap="none" spc="-9" normalizeH="0" baseline="0" noProof="0">
                <a:ln>
                  <a:noFill/>
                </a:ln>
                <a:solidFill>
                  <a:sysClr val="windowText" lastClr="000000"/>
                </a:solidFill>
                <a:effectLst/>
                <a:uLnTx/>
                <a:uFillTx/>
                <a:latin typeface="Calibri"/>
                <a:ea typeface="+mn-ea"/>
                <a:cs typeface="Calibri"/>
              </a:rPr>
              <a:t>securely </a:t>
            </a:r>
            <a:r>
              <a:rPr kumimoji="0" sz="927" b="0" i="0" u="none" strike="noStrike" kern="0" cap="none" spc="0" normalizeH="0" baseline="0" noProof="0">
                <a:ln>
                  <a:noFill/>
                </a:ln>
                <a:solidFill>
                  <a:sysClr val="windowText" lastClr="000000"/>
                </a:solidFill>
                <a:effectLst/>
                <a:uLnTx/>
                <a:uFillTx/>
                <a:latin typeface="Calibri"/>
                <a:ea typeface="+mn-ea"/>
                <a:cs typeface="Calibri"/>
              </a:rPr>
              <a:t>upload</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verify</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ir</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VID-19</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est</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results.</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i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feature</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ill</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elp</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ravellers</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nveniently</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validate </a:t>
            </a:r>
            <a:r>
              <a:rPr kumimoji="0" sz="927" b="0" i="0" u="none" strike="noStrike" kern="0" cap="none" spc="0" normalizeH="0" baseline="0" noProof="0">
                <a:ln>
                  <a:noFill/>
                </a:ln>
                <a:solidFill>
                  <a:sysClr val="windowText" lastClr="000000"/>
                </a:solidFill>
                <a:effectLst/>
                <a:uLnTx/>
                <a:uFillTx/>
                <a:latin typeface="Calibri"/>
                <a:ea typeface="+mn-ea"/>
                <a:cs typeface="Calibri"/>
              </a:rPr>
              <a:t>compliance with governmen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ealth trave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quirements</a:t>
            </a:r>
            <a:r>
              <a:rPr kumimoji="0" sz="927" b="0" i="0" u="none" strike="noStrike" kern="0" cap="none" spc="0" normalizeH="0" baseline="0" noProof="0">
                <a:ln>
                  <a:noFill/>
                </a:ln>
                <a:solidFill>
                  <a:sysClr val="windowText" lastClr="000000"/>
                </a:solidFill>
                <a:effectLst/>
                <a:uLnTx/>
                <a:uFillTx/>
                <a:latin typeface="Calibri"/>
                <a:ea typeface="+mn-ea"/>
                <a:cs typeface="Calibri"/>
              </a:rPr>
              <a:t> prio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 arriving a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 </a:t>
            </a:r>
            <a:r>
              <a:rPr kumimoji="0" sz="927" b="0" i="0" u="none" strike="noStrike" kern="0" cap="none" spc="-9" normalizeH="0" baseline="0" noProof="0">
                <a:ln>
                  <a:noFill/>
                </a:ln>
                <a:solidFill>
                  <a:sysClr val="windowText" lastClr="000000"/>
                </a:solidFill>
                <a:effectLst/>
                <a:uLnTx/>
                <a:uFillTx/>
                <a:latin typeface="Calibri"/>
                <a:ea typeface="+mn-ea"/>
                <a:cs typeface="Calibri"/>
              </a:rPr>
              <a:t>airpor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0" name="object 10"/>
          <p:cNvSpPr txBox="1"/>
          <p:nvPr/>
        </p:nvSpPr>
        <p:spPr>
          <a:xfrm>
            <a:off x="8202706" y="153082"/>
            <a:ext cx="1787338" cy="6432945"/>
          </a:xfrm>
          <a:prstGeom prst="rect">
            <a:avLst/>
          </a:prstGeom>
        </p:spPr>
        <p:txBody>
          <a:bodyPr vert="horz" wrap="square" lIns="0" tIns="11206" rIns="0" bIns="0" rtlCol="0">
            <a:spAutoFit/>
          </a:bodyPr>
          <a:lstStyle/>
          <a:p>
            <a:pPr marL="457785" marR="0" lvl="0" indent="0" algn="l" defTabSz="806867" rtl="0" eaLnBrk="1" fontAlgn="auto" latinLnBrk="0" hangingPunct="1">
              <a:lnSpc>
                <a:spcPct val="100000"/>
              </a:lnSpc>
              <a:spcBef>
                <a:spcPts val="88"/>
              </a:spcBef>
              <a:spcAft>
                <a:spcPts val="0"/>
              </a:spcAft>
              <a:buClrTx/>
              <a:buSzTx/>
              <a:buFontTx/>
              <a:buNone/>
              <a:tabLst>
                <a:tab pos="1608130" algn="l"/>
              </a:tabLst>
              <a:defRPr/>
            </a:pPr>
            <a:r>
              <a:rPr kumimoji="0" sz="706" b="1" i="0" u="none" strike="noStrike" kern="0" cap="none" spc="0" normalizeH="0" baseline="0" noProof="0">
                <a:ln>
                  <a:noFill/>
                </a:ln>
                <a:solidFill>
                  <a:sysClr val="windowText" lastClr="000000"/>
                </a:solidFill>
                <a:effectLst/>
                <a:uLnTx/>
                <a:uFillTx/>
                <a:latin typeface="Calibri"/>
                <a:ea typeface="+mn-ea"/>
                <a:cs typeface="Calibri"/>
              </a:rPr>
              <a:t>Overview</a:t>
            </a:r>
            <a:r>
              <a:rPr kumimoji="0" sz="706" b="1" i="0" u="none" strike="noStrike" kern="0" cap="none" spc="216" normalizeH="0" baseline="0" noProof="0">
                <a:ln>
                  <a:noFill/>
                </a:ln>
                <a:solidFill>
                  <a:sysClr val="windowText" lastClr="000000"/>
                </a:solidFill>
                <a:effectLst/>
                <a:uLnTx/>
                <a:uFillTx/>
                <a:latin typeface="Calibri"/>
                <a:ea typeface="+mn-ea"/>
                <a:cs typeface="Calibri"/>
              </a:rPr>
              <a:t> </a:t>
            </a:r>
            <a:r>
              <a:rPr kumimoji="0" sz="706" b="0" i="0" u="none" strike="noStrike" kern="0" cap="none" spc="-44" normalizeH="0" baseline="0" noProof="0">
                <a:ln>
                  <a:noFill/>
                </a:ln>
                <a:solidFill>
                  <a:sysClr val="windowText" lastClr="000000"/>
                </a:solidFill>
                <a:effectLst/>
                <a:uLnTx/>
                <a:uFillTx/>
                <a:latin typeface="Calibri"/>
                <a:ea typeface="+mn-ea"/>
                <a:cs typeface="Calibri"/>
              </a:rPr>
              <a:t>|</a:t>
            </a:r>
            <a:r>
              <a:rPr kumimoji="0" sz="706" b="0" i="0" u="none" strike="noStrike" kern="0" cap="none" spc="221" normalizeH="0" baseline="0" noProof="0">
                <a:ln>
                  <a:noFill/>
                </a:ln>
                <a:solidFill>
                  <a:sysClr val="windowText" lastClr="000000"/>
                </a:solidFill>
                <a:effectLst/>
                <a:uLnTx/>
                <a:uFillTx/>
                <a:latin typeface="Calibri"/>
                <a:ea typeface="+mn-ea"/>
                <a:cs typeface="Calibri"/>
              </a:rPr>
              <a:t> </a:t>
            </a:r>
            <a:r>
              <a:rPr kumimoji="0" sz="706" b="0" i="0" u="none" strike="noStrike" kern="0" cap="none" spc="0" normalizeH="0" baseline="0" noProof="0">
                <a:ln>
                  <a:noFill/>
                </a:ln>
                <a:solidFill>
                  <a:sysClr val="windowText" lastClr="000000"/>
                </a:solidFill>
                <a:effectLst/>
                <a:uLnTx/>
                <a:uFillTx/>
                <a:latin typeface="Calibri"/>
                <a:ea typeface="+mn-ea"/>
                <a:cs typeface="Calibri"/>
              </a:rPr>
              <a:t>MARCH</a:t>
            </a:r>
            <a:r>
              <a:rPr kumimoji="0" sz="706" b="0" i="0" u="none" strike="noStrike" kern="0" cap="none" spc="26" normalizeH="0" baseline="0" noProof="0">
                <a:ln>
                  <a:noFill/>
                </a:ln>
                <a:solidFill>
                  <a:sysClr val="windowText" lastClr="000000"/>
                </a:solidFill>
                <a:effectLst/>
                <a:uLnTx/>
                <a:uFillTx/>
                <a:latin typeface="Calibri"/>
                <a:ea typeface="+mn-ea"/>
                <a:cs typeface="Calibri"/>
              </a:rPr>
              <a:t> </a:t>
            </a:r>
            <a:r>
              <a:rPr kumimoji="0" sz="706" b="0" i="0" u="none" strike="noStrike" kern="0" cap="none" spc="-18" normalizeH="0" baseline="0" noProof="0">
                <a:ln>
                  <a:noFill/>
                </a:ln>
                <a:solidFill>
                  <a:sysClr val="windowText" lastClr="000000"/>
                </a:solidFill>
                <a:effectLst/>
                <a:uLnTx/>
                <a:uFillTx/>
                <a:latin typeface="Calibri"/>
                <a:ea typeface="+mn-ea"/>
                <a:cs typeface="Calibri"/>
              </a:rPr>
              <a:t>2022</a:t>
            </a:r>
            <a:r>
              <a:rPr kumimoji="0" sz="706" b="0" i="0" u="none" strike="noStrike" kern="0" cap="none" spc="0" normalizeH="0" baseline="0" noProof="0">
                <a:ln>
                  <a:noFill/>
                </a:ln>
                <a:solidFill>
                  <a:sysClr val="windowText" lastClr="000000"/>
                </a:solidFill>
                <a:effectLst/>
                <a:uLnTx/>
                <a:uFillTx/>
                <a:latin typeface="Calibri"/>
                <a:ea typeface="+mn-ea"/>
                <a:cs typeface="Calibri"/>
              </a:rPr>
              <a:t>	</a:t>
            </a:r>
            <a:r>
              <a:rPr kumimoji="0" sz="706" b="1" i="0" u="none" strike="noStrike" kern="0" cap="none" spc="-44" normalizeH="0" baseline="0" noProof="0">
                <a:ln>
                  <a:noFill/>
                </a:ln>
                <a:solidFill>
                  <a:sysClr val="windowText" lastClr="000000"/>
                </a:solidFill>
                <a:effectLst/>
                <a:uLnTx/>
                <a:uFillTx/>
                <a:latin typeface="Calibri"/>
                <a:ea typeface="+mn-ea"/>
                <a:cs typeface="Calibri"/>
              </a:rPr>
              <a:t>2</a:t>
            </a:r>
            <a:endParaRPr kumimoji="0" sz="706"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806867" rtl="0" eaLnBrk="1" fontAlgn="auto" latinLnBrk="0" hangingPunct="1">
              <a:lnSpc>
                <a:spcPct val="100000"/>
              </a:lnSpc>
              <a:spcBef>
                <a:spcPts val="0"/>
              </a:spcBef>
              <a:spcAft>
                <a:spcPts val="0"/>
              </a:spcAft>
              <a:buClrTx/>
              <a:buSzTx/>
              <a:buFontTx/>
              <a:buNone/>
              <a:tabLst/>
              <a:defRPr/>
            </a:pPr>
            <a:endParaRPr kumimoji="0" sz="114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ct val="100000"/>
              </a:lnSpc>
              <a:spcBef>
                <a:spcPts val="0"/>
              </a:spcBef>
              <a:spcAft>
                <a:spcPts val="0"/>
              </a:spcAft>
              <a:buClrTx/>
              <a:buSzTx/>
              <a:buFontTx/>
              <a:buNone/>
              <a:tabLst/>
              <a:defRPr/>
            </a:pPr>
            <a:r>
              <a:rPr kumimoji="0" sz="1412" b="1" i="0" u="none" strike="noStrike" kern="0" cap="none" spc="0" normalizeH="0" baseline="0" noProof="0">
                <a:ln>
                  <a:noFill/>
                </a:ln>
                <a:solidFill>
                  <a:sysClr val="windowText" lastClr="000000"/>
                </a:solidFill>
                <a:effectLst/>
                <a:uLnTx/>
                <a:uFillTx/>
                <a:latin typeface="Calibri"/>
                <a:ea typeface="+mn-ea"/>
                <a:cs typeface="Calibri"/>
              </a:rPr>
              <a:t>In</a:t>
            </a:r>
            <a:r>
              <a:rPr kumimoji="0" sz="1412" b="1" i="0" u="none" strike="noStrike" kern="0" cap="none" spc="18" normalizeH="0" baseline="0" noProof="0">
                <a:ln>
                  <a:noFill/>
                </a:ln>
                <a:solidFill>
                  <a:sysClr val="windowText" lastClr="000000"/>
                </a:solidFill>
                <a:effectLst/>
                <a:uLnTx/>
                <a:uFillTx/>
                <a:latin typeface="Calibri"/>
                <a:ea typeface="+mn-ea"/>
                <a:cs typeface="Calibri"/>
              </a:rPr>
              <a:t> </a:t>
            </a:r>
            <a:r>
              <a:rPr kumimoji="0" sz="1412" b="1" i="0" u="none" strike="noStrike" kern="0" cap="none" spc="44" normalizeH="0" baseline="0" noProof="0">
                <a:ln>
                  <a:noFill/>
                </a:ln>
                <a:solidFill>
                  <a:sysClr val="windowText" lastClr="000000"/>
                </a:solidFill>
                <a:effectLst/>
                <a:uLnTx/>
                <a:uFillTx/>
                <a:latin typeface="Calibri"/>
                <a:ea typeface="+mn-ea"/>
                <a:cs typeface="Calibri"/>
              </a:rPr>
              <a:t>the</a:t>
            </a:r>
            <a:r>
              <a:rPr kumimoji="0" sz="1412" b="1" i="0" u="none" strike="noStrike" kern="0" cap="none" spc="18" normalizeH="0" baseline="0" noProof="0">
                <a:ln>
                  <a:noFill/>
                </a:ln>
                <a:solidFill>
                  <a:sysClr val="windowText" lastClr="000000"/>
                </a:solidFill>
                <a:effectLst/>
                <a:uLnTx/>
                <a:uFillTx/>
                <a:latin typeface="Calibri"/>
                <a:ea typeface="+mn-ea"/>
                <a:cs typeface="Calibri"/>
              </a:rPr>
              <a:t> </a:t>
            </a:r>
            <a:r>
              <a:rPr kumimoji="0" sz="1412" b="1" i="0" u="none" strike="noStrike" kern="0" cap="none" spc="40" normalizeH="0" baseline="0" noProof="0">
                <a:ln>
                  <a:noFill/>
                </a:ln>
                <a:solidFill>
                  <a:sysClr val="windowText" lastClr="000000"/>
                </a:solidFill>
                <a:effectLst/>
                <a:uLnTx/>
                <a:uFillTx/>
                <a:latin typeface="Calibri"/>
                <a:ea typeface="+mn-ea"/>
                <a:cs typeface="Calibri"/>
              </a:rPr>
              <a:t>community</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1206" marR="19611" lvl="0" indent="0" algn="l" defTabSz="806867" rtl="0" eaLnBrk="1" fontAlgn="auto" latinLnBrk="0" hangingPunct="1">
              <a:lnSpc>
                <a:spcPct val="100000"/>
              </a:lnSpc>
              <a:spcBef>
                <a:spcPts val="247"/>
              </a:spcBef>
              <a:spcAft>
                <a:spcPts val="0"/>
              </a:spcAft>
              <a:buClrTx/>
              <a:buSzTx/>
              <a:buFontTx/>
              <a:buNone/>
              <a:tabLst/>
              <a:defRPr/>
            </a:pPr>
            <a:r>
              <a:rPr kumimoji="0" sz="882" b="0" i="0" u="none" strike="noStrike" kern="0" cap="none" spc="0" normalizeH="0" baseline="0" noProof="0">
                <a:ln>
                  <a:noFill/>
                </a:ln>
                <a:solidFill>
                  <a:sysClr val="windowText" lastClr="000000"/>
                </a:solidFill>
                <a:effectLst/>
                <a:uLnTx/>
                <a:uFillTx/>
                <a:latin typeface="Calibri"/>
                <a:ea typeface="+mn-ea"/>
                <a:cs typeface="Calibri"/>
              </a:rPr>
              <a:t>Air</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Canada</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has </a:t>
            </a:r>
            <a:r>
              <a:rPr kumimoji="0" sz="882" b="0" i="0" u="none" strike="noStrike" kern="0" cap="none" spc="-9" normalizeH="0" baseline="0" noProof="0">
                <a:ln>
                  <a:noFill/>
                </a:ln>
                <a:solidFill>
                  <a:sysClr val="windowText" lastClr="000000"/>
                </a:solidFill>
                <a:effectLst/>
                <a:uLnTx/>
                <a:uFillTx/>
                <a:latin typeface="Calibri"/>
                <a:ea typeface="+mn-ea"/>
                <a:cs typeface="Calibri"/>
              </a:rPr>
              <a:t>been</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part </a:t>
            </a:r>
            <a:r>
              <a:rPr kumimoji="0" sz="882" b="0" i="0" u="none" strike="noStrike" kern="0" cap="none" spc="-22" normalizeH="0" baseline="0" noProof="0">
                <a:ln>
                  <a:noFill/>
                </a:ln>
                <a:solidFill>
                  <a:sysClr val="windowText" lastClr="000000"/>
                </a:solidFill>
                <a:effectLst/>
                <a:uLnTx/>
                <a:uFillTx/>
                <a:latin typeface="Calibri"/>
                <a:ea typeface="+mn-ea"/>
                <a:cs typeface="Calibri"/>
              </a:rPr>
              <a:t>of</a:t>
            </a:r>
            <a:r>
              <a:rPr kumimoji="0" sz="882" b="0" i="0" u="none" strike="noStrike" kern="0" cap="none" spc="441"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Canadians’</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lives</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and</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given</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back</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to </a:t>
            </a:r>
            <a:r>
              <a:rPr kumimoji="0" sz="882" b="0" i="0" u="none" strike="noStrike" kern="0" cap="none" spc="0" normalizeH="0" baseline="0" noProof="0">
                <a:ln>
                  <a:noFill/>
                </a:ln>
                <a:solidFill>
                  <a:sysClr val="windowText" lastClr="000000"/>
                </a:solidFill>
                <a:effectLst/>
                <a:uLnTx/>
                <a:uFillTx/>
                <a:latin typeface="Calibri"/>
                <a:ea typeface="+mn-ea"/>
                <a:cs typeface="Calibri"/>
              </a:rPr>
              <a:t>communities</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across</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Canada</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for</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over </a:t>
            </a:r>
            <a:r>
              <a:rPr kumimoji="0" sz="882" b="0" i="0" u="none" strike="noStrike" kern="0" cap="none" spc="49" normalizeH="0" baseline="0" noProof="0">
                <a:ln>
                  <a:noFill/>
                </a:ln>
                <a:solidFill>
                  <a:sysClr val="windowText" lastClr="000000"/>
                </a:solidFill>
                <a:effectLst/>
                <a:uLnTx/>
                <a:uFillTx/>
                <a:latin typeface="Calibri"/>
                <a:ea typeface="+mn-ea"/>
                <a:cs typeface="Calibri"/>
              </a:rPr>
              <a:t>80</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years.</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Established</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as</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a</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registered </a:t>
            </a:r>
            <a:r>
              <a:rPr kumimoji="0" sz="882" b="0" i="0" u="none" strike="noStrike" kern="0" cap="none" spc="0" normalizeH="0" baseline="0" noProof="0">
                <a:ln>
                  <a:noFill/>
                </a:ln>
                <a:solidFill>
                  <a:sysClr val="windowText" lastClr="000000"/>
                </a:solidFill>
                <a:effectLst/>
                <a:uLnTx/>
                <a:uFillTx/>
                <a:latin typeface="Calibri"/>
                <a:ea typeface="+mn-ea"/>
                <a:cs typeface="Calibri"/>
              </a:rPr>
              <a:t>charitable</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organization</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in</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2012,</a:t>
            </a:r>
            <a:r>
              <a:rPr kumimoji="0" sz="882" b="0" i="0" u="none" strike="noStrike" kern="0" cap="none" spc="-22" normalizeH="0" baseline="0" noProof="0">
                <a:ln>
                  <a:noFill/>
                </a:ln>
                <a:solidFill>
                  <a:sysClr val="windowText" lastClr="000000"/>
                </a:solidFill>
                <a:effectLst/>
                <a:uLnTx/>
                <a:uFillTx/>
                <a:latin typeface="Calibri"/>
                <a:ea typeface="+mn-ea"/>
                <a:cs typeface="Calibri"/>
              </a:rPr>
              <a:t> the</a:t>
            </a:r>
            <a:r>
              <a:rPr kumimoji="0" sz="882" b="0" i="0" u="none" strike="noStrike" kern="0" cap="none" spc="441"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Air Canada </a:t>
            </a:r>
            <a:r>
              <a:rPr kumimoji="0" sz="882" b="0" i="0" u="none" strike="noStrike" kern="0" cap="none" spc="-9" normalizeH="0" baseline="0" noProof="0">
                <a:ln>
                  <a:noFill/>
                </a:ln>
                <a:solidFill>
                  <a:sysClr val="windowText" lastClr="000000"/>
                </a:solidFill>
                <a:effectLst/>
                <a:uLnTx/>
                <a:uFillTx/>
                <a:latin typeface="Calibri"/>
                <a:ea typeface="+mn-ea"/>
                <a:cs typeface="Calibri"/>
              </a:rPr>
              <a:t>Foundation’s</a:t>
            </a:r>
            <a:r>
              <a:rPr kumimoji="0" sz="882" b="0" i="0" u="none" strike="noStrike" kern="0" cap="none" spc="0" normalizeH="0" baseline="0" noProof="0">
                <a:ln>
                  <a:noFill/>
                </a:ln>
                <a:solidFill>
                  <a:sysClr val="windowText" lastClr="000000"/>
                </a:solidFill>
                <a:effectLst/>
                <a:uLnTx/>
                <a:uFillTx/>
                <a:latin typeface="Calibri"/>
                <a:ea typeface="+mn-ea"/>
                <a:cs typeface="Calibri"/>
              </a:rPr>
              <a:t> mission </a:t>
            </a:r>
            <a:r>
              <a:rPr kumimoji="0" sz="882" b="0" i="0" u="none" strike="noStrike" kern="0" cap="none" spc="-22" normalizeH="0" baseline="0" noProof="0">
                <a:ln>
                  <a:noFill/>
                </a:ln>
                <a:solidFill>
                  <a:sysClr val="windowText" lastClr="000000"/>
                </a:solidFill>
                <a:effectLst/>
                <a:uLnTx/>
                <a:uFillTx/>
                <a:latin typeface="Calibri"/>
                <a:ea typeface="+mn-ea"/>
                <a:cs typeface="Calibri"/>
              </a:rPr>
              <a:t>is </a:t>
            </a:r>
            <a:r>
              <a:rPr kumimoji="0" sz="882" b="0" i="0" u="none" strike="noStrike" kern="0" cap="none" spc="0" normalizeH="0" baseline="0" noProof="0">
                <a:ln>
                  <a:noFill/>
                </a:ln>
                <a:solidFill>
                  <a:sysClr val="windowText" lastClr="000000"/>
                </a:solidFill>
                <a:effectLst/>
                <a:uLnTx/>
                <a:uFillTx/>
                <a:latin typeface="Calibri"/>
                <a:ea typeface="+mn-ea"/>
                <a:cs typeface="Calibri"/>
              </a:rPr>
              <a:t>focused</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on</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the</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health</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and</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well-</a:t>
            </a:r>
            <a:r>
              <a:rPr kumimoji="0" sz="882" b="0" i="0" u="none" strike="noStrike" kern="0" cap="none" spc="-9" normalizeH="0" baseline="0" noProof="0">
                <a:ln>
                  <a:noFill/>
                </a:ln>
                <a:solidFill>
                  <a:sysClr val="windowText" lastClr="000000"/>
                </a:solidFill>
                <a:effectLst/>
                <a:uLnTx/>
                <a:uFillTx/>
                <a:latin typeface="Calibri"/>
                <a:ea typeface="+mn-ea"/>
                <a:cs typeface="Calibri"/>
              </a:rPr>
              <a:t>being </a:t>
            </a:r>
            <a:r>
              <a:rPr kumimoji="0" sz="882" b="0" i="0" u="none" strike="noStrike" kern="0" cap="none" spc="0" normalizeH="0" baseline="0" noProof="0">
                <a:ln>
                  <a:noFill/>
                </a:ln>
                <a:solidFill>
                  <a:sysClr val="windowText" lastClr="000000"/>
                </a:solidFill>
                <a:effectLst/>
                <a:uLnTx/>
                <a:uFillTx/>
                <a:latin typeface="Calibri"/>
                <a:ea typeface="+mn-ea"/>
                <a:cs typeface="Calibri"/>
              </a:rPr>
              <a:t>of</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children</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and</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youth</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in</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Canada</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and</a:t>
            </a:r>
            <a:r>
              <a:rPr kumimoji="0" sz="882" b="0" i="0" u="none" strike="noStrike" kern="0" cap="none" spc="441"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on</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helping</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connect</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sick</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children</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to</a:t>
            </a:r>
            <a:r>
              <a:rPr kumimoji="0" sz="882" b="0" i="0" u="none" strike="noStrike" kern="0" cap="none" spc="441"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the</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medical</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care</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they</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need </a:t>
            </a:r>
            <a:r>
              <a:rPr kumimoji="0" sz="882" b="0" i="0" u="none" strike="noStrike" kern="0" cap="none" spc="0" normalizeH="0" baseline="0" noProof="0">
                <a:ln>
                  <a:noFill/>
                </a:ln>
                <a:solidFill>
                  <a:sysClr val="windowText" lastClr="000000"/>
                </a:solidFill>
                <a:effectLst/>
                <a:uLnTx/>
                <a:uFillTx/>
                <a:latin typeface="Calibri"/>
                <a:ea typeface="+mn-ea"/>
                <a:cs typeface="Calibri"/>
              </a:rPr>
              <a:t>away</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from </a:t>
            </a:r>
            <a:r>
              <a:rPr kumimoji="0" sz="882" b="0" i="0" u="none" strike="noStrike" kern="0" cap="none" spc="0" normalizeH="0" baseline="0" noProof="0">
                <a:ln>
                  <a:noFill/>
                </a:ln>
                <a:solidFill>
                  <a:sysClr val="windowText" lastClr="000000"/>
                </a:solidFill>
                <a:effectLst/>
                <a:uLnTx/>
                <a:uFillTx/>
                <a:latin typeface="Calibri"/>
                <a:ea typeface="+mn-ea"/>
                <a:cs typeface="Calibri"/>
              </a:rPr>
              <a:t>home,</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granting</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children’s</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wishes</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and </a:t>
            </a:r>
            <a:r>
              <a:rPr kumimoji="0" sz="882" b="0" i="0" u="none" strike="noStrike" kern="0" cap="none" spc="0" normalizeH="0" baseline="0" noProof="0">
                <a:ln>
                  <a:noFill/>
                </a:ln>
                <a:solidFill>
                  <a:sysClr val="windowText" lastClr="000000"/>
                </a:solidFill>
                <a:effectLst/>
                <a:uLnTx/>
                <a:uFillTx/>
                <a:latin typeface="Calibri"/>
                <a:ea typeface="+mn-ea"/>
                <a:cs typeface="Calibri"/>
              </a:rPr>
              <a:t>alleviating</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child </a:t>
            </a:r>
            <a:r>
              <a:rPr kumimoji="0" sz="882" b="0" i="0" u="none" strike="noStrike" kern="0" cap="none" spc="-9" normalizeH="0" baseline="0" noProof="0">
                <a:ln>
                  <a:noFill/>
                </a:ln>
                <a:solidFill>
                  <a:sysClr val="windowText" lastClr="000000"/>
                </a:solidFill>
                <a:effectLst/>
                <a:uLnTx/>
                <a:uFillTx/>
                <a:latin typeface="Calibri"/>
                <a:ea typeface="+mn-ea"/>
                <a:cs typeface="Calibri"/>
              </a:rPr>
              <a:t>poverty.</a:t>
            </a: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a:p>
            <a:pPr marL="11206" marR="243741" lvl="0" indent="0" algn="l" defTabSz="806867" rtl="0" eaLnBrk="1" fontAlgn="auto" latinLnBrk="0" hangingPunct="1">
              <a:lnSpc>
                <a:spcPct val="100000"/>
              </a:lnSpc>
              <a:spcBef>
                <a:spcPts val="529"/>
              </a:spcBef>
              <a:spcAft>
                <a:spcPts val="0"/>
              </a:spcAft>
              <a:buClrTx/>
              <a:buSzTx/>
              <a:buFontTx/>
              <a:buNone/>
              <a:tabLst/>
              <a:defRPr/>
            </a:pPr>
            <a:r>
              <a:rPr kumimoji="0" sz="882" b="0" i="0" u="none" strike="noStrike" kern="0" cap="none" spc="0" normalizeH="0" baseline="0" noProof="0">
                <a:ln>
                  <a:noFill/>
                </a:ln>
                <a:solidFill>
                  <a:sysClr val="windowText" lastClr="000000"/>
                </a:solidFill>
                <a:effectLst/>
                <a:uLnTx/>
                <a:uFillTx/>
                <a:latin typeface="Calibri"/>
                <a:ea typeface="+mn-ea"/>
                <a:cs typeface="Calibri"/>
              </a:rPr>
              <a:t>The</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Foundation</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works</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towards</a:t>
            </a:r>
            <a:r>
              <a:rPr kumimoji="0" sz="882" b="0" i="0" u="none" strike="noStrike" kern="0" cap="none" spc="0"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its </a:t>
            </a:r>
            <a:r>
              <a:rPr kumimoji="0" sz="882" b="0" i="0" u="none" strike="noStrike" kern="0" cap="none" spc="-9" normalizeH="0" baseline="0" noProof="0">
                <a:ln>
                  <a:noFill/>
                </a:ln>
                <a:solidFill>
                  <a:sysClr val="windowText" lastClr="000000"/>
                </a:solidFill>
                <a:effectLst/>
                <a:uLnTx/>
                <a:uFillTx/>
                <a:latin typeface="Calibri"/>
                <a:ea typeface="+mn-ea"/>
                <a:cs typeface="Calibri"/>
              </a:rPr>
              <a:t>mission </a:t>
            </a:r>
            <a:r>
              <a:rPr kumimoji="0" sz="882" b="0" i="0" u="none" strike="noStrike" kern="0" cap="none" spc="-22" normalizeH="0" baseline="0" noProof="0">
                <a:ln>
                  <a:noFill/>
                </a:ln>
                <a:solidFill>
                  <a:sysClr val="windowText" lastClr="000000"/>
                </a:solidFill>
                <a:effectLst/>
                <a:uLnTx/>
                <a:uFillTx/>
                <a:latin typeface="Calibri"/>
                <a:ea typeface="+mn-ea"/>
                <a:cs typeface="Calibri"/>
              </a:rPr>
              <a:t>by:</a:t>
            </a: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a:p>
            <a:pPr marL="78445" marR="5603" lvl="0" indent="-67239" algn="l" defTabSz="806867" rtl="0" eaLnBrk="1" fontAlgn="auto" latinLnBrk="0" hangingPunct="1">
              <a:lnSpc>
                <a:spcPct val="100000"/>
              </a:lnSpc>
              <a:spcBef>
                <a:spcPts val="0"/>
              </a:spcBef>
              <a:spcAft>
                <a:spcPts val="0"/>
              </a:spcAft>
              <a:buClrTx/>
              <a:buSzTx/>
              <a:buFontTx/>
              <a:buChar char="•"/>
              <a:tabLst>
                <a:tab pos="78445" algn="l"/>
              </a:tabLst>
              <a:defRPr/>
            </a:pPr>
            <a:r>
              <a:rPr kumimoji="0" sz="882" b="0" i="0" u="none" strike="noStrike" kern="0" cap="none" spc="0" normalizeH="0" baseline="0" noProof="0">
                <a:ln>
                  <a:noFill/>
                </a:ln>
                <a:solidFill>
                  <a:sysClr val="windowText" lastClr="000000"/>
                </a:solidFill>
                <a:effectLst/>
                <a:uLnTx/>
                <a:uFillTx/>
                <a:latin typeface="Calibri"/>
                <a:ea typeface="+mn-ea"/>
                <a:cs typeface="Calibri"/>
              </a:rPr>
              <a:t>Offering</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financial</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and</a:t>
            </a:r>
            <a:r>
              <a:rPr kumimoji="0" sz="882" b="0" i="0" u="none" strike="noStrike" kern="0" cap="none" spc="0" normalizeH="0" baseline="0" noProof="0">
                <a:ln>
                  <a:noFill/>
                </a:ln>
                <a:solidFill>
                  <a:sysClr val="windowText" lastClr="000000"/>
                </a:solidFill>
                <a:effectLst/>
                <a:uLnTx/>
                <a:uFillTx/>
                <a:latin typeface="Calibri"/>
                <a:ea typeface="+mn-ea"/>
                <a:cs typeface="Calibri"/>
              </a:rPr>
              <a:t> in-</a:t>
            </a:r>
            <a:r>
              <a:rPr kumimoji="0" sz="882" b="0" i="0" u="none" strike="noStrike" kern="0" cap="none" spc="-9" normalizeH="0" baseline="0" noProof="0">
                <a:ln>
                  <a:noFill/>
                </a:ln>
                <a:solidFill>
                  <a:sysClr val="windowText" lastClr="000000"/>
                </a:solidFill>
                <a:effectLst/>
                <a:uLnTx/>
                <a:uFillTx/>
                <a:latin typeface="Calibri"/>
                <a:ea typeface="+mn-ea"/>
                <a:cs typeface="Calibri"/>
              </a:rPr>
              <a:t>kind</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support </a:t>
            </a:r>
            <a:r>
              <a:rPr kumimoji="0" sz="882" b="0" i="0" u="none" strike="noStrike" kern="0" cap="none" spc="0" normalizeH="0" baseline="0" noProof="0">
                <a:ln>
                  <a:noFill/>
                </a:ln>
                <a:solidFill>
                  <a:sysClr val="windowText" lastClr="000000"/>
                </a:solidFill>
                <a:effectLst/>
                <a:uLnTx/>
                <a:uFillTx/>
                <a:latin typeface="Calibri"/>
                <a:ea typeface="+mn-ea"/>
                <a:cs typeface="Calibri"/>
              </a:rPr>
              <a:t>to</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Canadian</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registered</a:t>
            </a:r>
            <a:r>
              <a:rPr kumimoji="0" sz="882" b="0" i="0" u="none" strike="noStrike" kern="0" cap="none" spc="-9" normalizeH="0" baseline="0" noProof="0">
                <a:ln>
                  <a:noFill/>
                </a:ln>
                <a:solidFill>
                  <a:sysClr val="windowText" lastClr="000000"/>
                </a:solidFill>
                <a:effectLst/>
                <a:uLnTx/>
                <a:uFillTx/>
                <a:latin typeface="Calibri"/>
                <a:ea typeface="+mn-ea"/>
                <a:cs typeface="Calibri"/>
              </a:rPr>
              <a:t> charities.</a:t>
            </a: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a:p>
            <a:pPr marL="78445" marR="0" lvl="0" indent="-67239" algn="l" defTabSz="806867" rtl="0" eaLnBrk="1" fontAlgn="auto" latinLnBrk="0" hangingPunct="1">
              <a:lnSpc>
                <a:spcPct val="100000"/>
              </a:lnSpc>
              <a:spcBef>
                <a:spcPts val="0"/>
              </a:spcBef>
              <a:spcAft>
                <a:spcPts val="0"/>
              </a:spcAft>
              <a:buClrTx/>
              <a:buSzTx/>
              <a:buFontTx/>
              <a:buChar char="•"/>
              <a:tabLst>
                <a:tab pos="78445" algn="l"/>
              </a:tabLst>
              <a:defRPr/>
            </a:pPr>
            <a:r>
              <a:rPr kumimoji="0" sz="882" b="0" i="0" u="none" strike="noStrike" kern="0" cap="none" spc="0" normalizeH="0" baseline="0" noProof="0">
                <a:ln>
                  <a:noFill/>
                </a:ln>
                <a:solidFill>
                  <a:sysClr val="windowText" lastClr="000000"/>
                </a:solidFill>
                <a:effectLst/>
                <a:uLnTx/>
                <a:uFillTx/>
                <a:latin typeface="Calibri"/>
                <a:ea typeface="+mn-ea"/>
                <a:cs typeface="Calibri"/>
              </a:rPr>
              <a:t>Donating</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Aeroplan</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points</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to</a:t>
            </a: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a:p>
            <a:pPr marL="78445" marR="4483" lvl="0" indent="0" algn="l" defTabSz="806867" rtl="0" eaLnBrk="1" fontAlgn="auto" latinLnBrk="0" hangingPunct="1">
              <a:lnSpc>
                <a:spcPct val="100000"/>
              </a:lnSpc>
              <a:spcBef>
                <a:spcPts val="0"/>
              </a:spcBef>
              <a:spcAft>
                <a:spcPts val="0"/>
              </a:spcAft>
              <a:buClrTx/>
              <a:buSzTx/>
              <a:buFontTx/>
              <a:buNone/>
              <a:tabLst/>
              <a:defRPr/>
            </a:pPr>
            <a:r>
              <a:rPr kumimoji="0" sz="882" b="0" i="0" u="none" strike="noStrike" kern="0" cap="none" spc="-44" normalizeH="0" baseline="0" noProof="0">
                <a:ln>
                  <a:noFill/>
                </a:ln>
                <a:solidFill>
                  <a:sysClr val="windowText" lastClr="000000"/>
                </a:solidFill>
                <a:effectLst/>
                <a:uLnTx/>
                <a:uFillTx/>
                <a:latin typeface="Calibri"/>
                <a:ea typeface="+mn-ea"/>
                <a:cs typeface="Calibri"/>
              </a:rPr>
              <a:t>15</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paediatric</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hospitals</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across</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Canada, enabling</a:t>
            </a:r>
            <a:r>
              <a:rPr kumimoji="0" sz="882" b="0" i="0" u="none" strike="noStrike" kern="0" cap="none" spc="-31"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children</a:t>
            </a:r>
            <a:r>
              <a:rPr kumimoji="0" sz="882" b="0" i="0" u="none" strike="noStrike" kern="0" cap="none" spc="-31"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to</a:t>
            </a:r>
            <a:r>
              <a:rPr kumimoji="0" sz="882" b="0" i="0" u="none" strike="noStrike" kern="0" cap="none" spc="-31"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access</a:t>
            </a:r>
            <a:r>
              <a:rPr kumimoji="0" sz="882" b="0" i="0" u="none" strike="noStrike" kern="0" cap="none" spc="-31"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the </a:t>
            </a:r>
            <a:r>
              <a:rPr kumimoji="0" sz="882" b="0" i="0" u="none" strike="noStrike" kern="0" cap="none" spc="-9" normalizeH="0" baseline="0" noProof="0">
                <a:ln>
                  <a:noFill/>
                </a:ln>
                <a:solidFill>
                  <a:sysClr val="windowText" lastClr="000000"/>
                </a:solidFill>
                <a:effectLst/>
                <a:uLnTx/>
                <a:uFillTx/>
                <a:latin typeface="Calibri"/>
                <a:ea typeface="+mn-ea"/>
                <a:cs typeface="Calibri"/>
              </a:rPr>
              <a:t>medical</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care</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they</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need</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away</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from </a:t>
            </a:r>
            <a:r>
              <a:rPr kumimoji="0" sz="882" b="0" i="0" u="none" strike="noStrike" kern="0" cap="none" spc="-9" normalizeH="0" baseline="0" noProof="0">
                <a:ln>
                  <a:noFill/>
                </a:ln>
                <a:solidFill>
                  <a:sysClr val="windowText" lastClr="000000"/>
                </a:solidFill>
                <a:effectLst/>
                <a:uLnTx/>
                <a:uFillTx/>
                <a:latin typeface="Calibri"/>
                <a:ea typeface="+mn-ea"/>
                <a:cs typeface="Calibri"/>
              </a:rPr>
              <a:t>home.</a:t>
            </a: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a:p>
            <a:pPr marL="78445" marR="61636" lvl="0" indent="-67239" algn="l" defTabSz="806867" rtl="0" eaLnBrk="1" fontAlgn="auto" latinLnBrk="0" hangingPunct="1">
              <a:lnSpc>
                <a:spcPct val="100000"/>
              </a:lnSpc>
              <a:spcBef>
                <a:spcPts val="0"/>
              </a:spcBef>
              <a:spcAft>
                <a:spcPts val="0"/>
              </a:spcAft>
              <a:buClrTx/>
              <a:buSzTx/>
              <a:buFontTx/>
              <a:buChar char="•"/>
              <a:tabLst>
                <a:tab pos="78445" algn="l"/>
              </a:tabLst>
              <a:defRPr/>
            </a:pPr>
            <a:r>
              <a:rPr kumimoji="0" sz="882" b="0" i="0" u="none" strike="noStrike" kern="0" cap="none" spc="-9" normalizeH="0" baseline="0" noProof="0">
                <a:ln>
                  <a:noFill/>
                </a:ln>
                <a:solidFill>
                  <a:sysClr val="windowText" lastClr="000000"/>
                </a:solidFill>
                <a:effectLst/>
                <a:uLnTx/>
                <a:uFillTx/>
                <a:latin typeface="Calibri"/>
                <a:ea typeface="+mn-ea"/>
                <a:cs typeface="Calibri"/>
              </a:rPr>
              <a:t>Supporting</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employees’</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philanthropy </a:t>
            </a:r>
            <a:r>
              <a:rPr kumimoji="0" sz="882" b="0" i="0" u="none" strike="noStrike" kern="0" cap="none" spc="0" normalizeH="0" baseline="0" noProof="0">
                <a:ln>
                  <a:noFill/>
                </a:ln>
                <a:solidFill>
                  <a:sysClr val="windowText" lastClr="000000"/>
                </a:solidFill>
                <a:effectLst/>
                <a:uLnTx/>
                <a:uFillTx/>
                <a:latin typeface="Calibri"/>
                <a:ea typeface="+mn-ea"/>
                <a:cs typeface="Calibri"/>
              </a:rPr>
              <a:t>in</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their</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local</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communities</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by </a:t>
            </a:r>
            <a:r>
              <a:rPr kumimoji="0" sz="882" b="0" i="0" u="none" strike="noStrike" kern="0" cap="none" spc="-18" normalizeH="0" baseline="0" noProof="0">
                <a:ln>
                  <a:noFill/>
                </a:ln>
                <a:solidFill>
                  <a:sysClr val="windowText" lastClr="000000"/>
                </a:solidFill>
                <a:effectLst/>
                <a:uLnTx/>
                <a:uFillTx/>
                <a:latin typeface="Calibri"/>
                <a:ea typeface="+mn-ea"/>
                <a:cs typeface="Calibri"/>
              </a:rPr>
              <a:t>providing</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airline</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tickets</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for</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charity fundraising.</a:t>
            </a: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a:p>
            <a:pPr marL="78445" marR="17930" lvl="0" indent="-67239" algn="l" defTabSz="806867" rtl="0" eaLnBrk="1" fontAlgn="auto" latinLnBrk="0" hangingPunct="1">
              <a:lnSpc>
                <a:spcPct val="100000"/>
              </a:lnSpc>
              <a:spcBef>
                <a:spcPts val="0"/>
              </a:spcBef>
              <a:spcAft>
                <a:spcPts val="0"/>
              </a:spcAft>
              <a:buClrTx/>
              <a:buSzTx/>
              <a:buFontTx/>
              <a:buChar char="•"/>
              <a:tabLst>
                <a:tab pos="78445" algn="l"/>
              </a:tabLst>
              <a:defRPr/>
            </a:pPr>
            <a:r>
              <a:rPr kumimoji="0" sz="882" b="0" i="0" u="none" strike="noStrike" kern="0" cap="none" spc="-9" normalizeH="0" baseline="0" noProof="0">
                <a:ln>
                  <a:noFill/>
                </a:ln>
                <a:solidFill>
                  <a:sysClr val="windowText" lastClr="000000"/>
                </a:solidFill>
                <a:effectLst/>
                <a:uLnTx/>
                <a:uFillTx/>
                <a:latin typeface="Calibri"/>
                <a:ea typeface="+mn-ea"/>
                <a:cs typeface="Calibri"/>
              </a:rPr>
              <a:t>Raising</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funds</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through</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its</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Every </a:t>
            </a:r>
            <a:r>
              <a:rPr kumimoji="0" sz="882" b="0" i="0" u="none" strike="noStrike" kern="0" cap="none" spc="-22" normalizeH="0" baseline="0" noProof="0">
                <a:ln>
                  <a:noFill/>
                </a:ln>
                <a:solidFill>
                  <a:sysClr val="windowText" lastClr="000000"/>
                </a:solidFill>
                <a:effectLst/>
                <a:uLnTx/>
                <a:uFillTx/>
                <a:latin typeface="Calibri"/>
                <a:ea typeface="+mn-ea"/>
                <a:cs typeface="Calibri"/>
              </a:rPr>
              <a:t>Bit </a:t>
            </a:r>
            <a:r>
              <a:rPr kumimoji="0" sz="882" b="0" i="0" u="none" strike="noStrike" kern="0" cap="none" spc="0" normalizeH="0" baseline="0" noProof="0">
                <a:ln>
                  <a:noFill/>
                </a:ln>
                <a:solidFill>
                  <a:sysClr val="windowText" lastClr="000000"/>
                </a:solidFill>
                <a:effectLst/>
                <a:uLnTx/>
                <a:uFillTx/>
                <a:latin typeface="Calibri"/>
                <a:ea typeface="+mn-ea"/>
                <a:cs typeface="Calibri"/>
              </a:rPr>
              <a:t>Counts</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program,</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which</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encourages customers</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to</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donate</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spare</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change</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of </a:t>
            </a:r>
            <a:r>
              <a:rPr kumimoji="0" sz="882" b="0" i="0" u="none" strike="noStrike" kern="0" cap="none" spc="0" normalizeH="0" baseline="0" noProof="0">
                <a:ln>
                  <a:noFill/>
                </a:ln>
                <a:solidFill>
                  <a:sysClr val="windowText" lastClr="000000"/>
                </a:solidFill>
                <a:effectLst/>
                <a:uLnTx/>
                <a:uFillTx/>
                <a:latin typeface="Calibri"/>
                <a:ea typeface="+mn-ea"/>
                <a:cs typeface="Calibri"/>
              </a:rPr>
              <a:t>any</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denomination</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on</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board</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flights</a:t>
            </a:r>
            <a:r>
              <a:rPr kumimoji="0" sz="882" b="0" i="0" u="none" strike="noStrike" kern="0" cap="none" spc="-4"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or </a:t>
            </a:r>
            <a:r>
              <a:rPr kumimoji="0" sz="882" b="0" i="0" u="none" strike="noStrike" kern="0" cap="none" spc="-9" normalizeH="0" baseline="0" noProof="0">
                <a:ln>
                  <a:noFill/>
                </a:ln>
                <a:solidFill>
                  <a:sysClr val="windowText" lastClr="000000"/>
                </a:solidFill>
                <a:effectLst/>
                <a:uLnTx/>
                <a:uFillTx/>
                <a:latin typeface="Calibri"/>
                <a:ea typeface="+mn-ea"/>
                <a:cs typeface="Calibri"/>
              </a:rPr>
              <a:t>through</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airport</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collection</a:t>
            </a:r>
            <a:r>
              <a:rPr kumimoji="0" sz="882" b="0" i="0" u="none" strike="noStrike" kern="0" cap="none" spc="9"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containers.</a:t>
            </a: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a:p>
            <a:pPr marL="78445" marR="118228" lvl="0" indent="-67239" algn="just" defTabSz="806867" rtl="0" eaLnBrk="1" fontAlgn="auto" latinLnBrk="0" hangingPunct="1">
              <a:lnSpc>
                <a:spcPct val="100000"/>
              </a:lnSpc>
              <a:spcBef>
                <a:spcPts val="0"/>
              </a:spcBef>
              <a:spcAft>
                <a:spcPts val="0"/>
              </a:spcAft>
              <a:buClrTx/>
              <a:buSzTx/>
              <a:buFontTx/>
              <a:buChar char="•"/>
              <a:tabLst>
                <a:tab pos="78445" algn="l"/>
              </a:tabLst>
              <a:defRPr/>
            </a:pPr>
            <a:r>
              <a:rPr kumimoji="0" sz="882" b="0" i="0" u="none" strike="noStrike" kern="0" cap="none" spc="0" normalizeH="0" baseline="0" noProof="0">
                <a:ln>
                  <a:noFill/>
                </a:ln>
                <a:solidFill>
                  <a:sysClr val="windowText" lastClr="000000"/>
                </a:solidFill>
                <a:effectLst/>
                <a:uLnTx/>
                <a:uFillTx/>
                <a:latin typeface="Calibri"/>
                <a:ea typeface="+mn-ea"/>
                <a:cs typeface="Calibri"/>
              </a:rPr>
              <a:t>Holding</a:t>
            </a:r>
            <a:r>
              <a:rPr kumimoji="0" sz="882" b="0" i="0" u="none" strike="noStrike" kern="0" cap="none" spc="-31"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an</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annual</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golf</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tournament </a:t>
            </a:r>
            <a:r>
              <a:rPr kumimoji="0" sz="882" b="0" i="0" u="none" strike="noStrike" kern="0" cap="none" spc="0" normalizeH="0" baseline="0" noProof="0">
                <a:ln>
                  <a:noFill/>
                </a:ln>
                <a:solidFill>
                  <a:sysClr val="windowText" lastClr="000000"/>
                </a:solidFill>
                <a:effectLst/>
                <a:uLnTx/>
                <a:uFillTx/>
                <a:latin typeface="Calibri"/>
                <a:ea typeface="+mn-ea"/>
                <a:cs typeface="Calibri"/>
              </a:rPr>
              <a:t>to</a:t>
            </a:r>
            <a:r>
              <a:rPr kumimoji="0" sz="882" b="0" i="0" u="none" strike="noStrike" kern="0" cap="none" spc="-18" normalizeH="0" baseline="0" noProof="0">
                <a:ln>
                  <a:noFill/>
                </a:ln>
                <a:solidFill>
                  <a:sysClr val="windowText" lastClr="000000"/>
                </a:solidFill>
                <a:effectLst/>
                <a:uLnTx/>
                <a:uFillTx/>
                <a:latin typeface="Calibri"/>
                <a:ea typeface="+mn-ea"/>
                <a:cs typeface="Calibri"/>
              </a:rPr>
              <a:t> raise</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funds;</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its</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ninth</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annual</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golf </a:t>
            </a:r>
            <a:r>
              <a:rPr kumimoji="0" sz="882" b="0" i="0" u="none" strike="noStrike" kern="0" cap="none" spc="-9" normalizeH="0" baseline="0" noProof="0">
                <a:ln>
                  <a:noFill/>
                </a:ln>
                <a:solidFill>
                  <a:sysClr val="windowText" lastClr="000000"/>
                </a:solidFill>
                <a:effectLst/>
                <a:uLnTx/>
                <a:uFillTx/>
                <a:latin typeface="Calibri"/>
                <a:ea typeface="+mn-ea"/>
                <a:cs typeface="Calibri"/>
              </a:rPr>
              <a:t>tournament</a:t>
            </a:r>
            <a:r>
              <a:rPr kumimoji="0" sz="882" b="0" i="0" u="none" strike="noStrike" kern="0" cap="none" spc="-31"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in</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2021</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netted</a:t>
            </a:r>
            <a:r>
              <a:rPr kumimoji="0" sz="882" b="0" i="0" u="none" strike="noStrike" kern="0" cap="none" spc="-26"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over</a:t>
            </a: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a:p>
            <a:pPr marL="78445" marR="193312" lvl="0" indent="0" algn="just" defTabSz="806867" rtl="0" eaLnBrk="1" fontAlgn="auto" latinLnBrk="0" hangingPunct="1">
              <a:lnSpc>
                <a:spcPct val="100000"/>
              </a:lnSpc>
              <a:spcBef>
                <a:spcPts val="0"/>
              </a:spcBef>
              <a:spcAft>
                <a:spcPts val="0"/>
              </a:spcAft>
              <a:buClrTx/>
              <a:buSzTx/>
              <a:buFontTx/>
              <a:buNone/>
              <a:tabLst/>
              <a:defRPr/>
            </a:pPr>
            <a:r>
              <a:rPr kumimoji="0" sz="882" b="0" i="0" u="none" strike="noStrike" kern="0" cap="none" spc="0" normalizeH="0" baseline="0" noProof="0">
                <a:ln>
                  <a:noFill/>
                </a:ln>
                <a:solidFill>
                  <a:sysClr val="windowText" lastClr="000000"/>
                </a:solidFill>
                <a:effectLst/>
                <a:uLnTx/>
                <a:uFillTx/>
                <a:latin typeface="Calibri"/>
                <a:ea typeface="+mn-ea"/>
                <a:cs typeface="Calibri"/>
              </a:rPr>
              <a:t>$765,000</a:t>
            </a:r>
            <a:r>
              <a:rPr kumimoji="0" sz="882" b="0" i="0" u="none" strike="noStrike" kern="0" cap="none" spc="190"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in</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support</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of</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children’s organizations.</a:t>
            </a: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a:p>
            <a:pPr marL="11206" marR="185467" lvl="0" indent="0" algn="l" defTabSz="806867" rtl="0" eaLnBrk="1" fontAlgn="auto" latinLnBrk="0" hangingPunct="1">
              <a:lnSpc>
                <a:spcPct val="100000"/>
              </a:lnSpc>
              <a:spcBef>
                <a:spcPts val="529"/>
              </a:spcBef>
              <a:spcAft>
                <a:spcPts val="0"/>
              </a:spcAft>
              <a:buClrTx/>
              <a:buSzTx/>
              <a:buFontTx/>
              <a:buNone/>
              <a:tabLst/>
              <a:defRPr/>
            </a:pPr>
            <a:r>
              <a:rPr kumimoji="0" sz="882" b="0" i="0" u="none" strike="noStrike" kern="0" cap="none" spc="0" normalizeH="0" baseline="0" noProof="0">
                <a:ln>
                  <a:noFill/>
                </a:ln>
                <a:solidFill>
                  <a:sysClr val="windowText" lastClr="000000"/>
                </a:solidFill>
                <a:effectLst/>
                <a:uLnTx/>
                <a:uFillTx/>
                <a:latin typeface="Calibri"/>
                <a:ea typeface="+mn-ea"/>
                <a:cs typeface="Calibri"/>
              </a:rPr>
              <a:t>The</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Air</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Canada</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Foundation</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also </a:t>
            </a:r>
            <a:r>
              <a:rPr kumimoji="0" sz="882" b="0" i="0" u="none" strike="noStrike" kern="0" cap="none" spc="-9" normalizeH="0" baseline="0" noProof="0">
                <a:ln>
                  <a:noFill/>
                </a:ln>
                <a:solidFill>
                  <a:sysClr val="windowText" lastClr="000000"/>
                </a:solidFill>
                <a:effectLst/>
                <a:uLnTx/>
                <a:uFillTx/>
                <a:latin typeface="Calibri"/>
                <a:ea typeface="+mn-ea"/>
                <a:cs typeface="Calibri"/>
              </a:rPr>
              <a:t>partners</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with</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Canadian</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44" normalizeH="0" baseline="0" noProof="0">
                <a:ln>
                  <a:noFill/>
                </a:ln>
                <a:solidFill>
                  <a:sysClr val="windowText" lastClr="000000"/>
                </a:solidFill>
                <a:effectLst/>
                <a:uLnTx/>
                <a:uFillTx/>
                <a:latin typeface="Calibri"/>
                <a:ea typeface="+mn-ea"/>
                <a:cs typeface="Calibri"/>
              </a:rPr>
              <a:t>NGOs</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in </a:t>
            </a:r>
            <a:r>
              <a:rPr kumimoji="0" sz="882" b="0" i="0" u="none" strike="noStrike" kern="0" cap="none" spc="0" normalizeH="0" baseline="0" noProof="0">
                <a:ln>
                  <a:noFill/>
                </a:ln>
                <a:solidFill>
                  <a:sysClr val="windowText" lastClr="000000"/>
                </a:solidFill>
                <a:effectLst/>
                <a:uLnTx/>
                <a:uFillTx/>
                <a:latin typeface="Calibri"/>
                <a:ea typeface="+mn-ea"/>
                <a:cs typeface="Calibri"/>
              </a:rPr>
              <a:t>times</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of</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disaster,</a:t>
            </a:r>
            <a:r>
              <a:rPr kumimoji="0" sz="882" b="0" i="0" u="none" strike="noStrike" kern="0" cap="none" spc="-13"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both</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locally</a:t>
            </a:r>
            <a:r>
              <a:rPr kumimoji="0" sz="882" b="0" i="0" u="none" strike="noStrike" kern="0" cap="none" spc="-18" normalizeH="0" baseline="0" noProof="0">
                <a:ln>
                  <a:noFill/>
                </a:ln>
                <a:solidFill>
                  <a:sysClr val="windowText" lastClr="000000"/>
                </a:solidFill>
                <a:effectLst/>
                <a:uLnTx/>
                <a:uFillTx/>
                <a:latin typeface="Calibri"/>
                <a:ea typeface="+mn-ea"/>
                <a:cs typeface="Calibri"/>
              </a:rPr>
              <a:t> </a:t>
            </a:r>
            <a:r>
              <a:rPr kumimoji="0" sz="882" b="0" i="0" u="none" strike="noStrike" kern="0" cap="none" spc="-22" normalizeH="0" baseline="0" noProof="0">
                <a:ln>
                  <a:noFill/>
                </a:ln>
                <a:solidFill>
                  <a:sysClr val="windowText" lastClr="000000"/>
                </a:solidFill>
                <a:effectLst/>
                <a:uLnTx/>
                <a:uFillTx/>
                <a:latin typeface="Calibri"/>
                <a:ea typeface="+mn-ea"/>
                <a:cs typeface="Calibri"/>
              </a:rPr>
              <a:t>and </a:t>
            </a:r>
            <a:r>
              <a:rPr kumimoji="0" sz="882" b="0" i="0" u="none" strike="noStrike" kern="0" cap="none" spc="-18" normalizeH="0" baseline="0" noProof="0">
                <a:ln>
                  <a:noFill/>
                </a:ln>
                <a:solidFill>
                  <a:sysClr val="windowText" lastClr="000000"/>
                </a:solidFill>
                <a:effectLst/>
                <a:uLnTx/>
                <a:uFillTx/>
                <a:latin typeface="Calibri"/>
                <a:ea typeface="+mn-ea"/>
                <a:cs typeface="Calibri"/>
              </a:rPr>
              <a:t>internationally,</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and</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supports</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major </a:t>
            </a:r>
            <a:r>
              <a:rPr kumimoji="0" sz="882" b="0" i="0" u="none" strike="noStrike" kern="0" cap="none" spc="0" normalizeH="0" baseline="0" noProof="0">
                <a:ln>
                  <a:noFill/>
                </a:ln>
                <a:solidFill>
                  <a:sysClr val="windowText" lastClr="000000"/>
                </a:solidFill>
                <a:effectLst/>
                <a:uLnTx/>
                <a:uFillTx/>
                <a:latin typeface="Calibri"/>
                <a:ea typeface="+mn-ea"/>
                <a:cs typeface="Calibri"/>
              </a:rPr>
              <a:t>health-</a:t>
            </a:r>
            <a:r>
              <a:rPr kumimoji="0" sz="882" b="0" i="0" u="none" strike="noStrike" kern="0" cap="none" spc="-9" normalizeH="0" baseline="0" noProof="0">
                <a:ln>
                  <a:noFill/>
                </a:ln>
                <a:solidFill>
                  <a:sysClr val="windowText" lastClr="000000"/>
                </a:solidFill>
                <a:effectLst/>
                <a:uLnTx/>
                <a:uFillTx/>
                <a:latin typeface="Calibri"/>
                <a:ea typeface="+mn-ea"/>
                <a:cs typeface="Calibri"/>
              </a:rPr>
              <a:t>related</a:t>
            </a:r>
            <a:r>
              <a:rPr kumimoji="0" sz="882" b="0" i="0" u="none" strike="noStrike" kern="0" cap="none" spc="-31"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causes.</a:t>
            </a: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a:p>
            <a:pPr marL="11206" marR="67239" lvl="0" indent="0" algn="l" defTabSz="806867" rtl="0" eaLnBrk="1" fontAlgn="auto" latinLnBrk="0" hangingPunct="1">
              <a:lnSpc>
                <a:spcPct val="100000"/>
              </a:lnSpc>
              <a:spcBef>
                <a:spcPts val="529"/>
              </a:spcBef>
              <a:spcAft>
                <a:spcPts val="0"/>
              </a:spcAft>
              <a:buClrTx/>
              <a:buSzTx/>
              <a:buFontTx/>
              <a:buNone/>
              <a:tabLst>
                <a:tab pos="1424904" algn="l"/>
              </a:tabLst>
              <a:defRPr/>
            </a:pPr>
            <a:r>
              <a:rPr kumimoji="0" sz="882" b="0" i="0" u="none" strike="noStrike" kern="0" cap="none" spc="-9" normalizeH="0" baseline="0" noProof="0">
                <a:ln>
                  <a:noFill/>
                </a:ln>
                <a:solidFill>
                  <a:sysClr val="windowText" lastClr="000000"/>
                </a:solidFill>
                <a:effectLst/>
                <a:uLnTx/>
                <a:uFillTx/>
                <a:latin typeface="Calibri"/>
                <a:ea typeface="+mn-ea"/>
                <a:cs typeface="Calibri"/>
              </a:rPr>
              <a:t>Donate</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cash</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0" normalizeH="0" baseline="0" noProof="0">
                <a:ln>
                  <a:noFill/>
                </a:ln>
                <a:solidFill>
                  <a:sysClr val="windowText" lastClr="000000"/>
                </a:solidFill>
                <a:effectLst/>
                <a:uLnTx/>
                <a:uFillTx/>
                <a:latin typeface="Calibri"/>
                <a:ea typeface="+mn-ea"/>
                <a:cs typeface="Calibri"/>
              </a:rPr>
              <a:t>or</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Aeroplan</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ysClr val="windowText" lastClr="000000"/>
                </a:solidFill>
                <a:effectLst/>
                <a:uLnTx/>
                <a:uFillTx/>
                <a:latin typeface="Calibri"/>
                <a:ea typeface="+mn-ea"/>
                <a:cs typeface="Calibri"/>
              </a:rPr>
              <a:t>points</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18" normalizeH="0" baseline="0" noProof="0">
                <a:ln>
                  <a:noFill/>
                </a:ln>
                <a:solidFill>
                  <a:sysClr val="windowText" lastClr="000000"/>
                </a:solidFill>
                <a:effectLst/>
                <a:uLnTx/>
                <a:uFillTx/>
                <a:latin typeface="Calibri"/>
                <a:ea typeface="+mn-ea"/>
                <a:cs typeface="Calibri"/>
              </a:rPr>
              <a:t>today </a:t>
            </a:r>
            <a:r>
              <a:rPr kumimoji="0" sz="882" b="0" i="0" u="none" strike="noStrike" kern="0" cap="none" spc="0" normalizeH="0" baseline="0" noProof="0">
                <a:ln>
                  <a:noFill/>
                </a:ln>
                <a:solidFill>
                  <a:sysClr val="windowText" lastClr="000000"/>
                </a:solidFill>
                <a:effectLst/>
                <a:uLnTx/>
                <a:uFillTx/>
                <a:latin typeface="Calibri"/>
                <a:ea typeface="+mn-ea"/>
                <a:cs typeface="Calibri"/>
              </a:rPr>
              <a:t>at</a:t>
            </a:r>
            <a:r>
              <a:rPr kumimoji="0" sz="882" b="0" i="0" u="none" strike="noStrike" kern="0" cap="none" spc="-22" normalizeH="0" baseline="0" noProof="0">
                <a:ln>
                  <a:noFill/>
                </a:ln>
                <a:solidFill>
                  <a:sysClr val="windowText" lastClr="000000"/>
                </a:solidFill>
                <a:effectLst/>
                <a:uLnTx/>
                <a:uFillTx/>
                <a:latin typeface="Calibri"/>
                <a:ea typeface="+mn-ea"/>
                <a:cs typeface="Calibri"/>
              </a:rPr>
              <a:t> </a:t>
            </a:r>
            <a:r>
              <a:rPr kumimoji="0" sz="882" b="0" i="0" u="none" strike="noStrike" kern="0" cap="none" spc="-9" normalizeH="0" baseline="0" noProof="0">
                <a:ln>
                  <a:noFill/>
                </a:ln>
                <a:solidFill>
                  <a:srgbClr val="E2201F"/>
                </a:solidFill>
                <a:effectLst/>
                <a:uLnTx/>
                <a:uFillTx/>
                <a:latin typeface="Calibri"/>
                <a:ea typeface="+mn-ea"/>
                <a:cs typeface="Calibri"/>
              </a:rPr>
              <a:t>aircanada.com/foundation</a:t>
            </a:r>
            <a:r>
              <a:rPr kumimoji="0" sz="882" b="0" i="0" u="none" strike="noStrike" kern="0" cap="none" spc="0" normalizeH="0" baseline="0" noProof="0">
                <a:ln>
                  <a:noFill/>
                </a:ln>
                <a:solidFill>
                  <a:srgbClr val="E2201F"/>
                </a:solidFill>
                <a:effectLst/>
                <a:uLnTx/>
                <a:uFillTx/>
                <a:latin typeface="Calibri"/>
                <a:ea typeface="+mn-ea"/>
                <a:cs typeface="Calibri"/>
              </a:rPr>
              <a:t>	</a:t>
            </a:r>
            <a:r>
              <a:rPr kumimoji="0" sz="882" b="0" i="0" u="none" strike="noStrike" kern="0" cap="none" spc="-44" normalizeH="0" baseline="0" noProof="0">
                <a:ln>
                  <a:noFill/>
                </a:ln>
                <a:solidFill>
                  <a:sysClr val="windowText" lastClr="000000"/>
                </a:solidFill>
                <a:effectLst/>
                <a:uLnTx/>
                <a:uFillTx/>
                <a:latin typeface="Calibri"/>
                <a:ea typeface="+mn-ea"/>
                <a:cs typeface="Calibri"/>
              </a:rPr>
              <a:t>.</a:t>
            </a: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11" name="object 11"/>
          <p:cNvGrpSpPr/>
          <p:nvPr/>
        </p:nvGrpSpPr>
        <p:grpSpPr>
          <a:xfrm>
            <a:off x="2061883" y="491994"/>
            <a:ext cx="5529543" cy="2106706"/>
            <a:chOff x="457200" y="557593"/>
            <a:chExt cx="6266815" cy="2387600"/>
          </a:xfrm>
        </p:grpSpPr>
        <p:pic>
          <p:nvPicPr>
            <p:cNvPr id="12" name="object 12"/>
            <p:cNvPicPr/>
            <p:nvPr/>
          </p:nvPicPr>
          <p:blipFill>
            <a:blip r:embed="rId4" cstate="print"/>
            <a:stretch>
              <a:fillRect/>
            </a:stretch>
          </p:blipFill>
          <p:spPr>
            <a:xfrm>
              <a:off x="457200" y="557593"/>
              <a:ext cx="6266675" cy="2387600"/>
            </a:xfrm>
            <a:prstGeom prst="rect">
              <a:avLst/>
            </a:prstGeom>
          </p:spPr>
        </p:pic>
        <p:pic>
          <p:nvPicPr>
            <p:cNvPr id="13" name="object 13"/>
            <p:cNvPicPr/>
            <p:nvPr/>
          </p:nvPicPr>
          <p:blipFill>
            <a:blip r:embed="rId5" cstate="print"/>
            <a:stretch>
              <a:fillRect/>
            </a:stretch>
          </p:blipFill>
          <p:spPr>
            <a:xfrm>
              <a:off x="4330702" y="1397000"/>
              <a:ext cx="2202177" cy="391741"/>
            </a:xfrm>
            <a:prstGeom prst="rect">
              <a:avLst/>
            </a:prstGeom>
          </p:spPr>
        </p:pic>
      </p:grpSp>
      <p:pic>
        <p:nvPicPr>
          <p:cNvPr id="14" name="object 14"/>
          <p:cNvPicPr/>
          <p:nvPr/>
        </p:nvPicPr>
        <p:blipFill>
          <a:blip r:embed="rId6" cstate="print"/>
          <a:stretch>
            <a:fillRect/>
          </a:stretch>
        </p:blipFill>
        <p:spPr>
          <a:xfrm>
            <a:off x="5222062" y="5151680"/>
            <a:ext cx="2178369" cy="1302907"/>
          </a:xfrm>
          <a:prstGeom prst="rect">
            <a:avLst/>
          </a:prstGeom>
        </p:spPr>
      </p:pic>
      <p:sp>
        <p:nvSpPr>
          <p:cNvPr id="15" name="object 15"/>
          <p:cNvSpPr txBox="1"/>
          <p:nvPr/>
        </p:nvSpPr>
        <p:spPr>
          <a:xfrm>
            <a:off x="2050676" y="5130246"/>
            <a:ext cx="1674159" cy="174309"/>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059" b="1" i="0" u="none" strike="noStrike" kern="0" cap="none" spc="49" normalizeH="0" baseline="0" noProof="0">
                <a:ln>
                  <a:noFill/>
                </a:ln>
                <a:solidFill>
                  <a:sysClr val="windowText" lastClr="000000"/>
                </a:solidFill>
                <a:effectLst/>
                <a:uLnTx/>
                <a:uFillTx/>
                <a:latin typeface="Calibri"/>
                <a:ea typeface="+mn-ea"/>
                <a:cs typeface="Calibri"/>
              </a:rPr>
              <a:t>New</a:t>
            </a:r>
            <a:r>
              <a:rPr kumimoji="0" sz="1059" b="1" i="0" u="none" strike="noStrike" kern="0" cap="none" spc="13" normalizeH="0" baseline="0" noProof="0">
                <a:ln>
                  <a:noFill/>
                </a:ln>
                <a:solidFill>
                  <a:sysClr val="windowText" lastClr="000000"/>
                </a:solidFill>
                <a:effectLst/>
                <a:uLnTx/>
                <a:uFillTx/>
                <a:latin typeface="Calibri"/>
                <a:ea typeface="+mn-ea"/>
                <a:cs typeface="Calibri"/>
              </a:rPr>
              <a:t> </a:t>
            </a:r>
            <a:r>
              <a:rPr kumimoji="0" sz="1059" b="1" i="0" u="none" strike="noStrike" kern="0" cap="none" spc="66" normalizeH="0" baseline="0" noProof="0">
                <a:ln>
                  <a:noFill/>
                </a:ln>
                <a:solidFill>
                  <a:sysClr val="windowText" lastClr="000000"/>
                </a:solidFill>
                <a:effectLst/>
                <a:uLnTx/>
                <a:uFillTx/>
                <a:latin typeface="Calibri"/>
                <a:ea typeface="+mn-ea"/>
                <a:cs typeface="Calibri"/>
              </a:rPr>
              <a:t>On-</a:t>
            </a:r>
            <a:r>
              <a:rPr kumimoji="0" sz="1059" b="1" i="0" u="none" strike="noStrike" kern="0" cap="none" spc="0" normalizeH="0" baseline="0" noProof="0">
                <a:ln>
                  <a:noFill/>
                </a:ln>
                <a:solidFill>
                  <a:sysClr val="windowText" lastClr="000000"/>
                </a:solidFill>
                <a:effectLst/>
                <a:uLnTx/>
                <a:uFillTx/>
                <a:latin typeface="Calibri"/>
                <a:ea typeface="+mn-ea"/>
                <a:cs typeface="Calibri"/>
              </a:rPr>
              <a:t>board</a:t>
            </a:r>
            <a:r>
              <a:rPr kumimoji="0" sz="1059" b="1" i="0" u="none" strike="noStrike" kern="0" cap="none" spc="18" normalizeH="0" baseline="0" noProof="0">
                <a:ln>
                  <a:noFill/>
                </a:ln>
                <a:solidFill>
                  <a:sysClr val="windowText" lastClr="000000"/>
                </a:solidFill>
                <a:effectLst/>
                <a:uLnTx/>
                <a:uFillTx/>
                <a:latin typeface="Calibri"/>
                <a:ea typeface="+mn-ea"/>
                <a:cs typeface="Calibri"/>
              </a:rPr>
              <a:t> </a:t>
            </a:r>
            <a:r>
              <a:rPr kumimoji="0" sz="1059" b="1" i="0" u="none" strike="noStrike" kern="0" cap="none" spc="49" normalizeH="0" baseline="0" noProof="0">
                <a:ln>
                  <a:noFill/>
                </a:ln>
                <a:solidFill>
                  <a:sysClr val="windowText" lastClr="000000"/>
                </a:solidFill>
                <a:effectLst/>
                <a:uLnTx/>
                <a:uFillTx/>
                <a:latin typeface="Calibri"/>
                <a:ea typeface="+mn-ea"/>
                <a:cs typeface="Calibri"/>
              </a:rPr>
              <a:t>Safety</a:t>
            </a:r>
            <a:r>
              <a:rPr kumimoji="0" sz="1059" b="1" i="0" u="none" strike="noStrike" kern="0" cap="none" spc="13" normalizeH="0" baseline="0" noProof="0">
                <a:ln>
                  <a:noFill/>
                </a:ln>
                <a:solidFill>
                  <a:sysClr val="windowText" lastClr="000000"/>
                </a:solidFill>
                <a:effectLst/>
                <a:uLnTx/>
                <a:uFillTx/>
                <a:latin typeface="Calibri"/>
                <a:ea typeface="+mn-ea"/>
                <a:cs typeface="Calibri"/>
              </a:rPr>
              <a:t> </a:t>
            </a:r>
            <a:r>
              <a:rPr kumimoji="0" sz="1059" b="1" i="0" u="none" strike="noStrike" kern="0" cap="none" spc="-9" normalizeH="0" baseline="0" noProof="0">
                <a:ln>
                  <a:noFill/>
                </a:ln>
                <a:solidFill>
                  <a:sysClr val="windowText" lastClr="000000"/>
                </a:solidFill>
                <a:effectLst/>
                <a:uLnTx/>
                <a:uFillTx/>
                <a:latin typeface="Calibri"/>
                <a:ea typeface="+mn-ea"/>
                <a:cs typeface="Calibri"/>
              </a:rPr>
              <a:t>video</a:t>
            </a:r>
            <a:endParaRPr kumimoji="0" sz="1059" b="0" i="0" u="none" strike="noStrike" kern="0" cap="none" spc="0" normalizeH="0" baseline="0" noProof="0">
              <a:ln>
                <a:noFill/>
              </a:ln>
              <a:solidFill>
                <a:sysClr val="windowText" lastClr="000000"/>
              </a:solidFill>
              <a:effectLst/>
              <a:uLnTx/>
              <a:uFillTx/>
              <a:latin typeface="Calibri"/>
              <a:ea typeface="+mn-ea"/>
              <a:cs typeface="Calibri"/>
            </a:endParaRPr>
          </a:p>
        </p:txBody>
      </p:sp>
      <p:pic>
        <p:nvPicPr>
          <p:cNvPr id="16" name="object 16"/>
          <p:cNvPicPr/>
          <p:nvPr/>
        </p:nvPicPr>
        <p:blipFill>
          <a:blip r:embed="rId2" cstate="print"/>
          <a:stretch>
            <a:fillRect/>
          </a:stretch>
        </p:blipFill>
        <p:spPr>
          <a:xfrm>
            <a:off x="2789598" y="5337975"/>
            <a:ext cx="117236" cy="117236"/>
          </a:xfrm>
          <a:prstGeom prst="rect">
            <a:avLst/>
          </a:prstGeom>
        </p:spPr>
      </p:pic>
      <p:sp>
        <p:nvSpPr>
          <p:cNvPr id="17" name="object 17"/>
          <p:cNvSpPr txBox="1"/>
          <p:nvPr/>
        </p:nvSpPr>
        <p:spPr>
          <a:xfrm>
            <a:off x="2050677" y="5303937"/>
            <a:ext cx="2296085"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tab pos="883630" algn="l"/>
              </a:tabLst>
              <a:defRPr/>
            </a:pPr>
            <a:r>
              <a:rPr kumimoji="0" sz="927" b="0" i="1" u="none" strike="noStrike" kern="0" cap="none" spc="0" normalizeH="0" baseline="0" noProof="0">
                <a:ln>
                  <a:noFill/>
                </a:ln>
                <a:solidFill>
                  <a:srgbClr val="E2201F"/>
                </a:solidFill>
                <a:effectLst/>
                <a:uLnTx/>
                <a:uFillTx/>
                <a:latin typeface="Calibri"/>
                <a:ea typeface="+mn-ea"/>
                <a:cs typeface="Calibri"/>
                <a:hlinkClick r:id="rId7"/>
              </a:rPr>
              <a:t>Ode</a:t>
            </a:r>
            <a:r>
              <a:rPr kumimoji="0" sz="927" b="0" i="1" u="none" strike="noStrike" kern="0" cap="none" spc="-13" normalizeH="0" baseline="0" noProof="0">
                <a:ln>
                  <a:noFill/>
                </a:ln>
                <a:solidFill>
                  <a:srgbClr val="E2201F"/>
                </a:solidFill>
                <a:effectLst/>
                <a:uLnTx/>
                <a:uFillTx/>
                <a:latin typeface="Calibri"/>
                <a:ea typeface="+mn-ea"/>
                <a:cs typeface="Calibri"/>
                <a:hlinkClick r:id="rId7"/>
              </a:rPr>
              <a:t> </a:t>
            </a:r>
            <a:r>
              <a:rPr kumimoji="0" sz="927" b="0" i="1" u="none" strike="noStrike" kern="0" cap="none" spc="-9" normalizeH="0" baseline="0" noProof="0">
                <a:ln>
                  <a:noFill/>
                </a:ln>
                <a:solidFill>
                  <a:srgbClr val="E2201F"/>
                </a:solidFill>
                <a:effectLst/>
                <a:uLnTx/>
                <a:uFillTx/>
                <a:latin typeface="Calibri"/>
                <a:ea typeface="+mn-ea"/>
                <a:cs typeface="Calibri"/>
                <a:hlinkClick r:id="rId7"/>
              </a:rPr>
              <a:t>to</a:t>
            </a:r>
            <a:r>
              <a:rPr kumimoji="0" sz="927" b="0" i="1" u="none" strike="noStrike" kern="0" cap="none" spc="-13" normalizeH="0" baseline="0" noProof="0">
                <a:ln>
                  <a:noFill/>
                </a:ln>
                <a:solidFill>
                  <a:srgbClr val="E2201F"/>
                </a:solidFill>
                <a:effectLst/>
                <a:uLnTx/>
                <a:uFillTx/>
                <a:latin typeface="Calibri"/>
                <a:ea typeface="+mn-ea"/>
                <a:cs typeface="Calibri"/>
                <a:hlinkClick r:id="rId7"/>
              </a:rPr>
              <a:t> </a:t>
            </a:r>
            <a:r>
              <a:rPr kumimoji="0" sz="927" b="0" i="1" u="none" strike="noStrike" kern="0" cap="none" spc="-9" normalizeH="0" baseline="0" noProof="0">
                <a:ln>
                  <a:noFill/>
                </a:ln>
                <a:solidFill>
                  <a:srgbClr val="E2201F"/>
                </a:solidFill>
                <a:effectLst/>
                <a:uLnTx/>
                <a:uFillTx/>
                <a:latin typeface="Calibri"/>
                <a:ea typeface="+mn-ea"/>
                <a:cs typeface="Calibri"/>
                <a:hlinkClick r:id="rId7"/>
              </a:rPr>
              <a:t>Canada</a:t>
            </a:r>
            <a:r>
              <a:rPr kumimoji="0" sz="927" b="0" i="1" u="none" strike="noStrike" kern="0" cap="none" spc="0" normalizeH="0" baseline="0" noProof="0">
                <a:ln>
                  <a:noFill/>
                </a:ln>
                <a:solidFill>
                  <a:srgbClr val="E2201F"/>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s Air Canada’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ew on-</a:t>
            </a:r>
            <a:r>
              <a:rPr kumimoji="0" sz="927" b="0" i="0" u="none" strike="noStrike" kern="0" cap="none" spc="-18" normalizeH="0" baseline="0" noProof="0">
                <a:ln>
                  <a:noFill/>
                </a:ln>
                <a:solidFill>
                  <a:sysClr val="windowText" lastClr="000000"/>
                </a:solidFill>
                <a:effectLst/>
                <a:uLnTx/>
                <a:uFillTx/>
                <a:latin typeface="Calibri"/>
                <a:ea typeface="+mn-ea"/>
                <a:cs typeface="Calibri"/>
              </a:rPr>
              <a:t>board</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8" name="object 18"/>
          <p:cNvSpPr txBox="1"/>
          <p:nvPr/>
        </p:nvSpPr>
        <p:spPr>
          <a:xfrm>
            <a:off x="2050676" y="5438408"/>
            <a:ext cx="2286000"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pre-flight</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afety</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video</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at</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akes</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ustomer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on</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9" name="object 19"/>
          <p:cNvSpPr txBox="1"/>
          <p:nvPr/>
        </p:nvSpPr>
        <p:spPr>
          <a:xfrm>
            <a:off x="2050677" y="5572879"/>
            <a:ext cx="2382931" cy="585756"/>
          </a:xfrm>
          <a:prstGeom prst="rect">
            <a:avLst/>
          </a:prstGeom>
        </p:spPr>
        <p:txBody>
          <a:bodyPr vert="horz" wrap="square" lIns="0" tIns="21291" rIns="0" bIns="0" rtlCol="0">
            <a:spAutoFit/>
          </a:bodyPr>
          <a:lstStyle/>
          <a:p>
            <a:pPr marL="11206" marR="42024" lvl="0" indent="0" algn="l" defTabSz="806867" rtl="0" eaLnBrk="1" fontAlgn="auto" latinLnBrk="0" hangingPunct="1">
              <a:lnSpc>
                <a:spcPts val="1059"/>
              </a:lnSpc>
              <a:spcBef>
                <a:spcPts val="16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 stunning</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journey acros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 from</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oast-</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coast-to-coast</a:t>
            </a:r>
            <a:r>
              <a:rPr kumimoji="0" sz="927" b="0" i="0" u="none" strike="noStrike" kern="0" cap="none" spc="4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4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ach</a:t>
            </a:r>
            <a:r>
              <a:rPr kumimoji="0" sz="927" b="0" i="0" u="none" strike="noStrike" kern="0" cap="none" spc="4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rovince</a:t>
            </a:r>
            <a:r>
              <a:rPr kumimoji="0" sz="927" b="0" i="0" u="none" strike="noStrike" kern="0" cap="none" spc="4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4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territory</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through</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ll</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ou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eason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hil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resenting</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ircraft </a:t>
            </a:r>
            <a:r>
              <a:rPr kumimoji="0" sz="927" b="0" i="0" u="none" strike="noStrike" kern="0" cap="none" spc="0" normalizeH="0" baseline="0" noProof="0">
                <a:ln>
                  <a:noFill/>
                </a:ln>
                <a:solidFill>
                  <a:sysClr val="windowText" lastClr="000000"/>
                </a:solidFill>
                <a:effectLst/>
                <a:uLnTx/>
                <a:uFillTx/>
                <a:latin typeface="Calibri"/>
                <a:ea typeface="+mn-ea"/>
                <a:cs typeface="Calibri"/>
              </a:rPr>
              <a:t>safety</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struction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mpelling</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way.</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0" name="object 20"/>
          <p:cNvSpPr/>
          <p:nvPr/>
        </p:nvSpPr>
        <p:spPr>
          <a:xfrm>
            <a:off x="2061883" y="4967007"/>
            <a:ext cx="145676" cy="0"/>
          </a:xfrm>
          <a:custGeom>
            <a:avLst/>
            <a:gdLst/>
            <a:ahLst/>
            <a:cxnLst/>
            <a:rect l="l" t="t" r="r" b="b"/>
            <a:pathLst>
              <a:path w="165100">
                <a:moveTo>
                  <a:pt x="0" y="0"/>
                </a:moveTo>
                <a:lnTo>
                  <a:pt x="165100" y="0"/>
                </a:lnTo>
              </a:path>
            </a:pathLst>
          </a:custGeom>
          <a:ln w="19050">
            <a:solidFill>
              <a:srgbClr val="B79A81"/>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21" name="object 21"/>
          <p:cNvPicPr/>
          <p:nvPr/>
        </p:nvPicPr>
        <p:blipFill>
          <a:blip r:embed="rId8" cstate="print"/>
          <a:stretch>
            <a:fillRect/>
          </a:stretch>
        </p:blipFill>
        <p:spPr>
          <a:xfrm>
            <a:off x="2068289" y="157333"/>
            <a:ext cx="127478" cy="125068"/>
          </a:xfrm>
          <a:prstGeom prst="rect">
            <a:avLst/>
          </a:prstGeom>
        </p:spPr>
      </p:pic>
      <p:grpSp>
        <p:nvGrpSpPr>
          <p:cNvPr id="22" name="object 22"/>
          <p:cNvGrpSpPr/>
          <p:nvPr/>
        </p:nvGrpSpPr>
        <p:grpSpPr>
          <a:xfrm>
            <a:off x="2249274" y="185592"/>
            <a:ext cx="210110" cy="64994"/>
            <a:chOff x="669577" y="210337"/>
            <a:chExt cx="238125" cy="73660"/>
          </a:xfrm>
        </p:grpSpPr>
        <p:pic>
          <p:nvPicPr>
            <p:cNvPr id="23" name="object 23"/>
            <p:cNvPicPr/>
            <p:nvPr/>
          </p:nvPicPr>
          <p:blipFill>
            <a:blip r:embed="rId9" cstate="print"/>
            <a:stretch>
              <a:fillRect/>
            </a:stretch>
          </p:blipFill>
          <p:spPr>
            <a:xfrm>
              <a:off x="830875" y="210381"/>
              <a:ext cx="76250" cy="73393"/>
            </a:xfrm>
            <a:prstGeom prst="rect">
              <a:avLst/>
            </a:prstGeom>
          </p:spPr>
        </p:pic>
        <p:pic>
          <p:nvPicPr>
            <p:cNvPr id="24" name="object 24"/>
            <p:cNvPicPr/>
            <p:nvPr/>
          </p:nvPicPr>
          <p:blipFill>
            <a:blip r:embed="rId10" cstate="print"/>
            <a:stretch>
              <a:fillRect/>
            </a:stretch>
          </p:blipFill>
          <p:spPr>
            <a:xfrm>
              <a:off x="669577" y="210375"/>
              <a:ext cx="83515" cy="73444"/>
            </a:xfrm>
            <a:prstGeom prst="rect">
              <a:avLst/>
            </a:prstGeom>
          </p:spPr>
        </p:pic>
        <p:sp>
          <p:nvSpPr>
            <p:cNvPr id="25" name="object 25"/>
            <p:cNvSpPr/>
            <p:nvPr/>
          </p:nvSpPr>
          <p:spPr>
            <a:xfrm>
              <a:off x="775957" y="210337"/>
              <a:ext cx="17780" cy="73660"/>
            </a:xfrm>
            <a:custGeom>
              <a:avLst/>
              <a:gdLst/>
              <a:ahLst/>
              <a:cxnLst/>
              <a:rect l="l" t="t" r="r" b="b"/>
              <a:pathLst>
                <a:path w="17779" h="73660">
                  <a:moveTo>
                    <a:pt x="17233" y="0"/>
                  </a:moveTo>
                  <a:lnTo>
                    <a:pt x="0" y="0"/>
                  </a:lnTo>
                  <a:lnTo>
                    <a:pt x="0" y="73444"/>
                  </a:lnTo>
                  <a:lnTo>
                    <a:pt x="17233" y="73444"/>
                  </a:lnTo>
                  <a:lnTo>
                    <a:pt x="17233"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26" name="object 26"/>
          <p:cNvGrpSpPr/>
          <p:nvPr/>
        </p:nvGrpSpPr>
        <p:grpSpPr>
          <a:xfrm>
            <a:off x="2500109" y="183698"/>
            <a:ext cx="524996" cy="68916"/>
            <a:chOff x="953857" y="208191"/>
            <a:chExt cx="594995" cy="78105"/>
          </a:xfrm>
        </p:grpSpPr>
        <p:pic>
          <p:nvPicPr>
            <p:cNvPr id="27" name="object 27"/>
            <p:cNvPicPr/>
            <p:nvPr/>
          </p:nvPicPr>
          <p:blipFill>
            <a:blip r:embed="rId11" cstate="print"/>
            <a:stretch>
              <a:fillRect/>
            </a:stretch>
          </p:blipFill>
          <p:spPr>
            <a:xfrm>
              <a:off x="953857" y="208191"/>
              <a:ext cx="76517" cy="77927"/>
            </a:xfrm>
            <a:prstGeom prst="rect">
              <a:avLst/>
            </a:prstGeom>
          </p:spPr>
        </p:pic>
        <p:pic>
          <p:nvPicPr>
            <p:cNvPr id="28" name="object 28"/>
            <p:cNvPicPr/>
            <p:nvPr/>
          </p:nvPicPr>
          <p:blipFill>
            <a:blip r:embed="rId12" cstate="print"/>
            <a:stretch>
              <a:fillRect/>
            </a:stretch>
          </p:blipFill>
          <p:spPr>
            <a:xfrm>
              <a:off x="1051401" y="210375"/>
              <a:ext cx="83502" cy="73444"/>
            </a:xfrm>
            <a:prstGeom prst="rect">
              <a:avLst/>
            </a:prstGeom>
          </p:spPr>
        </p:pic>
        <p:pic>
          <p:nvPicPr>
            <p:cNvPr id="29" name="object 29"/>
            <p:cNvPicPr/>
            <p:nvPr/>
          </p:nvPicPr>
          <p:blipFill>
            <a:blip r:embed="rId13" cstate="print"/>
            <a:stretch>
              <a:fillRect/>
            </a:stretch>
          </p:blipFill>
          <p:spPr>
            <a:xfrm>
              <a:off x="1263714" y="210375"/>
              <a:ext cx="83515" cy="73444"/>
            </a:xfrm>
            <a:prstGeom prst="rect">
              <a:avLst/>
            </a:prstGeom>
          </p:spPr>
        </p:pic>
        <p:pic>
          <p:nvPicPr>
            <p:cNvPr id="30" name="object 30"/>
            <p:cNvPicPr/>
            <p:nvPr/>
          </p:nvPicPr>
          <p:blipFill>
            <a:blip r:embed="rId14" cstate="print"/>
            <a:stretch>
              <a:fillRect/>
            </a:stretch>
          </p:blipFill>
          <p:spPr>
            <a:xfrm>
              <a:off x="1159389" y="210385"/>
              <a:ext cx="79794" cy="73431"/>
            </a:xfrm>
            <a:prstGeom prst="rect">
              <a:avLst/>
            </a:prstGeom>
          </p:spPr>
        </p:pic>
        <p:sp>
          <p:nvSpPr>
            <p:cNvPr id="31" name="object 31"/>
            <p:cNvSpPr/>
            <p:nvPr/>
          </p:nvSpPr>
          <p:spPr>
            <a:xfrm>
              <a:off x="1371422" y="210387"/>
              <a:ext cx="177800" cy="73660"/>
            </a:xfrm>
            <a:custGeom>
              <a:avLst/>
              <a:gdLst/>
              <a:ahLst/>
              <a:cxnLst/>
              <a:rect l="l" t="t" r="r" b="b"/>
              <a:pathLst>
                <a:path w="177800" h="73660">
                  <a:moveTo>
                    <a:pt x="74993" y="35293"/>
                  </a:moveTo>
                  <a:lnTo>
                    <a:pt x="74371" y="27292"/>
                  </a:lnTo>
                  <a:lnTo>
                    <a:pt x="72478" y="20256"/>
                  </a:lnTo>
                  <a:lnTo>
                    <a:pt x="69303" y="14224"/>
                  </a:lnTo>
                  <a:lnTo>
                    <a:pt x="65582" y="10007"/>
                  </a:lnTo>
                  <a:lnTo>
                    <a:pt x="64846" y="9169"/>
                  </a:lnTo>
                  <a:lnTo>
                    <a:pt x="59207" y="5194"/>
                  </a:lnTo>
                  <a:lnTo>
                    <a:pt x="56730" y="4152"/>
                  </a:lnTo>
                  <a:lnTo>
                    <a:pt x="56730" y="29095"/>
                  </a:lnTo>
                  <a:lnTo>
                    <a:pt x="56680" y="45161"/>
                  </a:lnTo>
                  <a:lnTo>
                    <a:pt x="54483" y="51904"/>
                  </a:lnTo>
                  <a:lnTo>
                    <a:pt x="49999" y="56349"/>
                  </a:lnTo>
                  <a:lnTo>
                    <a:pt x="45580" y="60782"/>
                  </a:lnTo>
                  <a:lnTo>
                    <a:pt x="38874" y="62979"/>
                  </a:lnTo>
                  <a:lnTo>
                    <a:pt x="17183" y="62941"/>
                  </a:lnTo>
                  <a:lnTo>
                    <a:pt x="17183" y="10007"/>
                  </a:lnTo>
                  <a:lnTo>
                    <a:pt x="54978" y="23241"/>
                  </a:lnTo>
                  <a:lnTo>
                    <a:pt x="56730" y="29095"/>
                  </a:lnTo>
                  <a:lnTo>
                    <a:pt x="56730" y="4152"/>
                  </a:lnTo>
                  <a:lnTo>
                    <a:pt x="52451" y="2324"/>
                  </a:lnTo>
                  <a:lnTo>
                    <a:pt x="44564" y="584"/>
                  </a:lnTo>
                  <a:lnTo>
                    <a:pt x="35547" y="0"/>
                  </a:lnTo>
                  <a:lnTo>
                    <a:pt x="0" y="0"/>
                  </a:lnTo>
                  <a:lnTo>
                    <a:pt x="0" y="73393"/>
                  </a:lnTo>
                  <a:lnTo>
                    <a:pt x="33858" y="73393"/>
                  </a:lnTo>
                  <a:lnTo>
                    <a:pt x="68834" y="57975"/>
                  </a:lnTo>
                  <a:lnTo>
                    <a:pt x="74282" y="43878"/>
                  </a:lnTo>
                  <a:lnTo>
                    <a:pt x="74993" y="35293"/>
                  </a:lnTo>
                  <a:close/>
                </a:path>
                <a:path w="177800" h="73660">
                  <a:moveTo>
                    <a:pt x="177304" y="73444"/>
                  </a:moveTo>
                  <a:lnTo>
                    <a:pt x="168783" y="53746"/>
                  </a:lnTo>
                  <a:lnTo>
                    <a:pt x="164579" y="44043"/>
                  </a:lnTo>
                  <a:lnTo>
                    <a:pt x="151930" y="14820"/>
                  </a:lnTo>
                  <a:lnTo>
                    <a:pt x="145529" y="0"/>
                  </a:lnTo>
                  <a:lnTo>
                    <a:pt x="144614" y="0"/>
                  </a:lnTo>
                  <a:lnTo>
                    <a:pt x="144614" y="44043"/>
                  </a:lnTo>
                  <a:lnTo>
                    <a:pt x="119176" y="44043"/>
                  </a:lnTo>
                  <a:lnTo>
                    <a:pt x="131953" y="14820"/>
                  </a:lnTo>
                  <a:lnTo>
                    <a:pt x="144614" y="44043"/>
                  </a:lnTo>
                  <a:lnTo>
                    <a:pt x="144614" y="0"/>
                  </a:lnTo>
                  <a:lnTo>
                    <a:pt x="125984" y="0"/>
                  </a:lnTo>
                  <a:lnTo>
                    <a:pt x="93789" y="73444"/>
                  </a:lnTo>
                  <a:lnTo>
                    <a:pt x="106273" y="73444"/>
                  </a:lnTo>
                  <a:lnTo>
                    <a:pt x="114935" y="53746"/>
                  </a:lnTo>
                  <a:lnTo>
                    <a:pt x="148831" y="53746"/>
                  </a:lnTo>
                  <a:lnTo>
                    <a:pt x="157353" y="73444"/>
                  </a:lnTo>
                  <a:lnTo>
                    <a:pt x="177304" y="73444"/>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32" name="Footer Placeholder 31">
            <a:extLst>
              <a:ext uri="{FF2B5EF4-FFF2-40B4-BE49-F238E27FC236}">
                <a16:creationId xmlns:a16="http://schemas.microsoft.com/office/drawing/2014/main" id="{84025FD1-096F-8E97-E5B8-CAF03BA03054}"/>
              </a:ext>
            </a:extLst>
          </p:cNvPr>
          <p:cNvSpPr>
            <a:spLocks noGrp="1"/>
          </p:cNvSpPr>
          <p:nvPr>
            <p:ph type="ftr" sz="quarter" idx="5"/>
          </p:nvPr>
        </p:nvSpPr>
        <p:spPr/>
        <p:txBody>
          <a:bodyPr/>
          <a:lstStyle/>
          <a:p>
            <a:r>
              <a:rPr lang="en-CA"/>
              <a:t>Priveledged and Confidential</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6307544" y="493059"/>
            <a:ext cx="3822887" cy="5963771"/>
            <a:chOff x="5268950" y="558800"/>
            <a:chExt cx="4332605" cy="6758940"/>
          </a:xfrm>
        </p:grpSpPr>
        <p:sp>
          <p:nvSpPr>
            <p:cNvPr id="3" name="object 3"/>
            <p:cNvSpPr/>
            <p:nvPr/>
          </p:nvSpPr>
          <p:spPr>
            <a:xfrm>
              <a:off x="5268950" y="558800"/>
              <a:ext cx="4332605" cy="6758940"/>
            </a:xfrm>
            <a:custGeom>
              <a:avLst/>
              <a:gdLst/>
              <a:ahLst/>
              <a:cxnLst/>
              <a:rect l="l" t="t" r="r" b="b"/>
              <a:pathLst>
                <a:path w="4332605" h="6758940">
                  <a:moveTo>
                    <a:pt x="4332249" y="0"/>
                  </a:moveTo>
                  <a:lnTo>
                    <a:pt x="0" y="0"/>
                  </a:lnTo>
                  <a:lnTo>
                    <a:pt x="0" y="6758940"/>
                  </a:lnTo>
                  <a:lnTo>
                    <a:pt x="4332249" y="6758940"/>
                  </a:lnTo>
                  <a:lnTo>
                    <a:pt x="4332249" y="0"/>
                  </a:lnTo>
                  <a:close/>
                </a:path>
              </a:pathLst>
            </a:custGeom>
            <a:solidFill>
              <a:srgbClr val="094B7D"/>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 name="object 4"/>
            <p:cNvPicPr/>
            <p:nvPr/>
          </p:nvPicPr>
          <p:blipFill>
            <a:blip r:embed="rId2" cstate="print"/>
            <a:stretch>
              <a:fillRect/>
            </a:stretch>
          </p:blipFill>
          <p:spPr>
            <a:xfrm>
              <a:off x="5268950" y="2041093"/>
              <a:ext cx="4332249" cy="5276646"/>
            </a:xfrm>
            <a:prstGeom prst="rect">
              <a:avLst/>
            </a:prstGeom>
          </p:spPr>
        </p:pic>
        <p:pic>
          <p:nvPicPr>
            <p:cNvPr id="5" name="object 5"/>
            <p:cNvPicPr/>
            <p:nvPr/>
          </p:nvPicPr>
          <p:blipFill>
            <a:blip r:embed="rId3" cstate="print"/>
            <a:stretch>
              <a:fillRect/>
            </a:stretch>
          </p:blipFill>
          <p:spPr>
            <a:xfrm>
              <a:off x="6701845" y="3707198"/>
              <a:ext cx="132867" cy="132867"/>
            </a:xfrm>
            <a:prstGeom prst="rect">
              <a:avLst/>
            </a:prstGeom>
          </p:spPr>
        </p:pic>
      </p:grpSp>
      <p:sp>
        <p:nvSpPr>
          <p:cNvPr id="6" name="object 6"/>
          <p:cNvSpPr txBox="1"/>
          <p:nvPr/>
        </p:nvSpPr>
        <p:spPr>
          <a:xfrm>
            <a:off x="2050677" y="1721841"/>
            <a:ext cx="3834093" cy="1012015"/>
          </a:xfrm>
          <a:prstGeom prst="rect">
            <a:avLst/>
          </a:prstGeom>
        </p:spPr>
        <p:txBody>
          <a:bodyPr vert="horz" wrap="square" lIns="0" tIns="50426" rIns="0" bIns="0" rtlCol="0">
            <a:spAutoFit/>
          </a:bodyPr>
          <a:lstStyle/>
          <a:p>
            <a:pPr marL="11206" marR="0" lvl="0" indent="0" algn="l" defTabSz="806867" rtl="0" eaLnBrk="1" fontAlgn="auto" latinLnBrk="0" hangingPunct="1">
              <a:lnSpc>
                <a:spcPct val="100000"/>
              </a:lnSpc>
              <a:spcBef>
                <a:spcPts val="397"/>
              </a:spcBef>
              <a:spcAft>
                <a:spcPts val="0"/>
              </a:spcAft>
              <a:buClrTx/>
              <a:buSzTx/>
              <a:buFontTx/>
              <a:buNone/>
              <a:tabLst/>
              <a:defRPr/>
            </a:pPr>
            <a:r>
              <a:rPr kumimoji="0" sz="1412" b="1" i="0" u="none" strike="noStrike" kern="0" cap="none" spc="62" normalizeH="0" baseline="0" noProof="0">
                <a:ln>
                  <a:noFill/>
                </a:ln>
                <a:solidFill>
                  <a:sysClr val="windowText" lastClr="000000"/>
                </a:solidFill>
                <a:effectLst/>
                <a:uLnTx/>
                <a:uFillTx/>
                <a:latin typeface="Calibri"/>
                <a:ea typeface="+mn-ea"/>
                <a:cs typeface="Calibri"/>
              </a:rPr>
              <a:t>Commits</a:t>
            </a:r>
            <a:r>
              <a:rPr kumimoji="0" sz="1412" b="1" i="0" u="none" strike="noStrike" kern="0" cap="none" spc="35" normalizeH="0" baseline="0" noProof="0">
                <a:ln>
                  <a:noFill/>
                </a:ln>
                <a:solidFill>
                  <a:sysClr val="windowText" lastClr="000000"/>
                </a:solidFill>
                <a:effectLst/>
                <a:uLnTx/>
                <a:uFillTx/>
                <a:latin typeface="Calibri"/>
                <a:ea typeface="+mn-ea"/>
                <a:cs typeface="Calibri"/>
              </a:rPr>
              <a:t> </a:t>
            </a:r>
            <a:r>
              <a:rPr kumimoji="0" sz="1412" b="1" i="0" u="none" strike="noStrike" kern="0" cap="none" spc="49" normalizeH="0" baseline="0" noProof="0">
                <a:ln>
                  <a:noFill/>
                </a:ln>
                <a:solidFill>
                  <a:sysClr val="windowText" lastClr="000000"/>
                </a:solidFill>
                <a:effectLst/>
                <a:uLnTx/>
                <a:uFillTx/>
                <a:latin typeface="Calibri"/>
                <a:ea typeface="+mn-ea"/>
                <a:cs typeface="Calibri"/>
              </a:rPr>
              <a:t>to</a:t>
            </a:r>
            <a:r>
              <a:rPr kumimoji="0" sz="1412" b="1" i="0" u="none" strike="noStrike" kern="0" cap="none" spc="40" normalizeH="0" baseline="0" noProof="0">
                <a:ln>
                  <a:noFill/>
                </a:ln>
                <a:solidFill>
                  <a:sysClr val="windowText" lastClr="000000"/>
                </a:solidFill>
                <a:effectLst/>
                <a:uLnTx/>
                <a:uFillTx/>
                <a:latin typeface="Calibri"/>
                <a:ea typeface="+mn-ea"/>
                <a:cs typeface="Calibri"/>
              </a:rPr>
              <a:t> </a:t>
            </a:r>
            <a:r>
              <a:rPr kumimoji="0" sz="1412" b="1" i="0" u="none" strike="noStrike" kern="0" cap="none" spc="88" normalizeH="0" baseline="0" noProof="0">
                <a:ln>
                  <a:noFill/>
                </a:ln>
                <a:solidFill>
                  <a:sysClr val="windowText" lastClr="000000"/>
                </a:solidFill>
                <a:effectLst/>
                <a:uLnTx/>
                <a:uFillTx/>
                <a:latin typeface="Calibri"/>
                <a:ea typeface="+mn-ea"/>
                <a:cs typeface="Calibri"/>
              </a:rPr>
              <a:t>Net</a:t>
            </a:r>
            <a:r>
              <a:rPr kumimoji="0" sz="1412" b="1" i="0" u="none" strike="noStrike" kern="0" cap="none" spc="35" normalizeH="0" baseline="0" noProof="0">
                <a:ln>
                  <a:noFill/>
                </a:ln>
                <a:solidFill>
                  <a:sysClr val="windowText" lastClr="000000"/>
                </a:solidFill>
                <a:effectLst/>
                <a:uLnTx/>
                <a:uFillTx/>
                <a:latin typeface="Calibri"/>
                <a:ea typeface="+mn-ea"/>
                <a:cs typeface="Calibri"/>
              </a:rPr>
              <a:t> </a:t>
            </a:r>
            <a:r>
              <a:rPr kumimoji="0" sz="1412" b="1" i="0" u="none" strike="noStrike" kern="0" cap="none" spc="53" normalizeH="0" baseline="0" noProof="0">
                <a:ln>
                  <a:noFill/>
                </a:ln>
                <a:solidFill>
                  <a:sysClr val="windowText" lastClr="000000"/>
                </a:solidFill>
                <a:effectLst/>
                <a:uLnTx/>
                <a:uFillTx/>
                <a:latin typeface="Calibri"/>
                <a:ea typeface="+mn-ea"/>
                <a:cs typeface="Calibri"/>
              </a:rPr>
              <a:t>Zero</a:t>
            </a:r>
            <a:r>
              <a:rPr kumimoji="0" sz="1412" b="1" i="0" u="none" strike="noStrike" kern="0" cap="none" spc="40" normalizeH="0" baseline="0" noProof="0">
                <a:ln>
                  <a:noFill/>
                </a:ln>
                <a:solidFill>
                  <a:sysClr val="windowText" lastClr="000000"/>
                </a:solidFill>
                <a:effectLst/>
                <a:uLnTx/>
                <a:uFillTx/>
                <a:latin typeface="Calibri"/>
                <a:ea typeface="+mn-ea"/>
                <a:cs typeface="Calibri"/>
              </a:rPr>
              <a:t> </a:t>
            </a:r>
            <a:r>
              <a:rPr kumimoji="0" sz="1412" b="1" i="0" u="none" strike="noStrike" kern="0" cap="none" spc="0" normalizeH="0" baseline="0" noProof="0">
                <a:ln>
                  <a:noFill/>
                </a:ln>
                <a:solidFill>
                  <a:sysClr val="windowText" lastClr="000000"/>
                </a:solidFill>
                <a:effectLst/>
                <a:uLnTx/>
                <a:uFillTx/>
                <a:latin typeface="Calibri"/>
                <a:ea typeface="+mn-ea"/>
                <a:cs typeface="Calibri"/>
              </a:rPr>
              <a:t>Emissions</a:t>
            </a:r>
            <a:r>
              <a:rPr kumimoji="0" sz="1412" b="1" i="0" u="none" strike="noStrike" kern="0" cap="none" spc="40" normalizeH="0" baseline="0" noProof="0">
                <a:ln>
                  <a:noFill/>
                </a:ln>
                <a:solidFill>
                  <a:sysClr val="windowText" lastClr="000000"/>
                </a:solidFill>
                <a:effectLst/>
                <a:uLnTx/>
                <a:uFillTx/>
                <a:latin typeface="Calibri"/>
                <a:ea typeface="+mn-ea"/>
                <a:cs typeface="Calibri"/>
              </a:rPr>
              <a:t> </a:t>
            </a:r>
            <a:r>
              <a:rPr kumimoji="0" sz="1412" b="1" i="0" u="none" strike="noStrike" kern="0" cap="none" spc="44" normalizeH="0" baseline="0" noProof="0">
                <a:ln>
                  <a:noFill/>
                </a:ln>
                <a:solidFill>
                  <a:sysClr val="windowText" lastClr="000000"/>
                </a:solidFill>
                <a:effectLst/>
                <a:uLnTx/>
                <a:uFillTx/>
                <a:latin typeface="Calibri"/>
                <a:ea typeface="+mn-ea"/>
                <a:cs typeface="Calibri"/>
              </a:rPr>
              <a:t>by</a:t>
            </a:r>
            <a:r>
              <a:rPr kumimoji="0" sz="1412" b="1" i="0" u="none" strike="noStrike" kern="0" cap="none" spc="35" normalizeH="0" baseline="0" noProof="0">
                <a:ln>
                  <a:noFill/>
                </a:ln>
                <a:solidFill>
                  <a:sysClr val="windowText" lastClr="000000"/>
                </a:solidFill>
                <a:effectLst/>
                <a:uLnTx/>
                <a:uFillTx/>
                <a:latin typeface="Calibri"/>
                <a:ea typeface="+mn-ea"/>
                <a:cs typeface="Calibri"/>
              </a:rPr>
              <a:t> </a:t>
            </a:r>
            <a:r>
              <a:rPr kumimoji="0" sz="1412" b="1" i="0" u="none" strike="noStrike" kern="0" cap="none" spc="66" normalizeH="0" baseline="0" noProof="0">
                <a:ln>
                  <a:noFill/>
                </a:ln>
                <a:solidFill>
                  <a:sysClr val="windowText" lastClr="000000"/>
                </a:solidFill>
                <a:effectLst/>
                <a:uLnTx/>
                <a:uFillTx/>
                <a:latin typeface="Calibri"/>
                <a:ea typeface="+mn-ea"/>
                <a:cs typeface="Calibri"/>
              </a:rPr>
              <a:t>2050</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282"/>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a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mmitte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e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zero</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mission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goal</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rom</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ll</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global </a:t>
            </a:r>
            <a:r>
              <a:rPr kumimoji="0" sz="927" b="0" i="0" u="none" strike="noStrike" kern="0" cap="none" spc="0" normalizeH="0" baseline="0" noProof="0">
                <a:ln>
                  <a:noFill/>
                </a:ln>
                <a:solidFill>
                  <a:sysClr val="windowText" lastClr="000000"/>
                </a:solidFill>
                <a:effectLst/>
                <a:uLnTx/>
                <a:uFillTx/>
                <a:latin typeface="Calibri"/>
                <a:ea typeface="+mn-ea"/>
                <a:cs typeface="Calibri"/>
              </a:rPr>
              <a:t>operations</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by</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2050,</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demonstrating</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ts</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long-term</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mmitment</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dvancing </a:t>
            </a:r>
            <a:r>
              <a:rPr kumimoji="0" sz="927" b="0" i="0" u="none" strike="noStrike" kern="0" cap="none" spc="0" normalizeH="0" baseline="0" noProof="0">
                <a:ln>
                  <a:noFill/>
                </a:ln>
                <a:solidFill>
                  <a:sysClr val="windowText" lastClr="000000"/>
                </a:solidFill>
                <a:effectLst/>
                <a:uLnTx/>
                <a:uFillTx/>
                <a:latin typeface="Calibri"/>
                <a:ea typeface="+mn-ea"/>
                <a:cs typeface="Calibri"/>
              </a:rPr>
              <a:t>climat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hang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ustainabilit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roughou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t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busines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reach</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i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anada </a:t>
            </a:r>
            <a:r>
              <a:rPr kumimoji="0" sz="927" b="0" i="0" u="none" strike="noStrike" kern="0" cap="none" spc="0" normalizeH="0" baseline="0" noProof="0">
                <a:ln>
                  <a:noFill/>
                </a:ln>
                <a:solidFill>
                  <a:sysClr val="windowText" lastClr="000000"/>
                </a:solidFill>
                <a:effectLst/>
                <a:uLnTx/>
                <a:uFillTx/>
                <a:latin typeface="Calibri"/>
                <a:ea typeface="+mn-ea"/>
                <a:cs typeface="Calibri"/>
              </a:rPr>
              <a:t>ha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et</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bsolut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idterm</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57" normalizeH="0" baseline="0" noProof="0">
                <a:ln>
                  <a:noFill/>
                </a:ln>
                <a:solidFill>
                  <a:sysClr val="windowText" lastClr="000000"/>
                </a:solidFill>
                <a:effectLst/>
                <a:uLnTx/>
                <a:uFillTx/>
                <a:latin typeface="Calibri"/>
                <a:ea typeface="+mn-ea"/>
                <a:cs typeface="Calibri"/>
              </a:rPr>
              <a:t>GHG</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et</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reduction</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arget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b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2030</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t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nd </a:t>
            </a:r>
            <a:r>
              <a:rPr kumimoji="0" sz="927" b="0" i="0" u="none" strike="noStrike" kern="0" cap="none" spc="0" normalizeH="0" baseline="0" noProof="0">
                <a:ln>
                  <a:noFill/>
                </a:ln>
                <a:solidFill>
                  <a:sysClr val="windowText" lastClr="000000"/>
                </a:solidFill>
                <a:effectLst/>
                <a:uLnTx/>
                <a:uFillTx/>
                <a:latin typeface="Calibri"/>
                <a:ea typeface="+mn-ea"/>
                <a:cs typeface="Calibri"/>
              </a:rPr>
              <a:t>ground</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peration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mpared</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t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2019</a:t>
            </a:r>
            <a:r>
              <a:rPr kumimoji="0" sz="927" b="0" i="0" u="none" strike="noStrike" kern="0" cap="none" spc="-9" normalizeH="0" baseline="0" noProof="0">
                <a:ln>
                  <a:noFill/>
                </a:ln>
                <a:solidFill>
                  <a:sysClr val="windowText" lastClr="000000"/>
                </a:solidFill>
                <a:effectLst/>
                <a:uLnTx/>
                <a:uFillTx/>
                <a:latin typeface="Calibri"/>
                <a:ea typeface="+mn-ea"/>
                <a:cs typeface="Calibri"/>
              </a:rPr>
              <a:t> baselin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7" name="object 7"/>
          <p:cNvSpPr txBox="1"/>
          <p:nvPr/>
        </p:nvSpPr>
        <p:spPr>
          <a:xfrm>
            <a:off x="2061883" y="2825674"/>
            <a:ext cx="143435" cy="228619"/>
          </a:xfrm>
          <a:prstGeom prst="rect">
            <a:avLst/>
          </a:prstGeom>
        </p:spPr>
        <p:txBody>
          <a:bodyPr vert="horz" wrap="square" lIns="0" tIns="11206" rIns="0" bIns="0" rtlCol="0">
            <a:spAutoFit/>
          </a:bodyPr>
          <a:lstStyle/>
          <a:p>
            <a:pPr marL="0" marR="0" lvl="0" indent="0" algn="l" defTabSz="806867" rtl="0" eaLnBrk="1" fontAlgn="auto" latinLnBrk="0" hangingPunct="1">
              <a:lnSpc>
                <a:spcPct val="100000"/>
              </a:lnSpc>
              <a:spcBef>
                <a:spcPts val="88"/>
              </a:spcBef>
              <a:spcAft>
                <a:spcPts val="0"/>
              </a:spcAft>
              <a:buClrTx/>
              <a:buSzTx/>
              <a:buFontTx/>
              <a:buNone/>
              <a:tabLst/>
              <a:defRPr/>
            </a:pPr>
            <a:r>
              <a:rPr kumimoji="0" sz="1412" b="1" i="0" u="none" strike="noStrike" kern="0" cap="none" spc="-150" normalizeH="0" baseline="0" noProof="0">
                <a:ln>
                  <a:noFill/>
                </a:ln>
                <a:solidFill>
                  <a:srgbClr val="B79A81"/>
                </a:solidFill>
                <a:effectLst/>
                <a:uLnTx/>
                <a:uFillTx/>
                <a:latin typeface="Calibri"/>
                <a:ea typeface="+mn-ea"/>
                <a:cs typeface="Calibri"/>
              </a:rPr>
              <a:t>—</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p:txBody>
      </p:sp>
      <p:pic>
        <p:nvPicPr>
          <p:cNvPr id="8" name="object 8"/>
          <p:cNvPicPr/>
          <p:nvPr/>
        </p:nvPicPr>
        <p:blipFill>
          <a:blip r:embed="rId4" cstate="print"/>
          <a:stretch>
            <a:fillRect/>
          </a:stretch>
        </p:blipFill>
        <p:spPr>
          <a:xfrm>
            <a:off x="4476442" y="4299669"/>
            <a:ext cx="117236" cy="117236"/>
          </a:xfrm>
          <a:prstGeom prst="rect">
            <a:avLst/>
          </a:prstGeom>
        </p:spPr>
      </p:pic>
      <p:pic>
        <p:nvPicPr>
          <p:cNvPr id="9" name="object 9"/>
          <p:cNvPicPr/>
          <p:nvPr/>
        </p:nvPicPr>
        <p:blipFill>
          <a:blip r:embed="rId5" cstate="print"/>
          <a:stretch>
            <a:fillRect/>
          </a:stretch>
        </p:blipFill>
        <p:spPr>
          <a:xfrm>
            <a:off x="3287627" y="6182257"/>
            <a:ext cx="117236" cy="117236"/>
          </a:xfrm>
          <a:prstGeom prst="rect">
            <a:avLst/>
          </a:prstGeom>
        </p:spPr>
      </p:pic>
      <p:sp>
        <p:nvSpPr>
          <p:cNvPr id="10" name="object 10"/>
          <p:cNvSpPr txBox="1"/>
          <p:nvPr/>
        </p:nvSpPr>
        <p:spPr>
          <a:xfrm>
            <a:off x="2050676" y="3111371"/>
            <a:ext cx="3824568" cy="3309118"/>
          </a:xfrm>
          <a:prstGeom prst="rect">
            <a:avLst/>
          </a:prstGeom>
        </p:spPr>
        <p:txBody>
          <a:bodyPr vert="horz" wrap="square" lIns="0" tIns="50426" rIns="0" bIns="0" rtlCol="0">
            <a:spAutoFit/>
          </a:bodyPr>
          <a:lstStyle/>
          <a:p>
            <a:pPr marL="11206" marR="0" lvl="0" indent="0" algn="l" defTabSz="806867" rtl="0" eaLnBrk="1" fontAlgn="auto" latinLnBrk="0" hangingPunct="1">
              <a:lnSpc>
                <a:spcPct val="100000"/>
              </a:lnSpc>
              <a:spcBef>
                <a:spcPts val="397"/>
              </a:spcBef>
              <a:spcAft>
                <a:spcPts val="0"/>
              </a:spcAft>
              <a:buClrTx/>
              <a:buSzTx/>
              <a:buFontTx/>
              <a:buNone/>
              <a:tabLst/>
              <a:defRPr/>
            </a:pPr>
            <a:r>
              <a:rPr kumimoji="0" sz="1412" b="1" i="0" u="none" strike="noStrike" kern="0" cap="none" spc="-9" normalizeH="0" baseline="0" noProof="0">
                <a:ln>
                  <a:noFill/>
                </a:ln>
                <a:solidFill>
                  <a:sysClr val="windowText" lastClr="000000"/>
                </a:solidFill>
                <a:effectLst/>
                <a:uLnTx/>
                <a:uFillTx/>
                <a:latin typeface="Calibri"/>
                <a:ea typeface="+mn-ea"/>
                <a:cs typeface="Calibri"/>
              </a:rPr>
              <a:t>Aeroplan</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1206" marR="138400" lvl="0" indent="0" algn="l" defTabSz="806867" rtl="0" eaLnBrk="1" fontAlgn="auto" latinLnBrk="0" hangingPunct="1">
              <a:lnSpc>
                <a:spcPts val="1059"/>
              </a:lnSpc>
              <a:spcBef>
                <a:spcPts val="282"/>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s Aeroplan is Canada’s leading travel loyalty </a:t>
            </a:r>
            <a:r>
              <a:rPr kumimoji="0" sz="927" b="0" i="0" u="none" strike="noStrike" kern="0" cap="none" spc="-9" normalizeH="0" baseline="0" noProof="0">
                <a:ln>
                  <a:noFill/>
                </a:ln>
                <a:solidFill>
                  <a:sysClr val="windowText" lastClr="000000"/>
                </a:solidFill>
                <a:effectLst/>
                <a:uLnTx/>
                <a:uFillTx/>
                <a:latin typeface="Calibri"/>
                <a:ea typeface="+mn-ea"/>
                <a:cs typeface="Calibri"/>
              </a:rPr>
              <a:t>program,</a:t>
            </a:r>
            <a:r>
              <a:rPr kumimoji="0" sz="927" b="0" i="0" u="none" strike="noStrike" kern="0" cap="none" spc="0" normalizeH="0" baseline="0" noProof="0">
                <a:ln>
                  <a:noFill/>
                </a:ln>
                <a:solidFill>
                  <a:sysClr val="windowText" lastClr="000000"/>
                </a:solidFill>
                <a:effectLst/>
                <a:uLnTx/>
                <a:uFillTx/>
                <a:latin typeface="Calibri"/>
                <a:ea typeface="+mn-ea"/>
                <a:cs typeface="Calibri"/>
              </a:rPr>
              <a:t> chose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by </a:t>
            </a:r>
            <a:r>
              <a:rPr kumimoji="0" sz="927" b="0" i="0" u="none" strike="noStrike" kern="0" cap="none" spc="0" normalizeH="0" baseline="0" noProof="0">
                <a:ln>
                  <a:noFill/>
                </a:ln>
                <a:solidFill>
                  <a:sysClr val="windowText" lastClr="000000"/>
                </a:solidFill>
                <a:effectLst/>
                <a:uLnTx/>
                <a:uFillTx/>
                <a:latin typeface="Calibri"/>
                <a:ea typeface="+mn-ea"/>
                <a:cs typeface="Calibri"/>
              </a:rPr>
              <a:t>million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f</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ravellers </a:t>
            </a:r>
            <a:r>
              <a:rPr kumimoji="0" sz="927" b="0" i="0" u="none" strike="noStrike" kern="0" cap="none" spc="-9" normalizeH="0" baseline="0" noProof="0">
                <a:ln>
                  <a:noFill/>
                </a:ln>
                <a:solidFill>
                  <a:sysClr val="windowText" lastClr="000000"/>
                </a:solidFill>
                <a:effectLst/>
                <a:uLnTx/>
                <a:uFillTx/>
                <a:latin typeface="Calibri"/>
                <a:ea typeface="+mn-ea"/>
                <a:cs typeface="Calibri"/>
              </a:rPr>
              <a:t>worldwid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eroplan help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ember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ravel mor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nd </a:t>
            </a:r>
            <a:r>
              <a:rPr kumimoji="0" sz="927" b="0" i="0" u="none" strike="noStrike" kern="0" cap="none" spc="0" normalizeH="0" baseline="0" noProof="0">
                <a:ln>
                  <a:noFill/>
                </a:ln>
                <a:solidFill>
                  <a:sysClr val="windowText" lastClr="000000"/>
                </a:solidFill>
                <a:effectLst/>
                <a:uLnTx/>
                <a:uFillTx/>
                <a:latin typeface="Calibri"/>
                <a:ea typeface="+mn-ea"/>
                <a:cs typeface="Calibri"/>
              </a:rPr>
              <a:t>offer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bility</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arn</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r</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deem</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oint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ll</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ight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ell</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s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9" normalizeH="0" baseline="0" noProof="0">
                <a:ln>
                  <a:noFill/>
                </a:ln>
                <a:solidFill>
                  <a:sysClr val="windowText" lastClr="000000"/>
                </a:solidFill>
                <a:effectLst/>
                <a:uLnTx/>
                <a:uFillTx/>
                <a:latin typeface="Calibri"/>
                <a:ea typeface="+mn-ea"/>
                <a:cs typeface="Calibri"/>
              </a:rPr>
              <a:t> world’s </a:t>
            </a:r>
            <a:r>
              <a:rPr kumimoji="0" sz="927" b="0" i="0" u="none" strike="noStrike" kern="0" cap="none" spc="0" normalizeH="0" baseline="0" noProof="0">
                <a:ln>
                  <a:noFill/>
                </a:ln>
                <a:solidFill>
                  <a:sysClr val="windowText" lastClr="000000"/>
                </a:solidFill>
                <a:effectLst/>
                <a:uLnTx/>
                <a:uFillTx/>
                <a:latin typeface="Calibri"/>
                <a:ea typeface="+mn-ea"/>
                <a:cs typeface="Calibri"/>
              </a:rPr>
              <a:t>larges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lin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artne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etwork,</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ncompassing</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ve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53" normalizeH="0" baseline="0" noProof="0">
                <a:ln>
                  <a:noFill/>
                </a:ln>
                <a:solidFill>
                  <a:sysClr val="windowText" lastClr="000000"/>
                </a:solidFill>
                <a:effectLst/>
                <a:uLnTx/>
                <a:uFillTx/>
                <a:latin typeface="Calibri"/>
                <a:ea typeface="+mn-ea"/>
                <a:cs typeface="Calibri"/>
              </a:rPr>
              <a:t>40</a:t>
            </a:r>
            <a:r>
              <a:rPr kumimoji="0" sz="927" b="0" i="0" u="none" strike="noStrike" kern="0" cap="none" spc="-9" normalizeH="0" baseline="0" noProof="0">
                <a:ln>
                  <a:noFill/>
                </a:ln>
                <a:solidFill>
                  <a:sysClr val="windowText" lastClr="000000"/>
                </a:solidFill>
                <a:effectLst/>
                <a:uLnTx/>
                <a:uFillTx/>
                <a:latin typeface="Calibri"/>
                <a:ea typeface="+mn-ea"/>
                <a:cs typeface="Calibri"/>
              </a:rPr>
              <a:t> airlines </a:t>
            </a:r>
            <a:r>
              <a:rPr kumimoji="0" sz="927" b="0" i="0" u="none" strike="noStrike" kern="0" cap="none" spc="0" normalizeH="0" baseline="0" noProof="0">
                <a:ln>
                  <a:noFill/>
                </a:ln>
                <a:solidFill>
                  <a:sysClr val="windowText" lastClr="000000"/>
                </a:solidFill>
                <a:effectLst/>
                <a:uLnTx/>
                <a:uFillTx/>
                <a:latin typeface="Calibri"/>
                <a:ea typeface="+mn-ea"/>
                <a:cs typeface="Calibri"/>
              </a:rPr>
              <a:t>serving</a:t>
            </a:r>
            <a:r>
              <a:rPr kumimoji="0" sz="927" b="0" i="0" u="none" strike="noStrike" kern="0" cap="none" spc="-9" normalizeH="0" baseline="0" noProof="0">
                <a:ln>
                  <a:noFill/>
                </a:ln>
                <a:solidFill>
                  <a:sysClr val="windowText" lastClr="000000"/>
                </a:solidFill>
                <a:effectLst/>
                <a:uLnTx/>
                <a:uFillTx/>
                <a:latin typeface="Calibri"/>
                <a:ea typeface="+mn-ea"/>
                <a:cs typeface="Calibri"/>
              </a:rPr>
              <a:t> hundred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f</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destination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cros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glob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ts val="1059"/>
              </a:lnSpc>
              <a:spcBef>
                <a:spcPts val="529"/>
              </a:spcBef>
              <a:spcAft>
                <a:spcPts val="0"/>
              </a:spcAft>
              <a:buClrTx/>
              <a:buSzTx/>
              <a:buFontTx/>
              <a:buNone/>
              <a:tabLst>
                <a:tab pos="2543311" algn="l"/>
              </a:tabLst>
              <a:defRPr/>
            </a:pPr>
            <a:r>
              <a:rPr kumimoji="0" sz="927" b="0" i="0" u="none" strike="noStrike" kern="0" cap="none" spc="-9" normalizeH="0" baseline="0" noProof="0">
                <a:ln>
                  <a:noFill/>
                </a:ln>
                <a:solidFill>
                  <a:sysClr val="windowText" lastClr="000000"/>
                </a:solidFill>
                <a:effectLst/>
                <a:uLnTx/>
                <a:uFillTx/>
                <a:latin typeface="Calibri"/>
                <a:ea typeface="+mn-ea"/>
                <a:cs typeface="Calibri"/>
              </a:rPr>
              <a:t>Member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arn points with </a:t>
            </a:r>
            <a:r>
              <a:rPr kumimoji="0" sz="927" b="0" i="0" u="none" strike="noStrike" kern="0" cap="none" spc="-9" normalizeH="0" baseline="0" noProof="0">
                <a:ln>
                  <a:noFill/>
                </a:ln>
                <a:solidFill>
                  <a:sysClr val="windowText" lastClr="000000"/>
                </a:solidFill>
                <a:effectLst/>
                <a:uLnTx/>
                <a:uFillTx/>
                <a:latin typeface="Calibri"/>
                <a:ea typeface="+mn-ea"/>
                <a:cs typeface="Calibri"/>
              </a:rPr>
              <a:t>Aeroplan’s</a:t>
            </a:r>
            <a:r>
              <a:rPr kumimoji="0" sz="927" b="0" i="0" u="none" strike="noStrike" kern="0" cap="none" spc="0" normalizeH="0" baseline="0" noProof="0">
                <a:ln>
                  <a:noFill/>
                </a:ln>
                <a:solidFill>
                  <a:sysClr val="windowText" lastClr="000000"/>
                </a:solidFill>
                <a:effectLst/>
                <a:uLnTx/>
                <a:uFillTx/>
                <a:latin typeface="Calibri"/>
                <a:ea typeface="+mn-ea"/>
                <a:cs typeface="Calibri"/>
              </a:rPr>
              <a:t> 150+ financial, retail, and trave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artners, </a:t>
            </a:r>
            <a:r>
              <a:rPr kumimoji="0" sz="927" b="0" i="0" u="none" strike="noStrike" kern="0" cap="none" spc="0" normalizeH="0" baseline="0" noProof="0">
                <a:ln>
                  <a:noFill/>
                </a:ln>
                <a:solidFill>
                  <a:sysClr val="windowText" lastClr="000000"/>
                </a:solidFill>
                <a:effectLst/>
                <a:uLnTx/>
                <a:uFillTx/>
                <a:latin typeface="Calibri"/>
                <a:ea typeface="+mn-ea"/>
                <a:cs typeface="Calibri"/>
              </a:rPr>
              <a:t>including</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lin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hopping</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via</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eropla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rgbClr val="E2201F"/>
                </a:solidFill>
                <a:effectLst/>
                <a:uLnTx/>
                <a:uFillTx/>
                <a:latin typeface="Calibri"/>
                <a:ea typeface="+mn-ea"/>
                <a:cs typeface="Calibri"/>
                <a:hlinkClick r:id="rId6"/>
              </a:rPr>
              <a:t>eStore</a:t>
            </a:r>
            <a:r>
              <a:rPr kumimoji="0" sz="927" b="0" i="0" u="none" strike="noStrike" kern="0" cap="none" spc="0" normalizeH="0" baseline="0" noProof="0">
                <a:ln>
                  <a:noFill/>
                </a:ln>
                <a:solidFill>
                  <a:srgbClr val="E2201F"/>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t>
            </a:r>
            <a:r>
              <a:rPr kumimoji="0" sz="927" b="0" i="0" u="none" strike="noStrike" kern="0" cap="none" spc="207"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 addition to </a:t>
            </a:r>
            <a:r>
              <a:rPr kumimoji="0" sz="927" b="0" i="0" u="none" strike="noStrike" kern="0" cap="none" spc="-9" normalizeH="0" baseline="0" noProof="0">
                <a:ln>
                  <a:noFill/>
                </a:ln>
                <a:solidFill>
                  <a:sysClr val="windowText" lastClr="000000"/>
                </a:solidFill>
                <a:effectLst/>
                <a:uLnTx/>
                <a:uFillTx/>
                <a:latin typeface="Calibri"/>
                <a:ea typeface="+mn-ea"/>
                <a:cs typeface="Calibri"/>
              </a:rPr>
              <a:t>flights, </a:t>
            </a:r>
            <a:r>
              <a:rPr kumimoji="0" sz="927" b="0" i="0" u="none" strike="noStrike" kern="0" cap="none" spc="0" normalizeH="0" baseline="0" noProof="0">
                <a:ln>
                  <a:noFill/>
                </a:ln>
                <a:solidFill>
                  <a:sysClr val="windowText" lastClr="000000"/>
                </a:solidFill>
                <a:effectLst/>
                <a:uLnTx/>
                <a:uFillTx/>
                <a:latin typeface="Calibri"/>
                <a:ea typeface="+mn-ea"/>
                <a:cs typeface="Calibri"/>
              </a:rPr>
              <a:t>member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lso</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av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cces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 a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xtensiv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rang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f</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merchandise,</a:t>
            </a:r>
            <a:r>
              <a:rPr kumimoji="0" sz="927" b="0" i="0" u="none" strike="noStrike" kern="0" cap="none" spc="0" normalizeH="0" baseline="0" noProof="0">
                <a:ln>
                  <a:noFill/>
                </a:ln>
                <a:solidFill>
                  <a:sysClr val="windowText" lastClr="000000"/>
                </a:solidFill>
                <a:effectLst/>
                <a:uLnTx/>
                <a:uFillTx/>
                <a:latin typeface="Calibri"/>
                <a:ea typeface="+mn-ea"/>
                <a:cs typeface="Calibri"/>
              </a:rPr>
              <a:t> hote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nd</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ts val="1032"/>
              </a:lnSpc>
              <a:spcBef>
                <a:spcPts val="0"/>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car rental </a:t>
            </a:r>
            <a:r>
              <a:rPr kumimoji="0" sz="927" b="0" i="0" u="none" strike="noStrike" kern="0" cap="none" spc="-9" normalizeH="0" baseline="0" noProof="0">
                <a:ln>
                  <a:noFill/>
                </a:ln>
                <a:solidFill>
                  <a:sysClr val="windowText" lastClr="000000"/>
                </a:solidFill>
                <a:effectLst/>
                <a:uLnTx/>
                <a:uFillTx/>
                <a:latin typeface="Calibri"/>
                <a:ea typeface="+mn-ea"/>
                <a:cs typeface="Calibri"/>
              </a:rPr>
              <a:t>reward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108702" lvl="0" indent="0" algn="l" defTabSz="806867" rtl="0" eaLnBrk="1" fontAlgn="auto" latinLnBrk="0" hangingPunct="1">
              <a:lnSpc>
                <a:spcPts val="1059"/>
              </a:lnSpc>
              <a:spcBef>
                <a:spcPts val="556"/>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eroplan</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ffer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ember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xceptional</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benefit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cluding</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btaining</a:t>
            </a:r>
            <a:r>
              <a:rPr kumimoji="0" sz="927" b="0" i="0" u="none" strike="noStrike" kern="0" cap="none" spc="-9" normalizeH="0" baseline="0" noProof="0">
                <a:ln>
                  <a:noFill/>
                </a:ln>
                <a:solidFill>
                  <a:sysClr val="windowText" lastClr="000000"/>
                </a:solidFill>
                <a:effectLst/>
                <a:uLnTx/>
                <a:uFillTx/>
                <a:latin typeface="Calibri"/>
                <a:ea typeface="+mn-ea"/>
                <a:cs typeface="Calibri"/>
              </a:rPr>
              <a:t> flight rewards</a:t>
            </a:r>
            <a:r>
              <a:rPr kumimoji="0" sz="927" b="0" i="0" u="none" strike="noStrike" kern="0" cap="none" spc="0" normalizeH="0" baseline="0" noProof="0">
                <a:ln>
                  <a:noFill/>
                </a:ln>
                <a:solidFill>
                  <a:sysClr val="windowText" lastClr="000000"/>
                </a:solidFill>
                <a:effectLst/>
                <a:uLnTx/>
                <a:uFillTx/>
                <a:latin typeface="Calibri"/>
                <a:ea typeface="+mn-ea"/>
                <a:cs typeface="Calibri"/>
              </a:rPr>
              <a:t> mor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quickly b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mbining point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ith Aeropla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amil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Sharing,</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aving</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demption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ith</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o</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dditional</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sh</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surcharge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anada </a:t>
            </a:r>
            <a:r>
              <a:rPr kumimoji="0" sz="927" b="0" i="0" u="none" strike="noStrike" kern="0" cap="none" spc="0" normalizeH="0" baseline="0" noProof="0">
                <a:ln>
                  <a:noFill/>
                </a:ln>
                <a:solidFill>
                  <a:sysClr val="windowText" lastClr="000000"/>
                </a:solidFill>
                <a:effectLst/>
                <a:uLnTx/>
                <a:uFillTx/>
                <a:latin typeface="Calibri"/>
                <a:ea typeface="+mn-ea"/>
                <a:cs typeface="Calibri"/>
              </a:rPr>
              <a:t>flights. </a:t>
            </a:r>
            <a:r>
              <a:rPr kumimoji="0" sz="927" b="0" i="0" u="none" strike="noStrike" kern="0" cap="none" spc="-9" normalizeH="0" baseline="0" noProof="0">
                <a:ln>
                  <a:noFill/>
                </a:ln>
                <a:solidFill>
                  <a:sysClr val="windowText" lastClr="000000"/>
                </a:solidFill>
                <a:effectLst/>
                <a:uLnTx/>
                <a:uFillTx/>
                <a:latin typeface="Calibri"/>
                <a:ea typeface="+mn-ea"/>
                <a:cs typeface="Calibri"/>
              </a:rPr>
              <a:t>Aeroplan’s</a:t>
            </a:r>
            <a:r>
              <a:rPr kumimoji="0" sz="927" b="0" i="0" u="none" strike="noStrike" kern="0" cap="none" spc="0"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uniqu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veryday partnership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with</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1223187"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Uber</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tarbucks®,</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LCBO</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nable</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members </a:t>
            </a:r>
            <a:r>
              <a:rPr kumimoji="0" sz="927" b="0" i="0" u="none" strike="noStrike" kern="0" cap="none" spc="0" normalizeH="0" baseline="0" noProof="0">
                <a:ln>
                  <a:noFill/>
                </a:ln>
                <a:solidFill>
                  <a:sysClr val="windowText" lastClr="000000"/>
                </a:solidFill>
                <a:effectLst/>
                <a:uLnTx/>
                <a:uFillTx/>
                <a:latin typeface="Calibri"/>
                <a:ea typeface="+mn-ea"/>
                <a:cs typeface="Calibri"/>
              </a:rPr>
              <a:t>to ear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oint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directl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hen making</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urchas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1239437"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Plu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eropla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lit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tatu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Member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eligible </a:t>
            </a:r>
            <a:r>
              <a:rPr kumimoji="0" sz="927" b="0" i="0" u="none" strike="noStrike" kern="0" cap="none" spc="0" normalizeH="0" baseline="0" noProof="0">
                <a:ln>
                  <a:noFill/>
                </a:ln>
                <a:solidFill>
                  <a:sysClr val="windowText" lastClr="000000"/>
                </a:solidFill>
                <a:effectLst/>
                <a:uLnTx/>
                <a:uFillTx/>
                <a:latin typeface="Calibri"/>
                <a:ea typeface="+mn-ea"/>
                <a:cs typeface="Calibri"/>
              </a:rPr>
              <a:t>Aeroplan</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redit</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rdholder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ave</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cces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dditional </a:t>
            </a:r>
            <a:r>
              <a:rPr kumimoji="0" sz="927" b="0" i="0" u="none" strike="noStrike" kern="0" cap="none" spc="0" normalizeH="0" baseline="0" noProof="0">
                <a:ln>
                  <a:noFill/>
                </a:ln>
                <a:solidFill>
                  <a:sysClr val="windowText" lastClr="000000"/>
                </a:solidFill>
                <a:effectLst/>
                <a:uLnTx/>
                <a:uFillTx/>
                <a:latin typeface="Calibri"/>
                <a:ea typeface="+mn-ea"/>
                <a:cs typeface="Calibri"/>
              </a:rPr>
              <a:t>benefit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uch</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preferre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ricing</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ligh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wards, </a:t>
            </a:r>
            <a:r>
              <a:rPr kumimoji="0" sz="927" b="0" i="0" u="none" strike="noStrike" kern="0" cap="none" spc="0" normalizeH="0" baseline="0" noProof="0">
                <a:ln>
                  <a:noFill/>
                </a:ln>
                <a:solidFill>
                  <a:sysClr val="windowText" lastClr="000000"/>
                </a:solidFill>
                <a:effectLst/>
                <a:uLnTx/>
                <a:uFillTx/>
                <a:latin typeface="Calibri"/>
                <a:ea typeface="+mn-ea"/>
                <a:cs typeface="Calibri"/>
              </a:rPr>
              <a:t>lounge</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cces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mor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ct val="100000"/>
              </a:lnSpc>
              <a:spcBef>
                <a:spcPts val="449"/>
              </a:spcBef>
              <a:spcAft>
                <a:spcPts val="0"/>
              </a:spcAft>
              <a:buClrTx/>
              <a:buSzTx/>
              <a:buFontTx/>
              <a:buNone/>
              <a:tabLst>
                <a:tab pos="1354303" algn="l"/>
              </a:tabLst>
              <a:defRPr/>
            </a:pPr>
            <a:r>
              <a:rPr kumimoji="0" sz="927" b="0" i="0" u="none" strike="noStrike" kern="0" cap="none" spc="-9" normalizeH="0" baseline="0" noProof="0">
                <a:ln>
                  <a:noFill/>
                </a:ln>
                <a:solidFill>
                  <a:sysClr val="windowText" lastClr="000000"/>
                </a:solidFill>
                <a:effectLst/>
                <a:uLnTx/>
                <a:uFillTx/>
                <a:latin typeface="Calibri"/>
                <a:ea typeface="+mn-ea"/>
                <a:cs typeface="Calibri"/>
              </a:rPr>
              <a:t>(</a:t>
            </a:r>
            <a:r>
              <a:rPr kumimoji="0" sz="927" b="0" i="0" u="none" strike="noStrike" kern="0" cap="none" spc="-9" normalizeH="0" baseline="0" noProof="0">
                <a:ln>
                  <a:noFill/>
                </a:ln>
                <a:solidFill>
                  <a:srgbClr val="E2201F"/>
                </a:solidFill>
                <a:effectLst/>
                <a:uLnTx/>
                <a:uFillTx/>
                <a:latin typeface="Calibri"/>
                <a:ea typeface="+mn-ea"/>
                <a:cs typeface="Calibri"/>
                <a:hlinkClick r:id="rId7"/>
              </a:rPr>
              <a:t>aircanada.com/aeroplan</a:t>
            </a:r>
            <a:r>
              <a:rPr kumimoji="0" sz="927" b="0" i="0" u="none" strike="noStrike" kern="0" cap="none" spc="0" normalizeH="0" baseline="0" noProof="0">
                <a:ln>
                  <a:noFill/>
                </a:ln>
                <a:solidFill>
                  <a:srgbClr val="E2201F"/>
                </a:solidFill>
                <a:effectLst/>
                <a:uLnTx/>
                <a:uFillTx/>
                <a:latin typeface="Calibri"/>
                <a:ea typeface="+mn-ea"/>
                <a:cs typeface="Calibri"/>
              </a:rPr>
              <a:t>	</a:t>
            </a:r>
            <a:r>
              <a:rPr kumimoji="0" sz="927" b="0" i="0" u="none" strike="noStrike" kern="0" cap="none" spc="-44" normalizeH="0" baseline="0" noProof="0">
                <a:ln>
                  <a:noFill/>
                </a:ln>
                <a:solidFill>
                  <a:sysClr val="windowText" lastClr="000000"/>
                </a:solidFill>
                <a:effectLst/>
                <a:uLnTx/>
                <a:uFillTx/>
                <a:latin typeface="Calibri"/>
                <a:ea typeface="+mn-ea"/>
                <a:cs typeface="Calibri"/>
              </a:rPr>
              <a: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1" name="object 11"/>
          <p:cNvSpPr txBox="1"/>
          <p:nvPr/>
        </p:nvSpPr>
        <p:spPr>
          <a:xfrm>
            <a:off x="6498047" y="603584"/>
            <a:ext cx="3376893" cy="2885925"/>
          </a:xfrm>
          <a:prstGeom prst="rect">
            <a:avLst/>
          </a:prstGeom>
        </p:spPr>
        <p:txBody>
          <a:bodyPr vert="horz" wrap="square" lIns="0" tIns="50426" rIns="0" bIns="0" rtlCol="0">
            <a:spAutoFit/>
          </a:bodyPr>
          <a:lstStyle/>
          <a:p>
            <a:pPr marL="11206" marR="0" lvl="0" indent="0" algn="l" defTabSz="806867" rtl="0" eaLnBrk="1" fontAlgn="auto" latinLnBrk="0" hangingPunct="1">
              <a:lnSpc>
                <a:spcPct val="100000"/>
              </a:lnSpc>
              <a:spcBef>
                <a:spcPts val="397"/>
              </a:spcBef>
              <a:spcAft>
                <a:spcPts val="0"/>
              </a:spcAft>
              <a:buClrTx/>
              <a:buSzTx/>
              <a:buFontTx/>
              <a:buNone/>
              <a:tabLst/>
              <a:defRPr/>
            </a:pPr>
            <a:r>
              <a:rPr kumimoji="0" sz="1412" b="1" i="0" u="none" strike="noStrike" kern="0" cap="none" spc="0" normalizeH="0" baseline="0" noProof="0">
                <a:ln>
                  <a:noFill/>
                </a:ln>
                <a:solidFill>
                  <a:srgbClr val="FFFFFF"/>
                </a:solidFill>
                <a:effectLst/>
                <a:uLnTx/>
                <a:uFillTx/>
                <a:latin typeface="Calibri"/>
                <a:ea typeface="+mn-ea"/>
                <a:cs typeface="Calibri"/>
              </a:rPr>
              <a:t>Air</a:t>
            </a:r>
            <a:r>
              <a:rPr kumimoji="0" sz="1412" b="1" i="0" u="none" strike="noStrike" kern="0" cap="none" spc="101" normalizeH="0" baseline="0" noProof="0">
                <a:ln>
                  <a:noFill/>
                </a:ln>
                <a:solidFill>
                  <a:srgbClr val="FFFFFF"/>
                </a:solidFill>
                <a:effectLst/>
                <a:uLnTx/>
                <a:uFillTx/>
                <a:latin typeface="Calibri"/>
                <a:ea typeface="+mn-ea"/>
                <a:cs typeface="Calibri"/>
              </a:rPr>
              <a:t> </a:t>
            </a:r>
            <a:r>
              <a:rPr kumimoji="0" sz="1412" b="1" i="0" u="none" strike="noStrike" kern="0" cap="none" spc="0" normalizeH="0" baseline="0" noProof="0">
                <a:ln>
                  <a:noFill/>
                </a:ln>
                <a:solidFill>
                  <a:srgbClr val="FFFFFF"/>
                </a:solidFill>
                <a:effectLst/>
                <a:uLnTx/>
                <a:uFillTx/>
                <a:latin typeface="Calibri"/>
                <a:ea typeface="+mn-ea"/>
                <a:cs typeface="Calibri"/>
              </a:rPr>
              <a:t>Canada</a:t>
            </a:r>
            <a:r>
              <a:rPr kumimoji="0" sz="1412" b="1" i="0" u="none" strike="noStrike" kern="0" cap="none" spc="106" normalizeH="0" baseline="0" noProof="0">
                <a:ln>
                  <a:noFill/>
                </a:ln>
                <a:solidFill>
                  <a:srgbClr val="FFFFFF"/>
                </a:solidFill>
                <a:effectLst/>
                <a:uLnTx/>
                <a:uFillTx/>
                <a:latin typeface="Calibri"/>
                <a:ea typeface="+mn-ea"/>
                <a:cs typeface="Calibri"/>
              </a:rPr>
              <a:t> </a:t>
            </a:r>
            <a:r>
              <a:rPr kumimoji="0" sz="1412" b="1" i="0" u="none" strike="noStrike" kern="0" cap="none" spc="53" normalizeH="0" baseline="0" noProof="0">
                <a:ln>
                  <a:noFill/>
                </a:ln>
                <a:solidFill>
                  <a:srgbClr val="FFFFFF"/>
                </a:solidFill>
                <a:effectLst/>
                <a:uLnTx/>
                <a:uFillTx/>
                <a:latin typeface="Calibri"/>
                <a:ea typeface="+mn-ea"/>
                <a:cs typeface="Calibri"/>
              </a:rPr>
              <a:t>Cargo</a:t>
            </a:r>
            <a:r>
              <a:rPr kumimoji="0" sz="1412" b="1" i="0" u="none" strike="noStrike" kern="0" cap="none" spc="106" normalizeH="0" baseline="0" noProof="0">
                <a:ln>
                  <a:noFill/>
                </a:ln>
                <a:solidFill>
                  <a:srgbClr val="FFFFFF"/>
                </a:solidFill>
                <a:effectLst/>
                <a:uLnTx/>
                <a:uFillTx/>
                <a:latin typeface="Calibri"/>
                <a:ea typeface="+mn-ea"/>
                <a:cs typeface="Calibri"/>
              </a:rPr>
              <a:t> </a:t>
            </a:r>
            <a:r>
              <a:rPr kumimoji="0" sz="1412" b="1" i="0" u="none" strike="noStrike" kern="0" cap="none" spc="-9" normalizeH="0" baseline="0" noProof="0">
                <a:ln>
                  <a:noFill/>
                </a:ln>
                <a:solidFill>
                  <a:srgbClr val="FFFFFF"/>
                </a:solidFill>
                <a:effectLst/>
                <a:uLnTx/>
                <a:uFillTx/>
                <a:latin typeface="Calibri"/>
                <a:ea typeface="+mn-ea"/>
                <a:cs typeface="Calibri"/>
              </a:rPr>
              <a:t>Business</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282"/>
              </a:spcBef>
              <a:spcAft>
                <a:spcPts val="0"/>
              </a:spcAft>
              <a:buClrTx/>
              <a:buSzTx/>
              <a:buFontTx/>
              <a:buNone/>
              <a:tabLst/>
              <a:defRPr/>
            </a:pPr>
            <a:r>
              <a:rPr kumimoji="0" sz="927" b="0" i="0" u="none" strike="noStrike" kern="0" cap="none" spc="0" normalizeH="0" baseline="0" noProof="0">
                <a:ln>
                  <a:noFill/>
                </a:ln>
                <a:solidFill>
                  <a:srgbClr val="FFFFFF"/>
                </a:solidFill>
                <a:effectLst/>
                <a:uLnTx/>
                <a:uFillTx/>
                <a:latin typeface="Calibri"/>
                <a:ea typeface="+mn-ea"/>
                <a:cs typeface="Calibri"/>
              </a:rPr>
              <a:t>Air</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nada</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rgo,</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freight</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division</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f</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ir</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nada,</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provides</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services </a:t>
            </a:r>
            <a:r>
              <a:rPr kumimoji="0" sz="927" b="0" i="0" u="none" strike="noStrike" kern="0" cap="none" spc="0" normalizeH="0" baseline="0" noProof="0">
                <a:ln>
                  <a:noFill/>
                </a:ln>
                <a:solidFill>
                  <a:srgbClr val="FFFFFF"/>
                </a:solidFill>
                <a:effectLst/>
                <a:uLnTx/>
                <a:uFillTx/>
                <a:latin typeface="Calibri"/>
                <a:ea typeface="+mn-ea"/>
                <a:cs typeface="Calibri"/>
              </a:rPr>
              <a:t>within</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nada</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 t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ajor</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ities around</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world. In</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March</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2020,</a:t>
            </a:r>
            <a:r>
              <a:rPr kumimoji="0" sz="927" b="0" i="0" u="none" strike="noStrike" kern="0" cap="none" spc="441"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t</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re-</a:t>
            </a:r>
            <a:r>
              <a:rPr kumimoji="0" sz="927" b="0" i="0" u="none" strike="noStrike" kern="0" cap="none" spc="-9" normalizeH="0" baseline="0" noProof="0">
                <a:ln>
                  <a:noFill/>
                </a:ln>
                <a:solidFill>
                  <a:srgbClr val="FFFFFF"/>
                </a:solidFill>
                <a:effectLst/>
                <a:uLnTx/>
                <a:uFillTx/>
                <a:latin typeface="Calibri"/>
                <a:ea typeface="+mn-ea"/>
                <a:cs typeface="Calibri"/>
              </a:rPr>
              <a:t>engineered</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t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busines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odel</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from</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primarily</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transporting</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28576"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rgbClr val="FFFFFF"/>
                </a:solidFill>
                <a:effectLst/>
                <a:uLnTx/>
                <a:uFillTx/>
                <a:latin typeface="Calibri"/>
                <a:ea typeface="+mn-ea"/>
                <a:cs typeface="Calibri"/>
              </a:rPr>
              <a:t>cargo</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n</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belly</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f</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passenger</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ircraft</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launching</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rgo-</a:t>
            </a:r>
            <a:r>
              <a:rPr kumimoji="0" sz="927" b="0" i="0" u="none" strike="noStrike" kern="0" cap="none" spc="-18" normalizeH="0" baseline="0" noProof="0">
                <a:ln>
                  <a:noFill/>
                </a:ln>
                <a:solidFill>
                  <a:srgbClr val="FFFFFF"/>
                </a:solidFill>
                <a:effectLst/>
                <a:uLnTx/>
                <a:uFillTx/>
                <a:latin typeface="Calibri"/>
                <a:ea typeface="+mn-ea"/>
                <a:cs typeface="Calibri"/>
              </a:rPr>
              <a:t>only</a:t>
            </a:r>
            <a:r>
              <a:rPr kumimoji="0" sz="927" b="0" i="0" u="none" strike="noStrike" kern="0" cap="none" spc="441"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flight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ncluding</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emporarily</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odifying</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veral</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widebody</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ircraft</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22" normalizeH="0" baseline="0" noProof="0">
                <a:ln>
                  <a:noFill/>
                </a:ln>
                <a:solidFill>
                  <a:srgbClr val="FFFFFF"/>
                </a:solidFill>
                <a:effectLst/>
                <a:uLnTx/>
                <a:uFillTx/>
                <a:latin typeface="Calibri"/>
                <a:ea typeface="+mn-ea"/>
                <a:cs typeface="Calibri"/>
              </a:rPr>
              <a:t>to </a:t>
            </a:r>
            <a:r>
              <a:rPr kumimoji="0" sz="927" b="0" i="0" u="none" strike="noStrike" kern="0" cap="none" spc="0" normalizeH="0" baseline="0" noProof="0">
                <a:ln>
                  <a:noFill/>
                </a:ln>
                <a:solidFill>
                  <a:srgbClr val="FFFFFF"/>
                </a:solidFill>
                <a:effectLst/>
                <a:uLnTx/>
                <a:uFillTx/>
                <a:latin typeface="Calibri"/>
                <a:ea typeface="+mn-ea"/>
                <a:cs typeface="Calibri"/>
              </a:rPr>
              <a:t>doubl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rg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pacity.</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dat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ver</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14,000</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rg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flights</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hav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18" normalizeH="0" baseline="0" noProof="0">
                <a:ln>
                  <a:noFill/>
                </a:ln>
                <a:solidFill>
                  <a:srgbClr val="FFFFFF"/>
                </a:solidFill>
                <a:effectLst/>
                <a:uLnTx/>
                <a:uFillTx/>
                <a:latin typeface="Calibri"/>
                <a:ea typeface="+mn-ea"/>
                <a:cs typeface="Calibri"/>
              </a:rPr>
              <a:t>been </a:t>
            </a:r>
            <a:r>
              <a:rPr kumimoji="0" sz="927" b="0" i="0" u="none" strike="noStrike" kern="0" cap="none" spc="0" normalizeH="0" baseline="0" noProof="0">
                <a:ln>
                  <a:noFill/>
                </a:ln>
                <a:solidFill>
                  <a:srgbClr val="FFFFFF"/>
                </a:solidFill>
                <a:effectLst/>
                <a:uLnTx/>
                <a:uFillTx/>
                <a:latin typeface="Calibri"/>
                <a:ea typeface="+mn-ea"/>
                <a:cs typeface="Calibri"/>
              </a:rPr>
              <a:t>completed,</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playing</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valuabl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rol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n</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aintaining</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global</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supply </a:t>
            </a:r>
            <a:r>
              <a:rPr kumimoji="0" sz="927" b="0" i="0" u="none" strike="noStrike" kern="0" cap="none" spc="0" normalizeH="0" baseline="0" noProof="0">
                <a:ln>
                  <a:noFill/>
                </a:ln>
                <a:solidFill>
                  <a:srgbClr val="FFFFFF"/>
                </a:solidFill>
                <a:effectLst/>
                <a:uLnTx/>
                <a:uFillTx/>
                <a:latin typeface="Calibri"/>
                <a:ea typeface="+mn-ea"/>
                <a:cs typeface="Calibri"/>
              </a:rPr>
              <a:t>chain</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by</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providing</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ritical</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pacity</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at</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llows</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edical</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upplies,</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18" normalizeH="0" baseline="0" noProof="0">
                <a:ln>
                  <a:noFill/>
                </a:ln>
                <a:solidFill>
                  <a:srgbClr val="FFFFFF"/>
                </a:solidFill>
                <a:effectLst/>
                <a:uLnTx/>
                <a:uFillTx/>
                <a:latin typeface="Calibri"/>
                <a:ea typeface="+mn-ea"/>
                <a:cs typeface="Calibri"/>
              </a:rPr>
              <a:t>food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onsumer</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good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reach</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ommunitie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round</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world.</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112065" lvl="0" indent="0" algn="l" defTabSz="806867" rtl="0" eaLnBrk="1" fontAlgn="auto" latinLnBrk="0" hangingPunct="1">
              <a:lnSpc>
                <a:spcPts val="1059"/>
              </a:lnSpc>
              <a:spcBef>
                <a:spcPts val="529"/>
              </a:spcBef>
              <a:spcAft>
                <a:spcPts val="0"/>
              </a:spcAft>
              <a:buClrTx/>
              <a:buSzTx/>
              <a:buFontTx/>
              <a:buNone/>
              <a:tabLst/>
              <a:defRPr/>
            </a:pPr>
            <a:r>
              <a:rPr kumimoji="0" sz="927" b="0" i="0" u="none" strike="noStrike" kern="0" cap="none" spc="0" normalizeH="0" baseline="0" noProof="0">
                <a:ln>
                  <a:noFill/>
                </a:ln>
                <a:solidFill>
                  <a:srgbClr val="FFFFFF"/>
                </a:solidFill>
                <a:effectLst/>
                <a:uLnTx/>
                <a:uFillTx/>
                <a:latin typeface="Calibri"/>
                <a:ea typeface="+mn-ea"/>
                <a:cs typeface="Calibri"/>
              </a:rPr>
              <a:t>In</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late</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2021,</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first</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dedicated</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Boeing</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22" normalizeH="0" baseline="0" noProof="0">
                <a:ln>
                  <a:noFill/>
                </a:ln>
                <a:solidFill>
                  <a:srgbClr val="FFFFFF"/>
                </a:solidFill>
                <a:effectLst/>
                <a:uLnTx/>
                <a:uFillTx/>
                <a:latin typeface="Calibri"/>
                <a:ea typeface="+mn-ea"/>
                <a:cs typeface="Calibri"/>
              </a:rPr>
              <a:t>767-</a:t>
            </a:r>
            <a:r>
              <a:rPr kumimoji="0" sz="927" b="0" i="0" u="none" strike="noStrike" kern="0" cap="none" spc="0" normalizeH="0" baseline="0" noProof="0">
                <a:ln>
                  <a:noFill/>
                </a:ln>
                <a:solidFill>
                  <a:srgbClr val="FFFFFF"/>
                </a:solidFill>
                <a:effectLst/>
                <a:uLnTx/>
                <a:uFillTx/>
                <a:latin typeface="Calibri"/>
                <a:ea typeface="+mn-ea"/>
                <a:cs typeface="Calibri"/>
              </a:rPr>
              <a:t>300ER</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freighter</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aircraft </a:t>
            </a:r>
            <a:r>
              <a:rPr kumimoji="0" sz="927" b="0" i="0" u="none" strike="noStrike" kern="0" cap="none" spc="0" normalizeH="0" baseline="0" noProof="0">
                <a:ln>
                  <a:noFill/>
                </a:ln>
                <a:solidFill>
                  <a:srgbClr val="FFFFFF"/>
                </a:solidFill>
                <a:effectLst/>
                <a:uLnTx/>
                <a:uFillTx/>
                <a:latin typeface="Calibri"/>
                <a:ea typeface="+mn-ea"/>
                <a:cs typeface="Calibri"/>
              </a:rPr>
              <a:t>joined</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ir</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nada</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fleet</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provid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onsistent</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pacity</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n</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22" normalizeH="0" baseline="0" noProof="0">
                <a:ln>
                  <a:noFill/>
                </a:ln>
                <a:solidFill>
                  <a:srgbClr val="FFFFFF"/>
                </a:solidFill>
                <a:effectLst/>
                <a:uLnTx/>
                <a:uFillTx/>
                <a:latin typeface="Calibri"/>
                <a:ea typeface="+mn-ea"/>
                <a:cs typeface="Calibri"/>
              </a:rPr>
              <a:t>key</a:t>
            </a:r>
            <a:r>
              <a:rPr kumimoji="0" sz="927" b="0" i="0" u="none" strike="noStrike" kern="0" cap="none" spc="441"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ir</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rgo</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route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uch</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Toront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Miami,</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Quit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Lima,</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exic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18" normalizeH="0" baseline="0" noProof="0">
                <a:ln>
                  <a:noFill/>
                </a:ln>
                <a:solidFill>
                  <a:srgbClr val="FFFFFF"/>
                </a:solidFill>
                <a:effectLst/>
                <a:uLnTx/>
                <a:uFillTx/>
                <a:latin typeface="Calibri"/>
                <a:ea typeface="+mn-ea"/>
                <a:cs typeface="Calibri"/>
              </a:rPr>
              <a:t>City</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7628"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Guadalajara,</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with</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ore</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route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being</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dded</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dditional</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aircraft </a:t>
            </a:r>
            <a:r>
              <a:rPr kumimoji="0" sz="927" b="0" i="0" u="none" strike="noStrike" kern="0" cap="none" spc="0" normalizeH="0" baseline="0" noProof="0">
                <a:ln>
                  <a:noFill/>
                </a:ln>
                <a:solidFill>
                  <a:srgbClr val="FFFFFF"/>
                </a:solidFill>
                <a:effectLst/>
                <a:uLnTx/>
                <a:uFillTx/>
                <a:latin typeface="Calibri"/>
                <a:ea typeface="+mn-ea"/>
                <a:cs typeface="Calibri"/>
              </a:rPr>
              <a:t>enter</a:t>
            </a:r>
            <a:r>
              <a:rPr kumimoji="0" sz="927" b="0" i="0" u="none" strike="noStrike" kern="0" cap="none" spc="-53"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servic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15129" lvl="0" indent="0" algn="l" defTabSz="806867" rtl="0" eaLnBrk="1" fontAlgn="auto" latinLnBrk="0" hangingPunct="1">
              <a:lnSpc>
                <a:spcPts val="1059"/>
              </a:lnSpc>
              <a:spcBef>
                <a:spcPts val="529"/>
              </a:spcBef>
              <a:spcAft>
                <a:spcPts val="0"/>
              </a:spcAft>
              <a:buClrTx/>
              <a:buSzTx/>
              <a:buFontTx/>
              <a:buNone/>
              <a:tabLst/>
              <a:defRPr/>
            </a:pPr>
            <a:r>
              <a:rPr kumimoji="0" sz="927" b="0" i="0" u="none" strike="noStrike" kern="0" cap="none" spc="0" normalizeH="0" baseline="0" noProof="0">
                <a:ln>
                  <a:noFill/>
                </a:ln>
                <a:solidFill>
                  <a:srgbClr val="FFFFFF"/>
                </a:solidFill>
                <a:effectLst/>
                <a:uLnTx/>
                <a:uFillTx/>
                <a:latin typeface="Calibri"/>
                <a:ea typeface="+mn-ea"/>
                <a:cs typeface="Calibri"/>
              </a:rPr>
              <a:t>Air</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nada</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rgo’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robust</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network</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onnect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rough</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t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ain</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hub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22" normalizeH="0" baseline="0" noProof="0">
                <a:ln>
                  <a:noFill/>
                </a:ln>
                <a:solidFill>
                  <a:srgbClr val="FFFFFF"/>
                </a:solidFill>
                <a:effectLst/>
                <a:uLnTx/>
                <a:uFillTx/>
                <a:latin typeface="Calibri"/>
                <a:ea typeface="+mn-ea"/>
                <a:cs typeface="Calibri"/>
              </a:rPr>
              <a:t>in </a:t>
            </a:r>
            <a:r>
              <a:rPr kumimoji="0" sz="927" b="0" i="0" u="none" strike="noStrike" kern="0" cap="none" spc="-9" normalizeH="0" baseline="0" noProof="0">
                <a:ln>
                  <a:noFill/>
                </a:ln>
                <a:solidFill>
                  <a:srgbClr val="FFFFFF"/>
                </a:solidFill>
                <a:effectLst/>
                <a:uLnTx/>
                <a:uFillTx/>
                <a:latin typeface="Calibri"/>
                <a:ea typeface="+mn-ea"/>
                <a:cs typeface="Calibri"/>
              </a:rPr>
              <a:t>Toronto, Montreal</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Vancouver.</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ct val="100000"/>
              </a:lnSpc>
              <a:spcBef>
                <a:spcPts val="449"/>
              </a:spcBef>
              <a:spcAft>
                <a:spcPts val="0"/>
              </a:spcAft>
              <a:buClrTx/>
              <a:buSzTx/>
              <a:buFontTx/>
              <a:buNone/>
              <a:tabLst>
                <a:tab pos="1190689" algn="l"/>
              </a:tabLst>
              <a:defRPr/>
            </a:pPr>
            <a:r>
              <a:rPr kumimoji="0" sz="927" b="0" i="0" u="none" strike="noStrike" kern="0" cap="none" spc="-9" normalizeH="0" baseline="0" noProof="0">
                <a:ln>
                  <a:noFill/>
                </a:ln>
                <a:solidFill>
                  <a:srgbClr val="FFFFFF"/>
                </a:solidFill>
                <a:effectLst/>
                <a:uLnTx/>
                <a:uFillTx/>
                <a:latin typeface="Calibri"/>
                <a:ea typeface="+mn-ea"/>
                <a:cs typeface="Calibri"/>
              </a:rPr>
              <a:t>(</a:t>
            </a:r>
            <a:r>
              <a:rPr kumimoji="0" sz="927" b="0" i="0" u="none" strike="noStrike" kern="0" cap="none" spc="-9" normalizeH="0" baseline="0" noProof="0">
                <a:ln>
                  <a:noFill/>
                </a:ln>
                <a:solidFill>
                  <a:srgbClr val="FFFFFF"/>
                </a:solidFill>
                <a:effectLst/>
                <a:uLnTx/>
                <a:uFillTx/>
                <a:latin typeface="Calibri"/>
                <a:ea typeface="+mn-ea"/>
                <a:cs typeface="Calibri"/>
                <a:hlinkClick r:id="rId8"/>
              </a:rPr>
              <a:t>aircanada.com/cargo</a:t>
            </a:r>
            <a:r>
              <a:rPr kumimoji="0" sz="927" b="0" i="0" u="none" strike="noStrike" kern="0" cap="none" spc="0" normalizeH="0" baseline="0" noProof="0">
                <a:ln>
                  <a:noFill/>
                </a:ln>
                <a:solidFill>
                  <a:srgbClr val="FFFFFF"/>
                </a:solidFill>
                <a:effectLst/>
                <a:uLnTx/>
                <a:uFillTx/>
                <a:latin typeface="Calibri"/>
                <a:ea typeface="+mn-ea"/>
                <a:cs typeface="Calibri"/>
              </a:rPr>
              <a:t>	</a:t>
            </a:r>
            <a:r>
              <a:rPr kumimoji="0" sz="927" b="0" i="0" u="none" strike="noStrike" kern="0" cap="none" spc="-44" normalizeH="0" baseline="0" noProof="0">
                <a:ln>
                  <a:noFill/>
                </a:ln>
                <a:solidFill>
                  <a:srgbClr val="FFFFFF"/>
                </a:solidFill>
                <a:effectLst/>
                <a:uLnTx/>
                <a:uFillTx/>
                <a:latin typeface="Calibri"/>
                <a:ea typeface="+mn-ea"/>
                <a:cs typeface="Calibri"/>
              </a:rPr>
              <a: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12" name="object 12"/>
          <p:cNvGrpSpPr/>
          <p:nvPr/>
        </p:nvGrpSpPr>
        <p:grpSpPr>
          <a:xfrm>
            <a:off x="2061882" y="5283116"/>
            <a:ext cx="4044203" cy="1346947"/>
            <a:chOff x="457200" y="5987531"/>
            <a:chExt cx="4583430" cy="1526540"/>
          </a:xfrm>
        </p:grpSpPr>
        <p:sp>
          <p:nvSpPr>
            <p:cNvPr id="13" name="object 13"/>
            <p:cNvSpPr/>
            <p:nvPr/>
          </p:nvSpPr>
          <p:spPr>
            <a:xfrm>
              <a:off x="457200" y="7292339"/>
              <a:ext cx="4583430" cy="0"/>
            </a:xfrm>
            <a:custGeom>
              <a:avLst/>
              <a:gdLst/>
              <a:ahLst/>
              <a:cxnLst/>
              <a:rect l="l" t="t" r="r" b="b"/>
              <a:pathLst>
                <a:path w="4583430">
                  <a:moveTo>
                    <a:pt x="0" y="0"/>
                  </a:moveTo>
                  <a:lnTo>
                    <a:pt x="4583150" y="0"/>
                  </a:lnTo>
                </a:path>
              </a:pathLst>
            </a:custGeom>
            <a:ln w="50800">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4" name="object 14"/>
            <p:cNvPicPr/>
            <p:nvPr/>
          </p:nvPicPr>
          <p:blipFill>
            <a:blip r:embed="rId9" cstate="print"/>
            <a:stretch>
              <a:fillRect/>
            </a:stretch>
          </p:blipFill>
          <p:spPr>
            <a:xfrm>
              <a:off x="3450292" y="5987531"/>
              <a:ext cx="1464265" cy="1526051"/>
            </a:xfrm>
            <a:prstGeom prst="rect">
              <a:avLst/>
            </a:prstGeom>
          </p:spPr>
        </p:pic>
        <p:pic>
          <p:nvPicPr>
            <p:cNvPr id="15" name="object 15"/>
            <p:cNvPicPr/>
            <p:nvPr/>
          </p:nvPicPr>
          <p:blipFill>
            <a:blip r:embed="rId10" cstate="print"/>
            <a:stretch>
              <a:fillRect/>
            </a:stretch>
          </p:blipFill>
          <p:spPr>
            <a:xfrm>
              <a:off x="3975376" y="6421830"/>
              <a:ext cx="907961" cy="713978"/>
            </a:xfrm>
            <a:prstGeom prst="rect">
              <a:avLst/>
            </a:prstGeom>
          </p:spPr>
        </p:pic>
        <p:pic>
          <p:nvPicPr>
            <p:cNvPr id="16" name="object 16"/>
            <p:cNvPicPr/>
            <p:nvPr/>
          </p:nvPicPr>
          <p:blipFill>
            <a:blip r:embed="rId11" cstate="print"/>
            <a:stretch>
              <a:fillRect/>
            </a:stretch>
          </p:blipFill>
          <p:spPr>
            <a:xfrm>
              <a:off x="4383211" y="6476600"/>
              <a:ext cx="319541" cy="138250"/>
            </a:xfrm>
            <a:prstGeom prst="rect">
              <a:avLst/>
            </a:prstGeom>
          </p:spPr>
        </p:pic>
        <p:pic>
          <p:nvPicPr>
            <p:cNvPr id="17" name="object 17"/>
            <p:cNvPicPr/>
            <p:nvPr/>
          </p:nvPicPr>
          <p:blipFill>
            <a:blip r:embed="rId12" cstate="print"/>
            <a:stretch>
              <a:fillRect/>
            </a:stretch>
          </p:blipFill>
          <p:spPr>
            <a:xfrm>
              <a:off x="4046377" y="6641593"/>
              <a:ext cx="129616" cy="129540"/>
            </a:xfrm>
            <a:prstGeom prst="rect">
              <a:avLst/>
            </a:prstGeom>
          </p:spPr>
        </p:pic>
      </p:grpSp>
      <p:sp>
        <p:nvSpPr>
          <p:cNvPr id="18" name="object 18"/>
          <p:cNvSpPr txBox="1"/>
          <p:nvPr/>
        </p:nvSpPr>
        <p:spPr>
          <a:xfrm>
            <a:off x="2098406" y="1386391"/>
            <a:ext cx="518272" cy="210344"/>
          </a:xfrm>
          <a:prstGeom prst="rect">
            <a:avLst/>
          </a:prstGeom>
        </p:spPr>
        <p:txBody>
          <a:bodyPr vert="horz" wrap="square" lIns="0" tIns="11206" rIns="0" bIns="0" rtlCol="0">
            <a:spAutoFit/>
          </a:bodyPr>
          <a:lstStyle/>
          <a:p>
            <a:pPr marL="11206" marR="4483" lvl="0" indent="0" algn="l" defTabSz="806867" rtl="0" eaLnBrk="1" fontAlgn="auto" latinLnBrk="0" hangingPunct="1">
              <a:lnSpc>
                <a:spcPct val="107100"/>
              </a:lnSpc>
              <a:spcBef>
                <a:spcPts val="88"/>
              </a:spcBef>
              <a:spcAft>
                <a:spcPts val="0"/>
              </a:spcAft>
              <a:buClrTx/>
              <a:buSzTx/>
              <a:buFontTx/>
              <a:buNone/>
              <a:tabLst/>
              <a:defRPr/>
            </a:pPr>
            <a:r>
              <a:rPr kumimoji="0" sz="618" b="1" i="0" u="none" strike="noStrike" kern="0" cap="none" spc="0" normalizeH="0" baseline="0" noProof="0">
                <a:ln>
                  <a:noFill/>
                </a:ln>
                <a:solidFill>
                  <a:srgbClr val="595959"/>
                </a:solidFill>
                <a:effectLst/>
                <a:uLnTx/>
                <a:uFillTx/>
                <a:latin typeface="Calibri"/>
                <a:ea typeface="+mn-ea"/>
                <a:cs typeface="Calibri"/>
              </a:rPr>
              <a:t>FLEET</a:t>
            </a:r>
            <a:r>
              <a:rPr kumimoji="0" sz="618" b="1" i="0" u="none" strike="noStrike" kern="0" cap="none" spc="168" normalizeH="0" baseline="0" noProof="0">
                <a:ln>
                  <a:noFill/>
                </a:ln>
                <a:solidFill>
                  <a:srgbClr val="595959"/>
                </a:solidFill>
                <a:effectLst/>
                <a:uLnTx/>
                <a:uFillTx/>
                <a:latin typeface="Calibri"/>
                <a:ea typeface="+mn-ea"/>
                <a:cs typeface="Calibri"/>
              </a:rPr>
              <a:t> </a:t>
            </a:r>
            <a:r>
              <a:rPr kumimoji="0" sz="618" b="1" i="0" u="none" strike="noStrike" kern="0" cap="none" spc="40" normalizeH="0" baseline="0" noProof="0">
                <a:ln>
                  <a:noFill/>
                </a:ln>
                <a:solidFill>
                  <a:srgbClr val="595959"/>
                </a:solidFill>
                <a:effectLst/>
                <a:uLnTx/>
                <a:uFillTx/>
                <a:latin typeface="Calibri"/>
                <a:ea typeface="+mn-ea"/>
                <a:cs typeface="Calibri"/>
              </a:rPr>
              <a:t>AND OPERATIONS</a:t>
            </a:r>
            <a:endParaRPr kumimoji="0" sz="618"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9" name="object 19"/>
          <p:cNvSpPr txBox="1"/>
          <p:nvPr/>
        </p:nvSpPr>
        <p:spPr>
          <a:xfrm>
            <a:off x="3106086" y="1393114"/>
            <a:ext cx="533960" cy="106406"/>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618" b="1" i="0" u="none" strike="noStrike" kern="0" cap="none" spc="44" normalizeH="0" baseline="0" noProof="0">
                <a:ln>
                  <a:noFill/>
                </a:ln>
                <a:solidFill>
                  <a:srgbClr val="595959"/>
                </a:solidFill>
                <a:effectLst/>
                <a:uLnTx/>
                <a:uFillTx/>
                <a:latin typeface="Calibri"/>
                <a:ea typeface="+mn-ea"/>
                <a:cs typeface="Calibri"/>
              </a:rPr>
              <a:t>INNOVATION</a:t>
            </a:r>
            <a:endParaRPr kumimoji="0" sz="618"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0" name="object 20"/>
          <p:cNvSpPr txBox="1"/>
          <p:nvPr/>
        </p:nvSpPr>
        <p:spPr>
          <a:xfrm>
            <a:off x="4100179" y="1386391"/>
            <a:ext cx="595593" cy="210344"/>
          </a:xfrm>
          <a:prstGeom prst="rect">
            <a:avLst/>
          </a:prstGeom>
        </p:spPr>
        <p:txBody>
          <a:bodyPr vert="horz" wrap="square" lIns="0" tIns="11206" rIns="0" bIns="0" rtlCol="0">
            <a:spAutoFit/>
          </a:bodyPr>
          <a:lstStyle/>
          <a:p>
            <a:pPr marL="11206" marR="4483" lvl="0" indent="0" algn="l" defTabSz="806867" rtl="0" eaLnBrk="1" fontAlgn="auto" latinLnBrk="0" hangingPunct="1">
              <a:lnSpc>
                <a:spcPct val="107100"/>
              </a:lnSpc>
              <a:spcBef>
                <a:spcPts val="88"/>
              </a:spcBef>
              <a:spcAft>
                <a:spcPts val="0"/>
              </a:spcAft>
              <a:buClrTx/>
              <a:buSzTx/>
              <a:buFontTx/>
              <a:buNone/>
              <a:tabLst/>
              <a:defRPr/>
            </a:pPr>
            <a:r>
              <a:rPr kumimoji="0" sz="618" b="1" i="0" u="none" strike="noStrike" kern="0" cap="none" spc="0" normalizeH="0" baseline="0" noProof="0">
                <a:ln>
                  <a:noFill/>
                </a:ln>
                <a:solidFill>
                  <a:srgbClr val="595959"/>
                </a:solidFill>
                <a:effectLst/>
                <a:uLnTx/>
                <a:uFillTx/>
                <a:latin typeface="Calibri"/>
                <a:ea typeface="+mn-ea"/>
                <a:cs typeface="Calibri"/>
              </a:rPr>
              <a:t>SAF</a:t>
            </a:r>
            <a:r>
              <a:rPr kumimoji="0" sz="618" b="1" i="0" u="none" strike="noStrike" kern="0" cap="none" spc="110" normalizeH="0" baseline="0" noProof="0">
                <a:ln>
                  <a:noFill/>
                </a:ln>
                <a:solidFill>
                  <a:srgbClr val="595959"/>
                </a:solidFill>
                <a:effectLst/>
                <a:uLnTx/>
                <a:uFillTx/>
                <a:latin typeface="Calibri"/>
                <a:ea typeface="+mn-ea"/>
                <a:cs typeface="Calibri"/>
              </a:rPr>
              <a:t> </a:t>
            </a:r>
            <a:r>
              <a:rPr kumimoji="0" sz="618" b="1" i="0" u="none" strike="noStrike" kern="0" cap="none" spc="40" normalizeH="0" baseline="0" noProof="0">
                <a:ln>
                  <a:noFill/>
                </a:ln>
                <a:solidFill>
                  <a:srgbClr val="595959"/>
                </a:solidFill>
                <a:effectLst/>
                <a:uLnTx/>
                <a:uFillTx/>
                <a:latin typeface="Calibri"/>
                <a:ea typeface="+mn-ea"/>
                <a:cs typeface="Calibri"/>
              </a:rPr>
              <a:t>AND</a:t>
            </a:r>
            <a:r>
              <a:rPr kumimoji="0" sz="618" b="1" i="0" u="none" strike="noStrike" kern="0" cap="none" spc="441" normalizeH="0" baseline="0" noProof="0">
                <a:ln>
                  <a:noFill/>
                </a:ln>
                <a:solidFill>
                  <a:srgbClr val="595959"/>
                </a:solidFill>
                <a:effectLst/>
                <a:uLnTx/>
                <a:uFillTx/>
                <a:latin typeface="Calibri"/>
                <a:ea typeface="+mn-ea"/>
                <a:cs typeface="Calibri"/>
              </a:rPr>
              <a:t> </a:t>
            </a:r>
            <a:r>
              <a:rPr kumimoji="0" sz="618" b="1" i="0" u="none" strike="noStrike" kern="0" cap="none" spc="53" normalizeH="0" baseline="0" noProof="0">
                <a:ln>
                  <a:noFill/>
                </a:ln>
                <a:solidFill>
                  <a:srgbClr val="595959"/>
                </a:solidFill>
                <a:effectLst/>
                <a:uLnTx/>
                <a:uFillTx/>
                <a:latin typeface="Calibri"/>
                <a:ea typeface="+mn-ea"/>
                <a:cs typeface="Calibri"/>
              </a:rPr>
              <a:t>CLEAN</a:t>
            </a:r>
            <a:r>
              <a:rPr kumimoji="0" sz="618" b="1" i="0" u="none" strike="noStrike" kern="0" cap="none" spc="-4" normalizeH="0" baseline="0" noProof="0">
                <a:ln>
                  <a:noFill/>
                </a:ln>
                <a:solidFill>
                  <a:srgbClr val="595959"/>
                </a:solidFill>
                <a:effectLst/>
                <a:uLnTx/>
                <a:uFillTx/>
                <a:latin typeface="Calibri"/>
                <a:ea typeface="+mn-ea"/>
                <a:cs typeface="Calibri"/>
              </a:rPr>
              <a:t> </a:t>
            </a:r>
            <a:r>
              <a:rPr kumimoji="0" sz="618" b="1" i="0" u="none" strike="noStrike" kern="0" cap="none" spc="44" normalizeH="0" baseline="0" noProof="0">
                <a:ln>
                  <a:noFill/>
                </a:ln>
                <a:solidFill>
                  <a:srgbClr val="595959"/>
                </a:solidFill>
                <a:effectLst/>
                <a:uLnTx/>
                <a:uFillTx/>
                <a:latin typeface="Calibri"/>
                <a:ea typeface="+mn-ea"/>
                <a:cs typeface="Calibri"/>
              </a:rPr>
              <a:t>ENERGY</a:t>
            </a:r>
            <a:endParaRPr kumimoji="0" sz="618"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1" name="object 21"/>
          <p:cNvSpPr txBox="1"/>
          <p:nvPr/>
        </p:nvSpPr>
        <p:spPr>
          <a:xfrm>
            <a:off x="5099445" y="1386390"/>
            <a:ext cx="624168" cy="312103"/>
          </a:xfrm>
          <a:prstGeom prst="rect">
            <a:avLst/>
          </a:prstGeom>
        </p:spPr>
        <p:txBody>
          <a:bodyPr vert="horz" wrap="square" lIns="0" tIns="11206" rIns="0" bIns="0" rtlCol="0">
            <a:spAutoFit/>
          </a:bodyPr>
          <a:lstStyle/>
          <a:p>
            <a:pPr marL="11206" marR="4483" lvl="0" indent="0" algn="l" defTabSz="806867" rtl="0" eaLnBrk="1" fontAlgn="auto" latinLnBrk="0" hangingPunct="1">
              <a:lnSpc>
                <a:spcPct val="107100"/>
              </a:lnSpc>
              <a:spcBef>
                <a:spcPts val="88"/>
              </a:spcBef>
              <a:spcAft>
                <a:spcPts val="0"/>
              </a:spcAft>
              <a:buClrTx/>
              <a:buSzTx/>
              <a:buFontTx/>
              <a:buNone/>
              <a:tabLst/>
              <a:defRPr/>
            </a:pPr>
            <a:r>
              <a:rPr kumimoji="0" sz="618" b="1" i="0" u="none" strike="noStrike" kern="0" cap="none" spc="49" normalizeH="0" baseline="0" noProof="0">
                <a:ln>
                  <a:noFill/>
                </a:ln>
                <a:solidFill>
                  <a:srgbClr val="595959"/>
                </a:solidFill>
                <a:effectLst/>
                <a:uLnTx/>
                <a:uFillTx/>
                <a:latin typeface="Calibri"/>
                <a:ea typeface="+mn-ea"/>
                <a:cs typeface="Calibri"/>
              </a:rPr>
              <a:t>CARBON REDUCTION </a:t>
            </a:r>
            <a:r>
              <a:rPr kumimoji="0" sz="618" b="1" i="0" u="none" strike="noStrike" kern="0" cap="none" spc="62" normalizeH="0" baseline="0" noProof="0">
                <a:ln>
                  <a:noFill/>
                </a:ln>
                <a:solidFill>
                  <a:srgbClr val="595959"/>
                </a:solidFill>
                <a:effectLst/>
                <a:uLnTx/>
                <a:uFillTx/>
                <a:latin typeface="Calibri"/>
                <a:ea typeface="+mn-ea"/>
                <a:cs typeface="Calibri"/>
              </a:rPr>
              <a:t>AND</a:t>
            </a:r>
            <a:r>
              <a:rPr kumimoji="0" sz="618" b="1" i="0" u="none" strike="noStrike" kern="0" cap="none" spc="-9" normalizeH="0" baseline="0" noProof="0">
                <a:ln>
                  <a:noFill/>
                </a:ln>
                <a:solidFill>
                  <a:srgbClr val="595959"/>
                </a:solidFill>
                <a:effectLst/>
                <a:uLnTx/>
                <a:uFillTx/>
                <a:latin typeface="Calibri"/>
                <a:ea typeface="+mn-ea"/>
                <a:cs typeface="Calibri"/>
              </a:rPr>
              <a:t> REMOVALS</a:t>
            </a:r>
            <a:endParaRPr kumimoji="0" sz="618"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2" name="object 22"/>
          <p:cNvSpPr/>
          <p:nvPr/>
        </p:nvSpPr>
        <p:spPr>
          <a:xfrm>
            <a:off x="3051456" y="986118"/>
            <a:ext cx="0" cy="549088"/>
          </a:xfrm>
          <a:custGeom>
            <a:avLst/>
            <a:gdLst/>
            <a:ahLst/>
            <a:cxnLst/>
            <a:rect l="l" t="t" r="r" b="b"/>
            <a:pathLst>
              <a:path h="622300">
                <a:moveTo>
                  <a:pt x="0" y="0"/>
                </a:moveTo>
                <a:lnTo>
                  <a:pt x="0" y="622300"/>
                </a:lnTo>
              </a:path>
            </a:pathLst>
          </a:custGeom>
          <a:ln w="3175">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p:nvPr/>
        </p:nvSpPr>
        <p:spPr>
          <a:xfrm>
            <a:off x="4045549" y="986118"/>
            <a:ext cx="0" cy="549088"/>
          </a:xfrm>
          <a:custGeom>
            <a:avLst/>
            <a:gdLst/>
            <a:ahLst/>
            <a:cxnLst/>
            <a:rect l="l" t="t" r="r" b="b"/>
            <a:pathLst>
              <a:path h="622300">
                <a:moveTo>
                  <a:pt x="0" y="0"/>
                </a:moveTo>
                <a:lnTo>
                  <a:pt x="0" y="622300"/>
                </a:lnTo>
              </a:path>
            </a:pathLst>
          </a:custGeom>
          <a:ln w="3175">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p:nvPr/>
        </p:nvSpPr>
        <p:spPr>
          <a:xfrm>
            <a:off x="5044815" y="986118"/>
            <a:ext cx="0" cy="549088"/>
          </a:xfrm>
          <a:custGeom>
            <a:avLst/>
            <a:gdLst/>
            <a:ahLst/>
            <a:cxnLst/>
            <a:rect l="l" t="t" r="r" b="b"/>
            <a:pathLst>
              <a:path h="622300">
                <a:moveTo>
                  <a:pt x="0" y="0"/>
                </a:moveTo>
                <a:lnTo>
                  <a:pt x="0" y="622300"/>
                </a:lnTo>
              </a:path>
            </a:pathLst>
          </a:custGeom>
          <a:ln w="3175">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25" name="object 25"/>
          <p:cNvGrpSpPr/>
          <p:nvPr/>
        </p:nvGrpSpPr>
        <p:grpSpPr>
          <a:xfrm>
            <a:off x="2109608" y="669963"/>
            <a:ext cx="685240" cy="685240"/>
            <a:chOff x="511289" y="759291"/>
            <a:chExt cx="776605" cy="776605"/>
          </a:xfrm>
        </p:grpSpPr>
        <p:sp>
          <p:nvSpPr>
            <p:cNvPr id="26" name="object 26"/>
            <p:cNvSpPr/>
            <p:nvPr/>
          </p:nvSpPr>
          <p:spPr>
            <a:xfrm>
              <a:off x="527851" y="776988"/>
              <a:ext cx="742315" cy="742315"/>
            </a:xfrm>
            <a:custGeom>
              <a:avLst/>
              <a:gdLst/>
              <a:ahLst/>
              <a:cxnLst/>
              <a:rect l="l" t="t" r="r" b="b"/>
              <a:pathLst>
                <a:path w="742315" h="742315">
                  <a:moveTo>
                    <a:pt x="371081" y="0"/>
                  </a:moveTo>
                  <a:lnTo>
                    <a:pt x="324534" y="2891"/>
                  </a:lnTo>
                  <a:lnTo>
                    <a:pt x="279712" y="11333"/>
                  </a:lnTo>
                  <a:lnTo>
                    <a:pt x="236963" y="24978"/>
                  </a:lnTo>
                  <a:lnTo>
                    <a:pt x="196635" y="43478"/>
                  </a:lnTo>
                  <a:lnTo>
                    <a:pt x="159075" y="66486"/>
                  </a:lnTo>
                  <a:lnTo>
                    <a:pt x="124632" y="93653"/>
                  </a:lnTo>
                  <a:lnTo>
                    <a:pt x="93653" y="124632"/>
                  </a:lnTo>
                  <a:lnTo>
                    <a:pt x="66486" y="159075"/>
                  </a:lnTo>
                  <a:lnTo>
                    <a:pt x="43478" y="196635"/>
                  </a:lnTo>
                  <a:lnTo>
                    <a:pt x="24978" y="236963"/>
                  </a:lnTo>
                  <a:lnTo>
                    <a:pt x="11333" y="279712"/>
                  </a:lnTo>
                  <a:lnTo>
                    <a:pt x="2891" y="324534"/>
                  </a:lnTo>
                  <a:lnTo>
                    <a:pt x="0" y="371081"/>
                  </a:lnTo>
                  <a:lnTo>
                    <a:pt x="2891" y="417628"/>
                  </a:lnTo>
                  <a:lnTo>
                    <a:pt x="11333" y="462450"/>
                  </a:lnTo>
                  <a:lnTo>
                    <a:pt x="24978" y="505199"/>
                  </a:lnTo>
                  <a:lnTo>
                    <a:pt x="43478" y="545527"/>
                  </a:lnTo>
                  <a:lnTo>
                    <a:pt x="66486" y="583086"/>
                  </a:lnTo>
                  <a:lnTo>
                    <a:pt x="93653" y="617530"/>
                  </a:lnTo>
                  <a:lnTo>
                    <a:pt x="124632" y="648509"/>
                  </a:lnTo>
                  <a:lnTo>
                    <a:pt x="159075" y="675676"/>
                  </a:lnTo>
                  <a:lnTo>
                    <a:pt x="196635" y="698684"/>
                  </a:lnTo>
                  <a:lnTo>
                    <a:pt x="236963" y="717184"/>
                  </a:lnTo>
                  <a:lnTo>
                    <a:pt x="279712" y="730829"/>
                  </a:lnTo>
                  <a:lnTo>
                    <a:pt x="324534" y="739271"/>
                  </a:lnTo>
                  <a:lnTo>
                    <a:pt x="371081" y="742162"/>
                  </a:lnTo>
                  <a:lnTo>
                    <a:pt x="417625" y="739271"/>
                  </a:lnTo>
                  <a:lnTo>
                    <a:pt x="462445" y="730829"/>
                  </a:lnTo>
                  <a:lnTo>
                    <a:pt x="505192" y="717184"/>
                  </a:lnTo>
                  <a:lnTo>
                    <a:pt x="545518" y="698684"/>
                  </a:lnTo>
                  <a:lnTo>
                    <a:pt x="583077" y="675676"/>
                  </a:lnTo>
                  <a:lnTo>
                    <a:pt x="617519" y="648509"/>
                  </a:lnTo>
                  <a:lnTo>
                    <a:pt x="648497" y="617530"/>
                  </a:lnTo>
                  <a:lnTo>
                    <a:pt x="675664" y="583086"/>
                  </a:lnTo>
                  <a:lnTo>
                    <a:pt x="698671" y="545527"/>
                  </a:lnTo>
                  <a:lnTo>
                    <a:pt x="717171" y="505199"/>
                  </a:lnTo>
                  <a:lnTo>
                    <a:pt x="730816" y="462450"/>
                  </a:lnTo>
                  <a:lnTo>
                    <a:pt x="739258" y="417628"/>
                  </a:lnTo>
                  <a:lnTo>
                    <a:pt x="742149" y="371081"/>
                  </a:lnTo>
                  <a:lnTo>
                    <a:pt x="739258" y="324534"/>
                  </a:lnTo>
                  <a:lnTo>
                    <a:pt x="730816" y="279712"/>
                  </a:lnTo>
                  <a:lnTo>
                    <a:pt x="717171" y="236963"/>
                  </a:lnTo>
                  <a:lnTo>
                    <a:pt x="698671" y="196635"/>
                  </a:lnTo>
                  <a:lnTo>
                    <a:pt x="675664" y="159075"/>
                  </a:lnTo>
                  <a:lnTo>
                    <a:pt x="648497" y="124632"/>
                  </a:lnTo>
                  <a:lnTo>
                    <a:pt x="617519" y="93653"/>
                  </a:lnTo>
                  <a:lnTo>
                    <a:pt x="583077" y="66486"/>
                  </a:lnTo>
                  <a:lnTo>
                    <a:pt x="545518" y="43478"/>
                  </a:lnTo>
                  <a:lnTo>
                    <a:pt x="505192" y="24978"/>
                  </a:lnTo>
                  <a:lnTo>
                    <a:pt x="462445" y="11333"/>
                  </a:lnTo>
                  <a:lnTo>
                    <a:pt x="417625" y="2891"/>
                  </a:lnTo>
                  <a:lnTo>
                    <a:pt x="371081" y="0"/>
                  </a:lnTo>
                  <a:close/>
                </a:path>
              </a:pathLst>
            </a:custGeom>
            <a:solidFill>
              <a:srgbClr val="F0EBE5"/>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object 27"/>
            <p:cNvSpPr/>
            <p:nvPr/>
          </p:nvSpPr>
          <p:spPr>
            <a:xfrm>
              <a:off x="708633" y="901816"/>
              <a:ext cx="556260" cy="382905"/>
            </a:xfrm>
            <a:custGeom>
              <a:avLst/>
              <a:gdLst/>
              <a:ahLst/>
              <a:cxnLst/>
              <a:rect l="l" t="t" r="r" b="b"/>
              <a:pathLst>
                <a:path w="556260" h="382905">
                  <a:moveTo>
                    <a:pt x="93459" y="0"/>
                  </a:moveTo>
                  <a:lnTo>
                    <a:pt x="0" y="0"/>
                  </a:lnTo>
                  <a:lnTo>
                    <a:pt x="142336" y="322987"/>
                  </a:lnTo>
                  <a:lnTo>
                    <a:pt x="161772" y="367869"/>
                  </a:lnTo>
                  <a:lnTo>
                    <a:pt x="167678" y="382866"/>
                  </a:lnTo>
                  <a:lnTo>
                    <a:pt x="253838" y="369989"/>
                  </a:lnTo>
                  <a:lnTo>
                    <a:pt x="354418" y="356577"/>
                  </a:lnTo>
                  <a:lnTo>
                    <a:pt x="429208" y="348289"/>
                  </a:lnTo>
                  <a:lnTo>
                    <a:pt x="498926" y="342240"/>
                  </a:lnTo>
                  <a:lnTo>
                    <a:pt x="549642" y="338856"/>
                  </a:lnTo>
                  <a:lnTo>
                    <a:pt x="550033" y="337631"/>
                  </a:lnTo>
                  <a:lnTo>
                    <a:pt x="555698" y="307554"/>
                  </a:lnTo>
                  <a:lnTo>
                    <a:pt x="523214" y="290093"/>
                  </a:lnTo>
                  <a:lnTo>
                    <a:pt x="495598" y="272598"/>
                  </a:lnTo>
                  <a:lnTo>
                    <a:pt x="454759" y="244100"/>
                  </a:lnTo>
                  <a:lnTo>
                    <a:pt x="404899" y="207946"/>
                  </a:lnTo>
                  <a:lnTo>
                    <a:pt x="151523" y="17907"/>
                  </a:lnTo>
                  <a:lnTo>
                    <a:pt x="135982" y="8829"/>
                  </a:lnTo>
                  <a:lnTo>
                    <a:pt x="121272" y="3371"/>
                  </a:lnTo>
                  <a:lnTo>
                    <a:pt x="107171" y="704"/>
                  </a:lnTo>
                  <a:lnTo>
                    <a:pt x="93459" y="0"/>
                  </a:lnTo>
                  <a:close/>
                </a:path>
              </a:pathLst>
            </a:custGeom>
            <a:solidFill>
              <a:srgbClr val="010101"/>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28" name="object 28"/>
            <p:cNvPicPr/>
            <p:nvPr/>
          </p:nvPicPr>
          <p:blipFill>
            <a:blip r:embed="rId13" cstate="print"/>
            <a:stretch>
              <a:fillRect/>
            </a:stretch>
          </p:blipFill>
          <p:spPr>
            <a:xfrm>
              <a:off x="857620" y="1048284"/>
              <a:ext cx="187299" cy="184962"/>
            </a:xfrm>
            <a:prstGeom prst="rect">
              <a:avLst/>
            </a:prstGeom>
          </p:spPr>
        </p:pic>
        <p:sp>
          <p:nvSpPr>
            <p:cNvPr id="29" name="object 29"/>
            <p:cNvSpPr/>
            <p:nvPr/>
          </p:nvSpPr>
          <p:spPr>
            <a:xfrm>
              <a:off x="729273" y="1309877"/>
              <a:ext cx="17780" cy="40640"/>
            </a:xfrm>
            <a:custGeom>
              <a:avLst/>
              <a:gdLst/>
              <a:ahLst/>
              <a:cxnLst/>
              <a:rect l="l" t="t" r="r" b="b"/>
              <a:pathLst>
                <a:path w="17779" h="40640">
                  <a:moveTo>
                    <a:pt x="17246" y="0"/>
                  </a:moveTo>
                  <a:lnTo>
                    <a:pt x="1816" y="0"/>
                  </a:lnTo>
                  <a:lnTo>
                    <a:pt x="0" y="1816"/>
                  </a:lnTo>
                  <a:lnTo>
                    <a:pt x="0" y="38328"/>
                  </a:lnTo>
                  <a:lnTo>
                    <a:pt x="1816" y="40144"/>
                  </a:lnTo>
                  <a:lnTo>
                    <a:pt x="4051" y="40144"/>
                  </a:lnTo>
                  <a:lnTo>
                    <a:pt x="17246" y="40144"/>
                  </a:lnTo>
                  <a:lnTo>
                    <a:pt x="17246" y="0"/>
                  </a:lnTo>
                  <a:close/>
                </a:path>
              </a:pathLst>
            </a:custGeom>
            <a:solidFill>
              <a:srgbClr val="48484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0" name="object 30"/>
            <p:cNvSpPr/>
            <p:nvPr/>
          </p:nvSpPr>
          <p:spPr>
            <a:xfrm>
              <a:off x="746191" y="1240320"/>
              <a:ext cx="512445" cy="197485"/>
            </a:xfrm>
            <a:custGeom>
              <a:avLst/>
              <a:gdLst/>
              <a:ahLst/>
              <a:cxnLst/>
              <a:rect l="l" t="t" r="r" b="b"/>
              <a:pathLst>
                <a:path w="512444" h="197484">
                  <a:moveTo>
                    <a:pt x="512197" y="0"/>
                  </a:moveTo>
                  <a:lnTo>
                    <a:pt x="420354" y="7007"/>
                  </a:lnTo>
                  <a:lnTo>
                    <a:pt x="365800" y="12420"/>
                  </a:lnTo>
                  <a:lnTo>
                    <a:pt x="316864" y="18079"/>
                  </a:lnTo>
                  <a:lnTo>
                    <a:pt x="210408" y="31457"/>
                  </a:lnTo>
                  <a:lnTo>
                    <a:pt x="141916" y="40953"/>
                  </a:lnTo>
                  <a:lnTo>
                    <a:pt x="81682" y="51099"/>
                  </a:lnTo>
                  <a:lnTo>
                    <a:pt x="0" y="66428"/>
                  </a:lnTo>
                  <a:lnTo>
                    <a:pt x="0" y="112440"/>
                  </a:lnTo>
                  <a:lnTo>
                    <a:pt x="79378" y="133565"/>
                  </a:lnTo>
                  <a:lnTo>
                    <a:pt x="282959" y="180042"/>
                  </a:lnTo>
                  <a:lnTo>
                    <a:pt x="384093" y="197076"/>
                  </a:lnTo>
                  <a:lnTo>
                    <a:pt x="399176" y="185180"/>
                  </a:lnTo>
                  <a:lnTo>
                    <a:pt x="430155" y="154202"/>
                  </a:lnTo>
                  <a:lnTo>
                    <a:pt x="457322" y="119760"/>
                  </a:lnTo>
                  <a:lnTo>
                    <a:pt x="480330" y="82202"/>
                  </a:lnTo>
                  <a:lnTo>
                    <a:pt x="498830" y="41875"/>
                  </a:lnTo>
                  <a:lnTo>
                    <a:pt x="512197"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31" name="object 31"/>
            <p:cNvPicPr/>
            <p:nvPr/>
          </p:nvPicPr>
          <p:blipFill>
            <a:blip r:embed="rId14" cstate="print"/>
            <a:stretch>
              <a:fillRect/>
            </a:stretch>
          </p:blipFill>
          <p:spPr>
            <a:xfrm>
              <a:off x="892390" y="1333513"/>
              <a:ext cx="243178" cy="86131"/>
            </a:xfrm>
            <a:prstGeom prst="rect">
              <a:avLst/>
            </a:prstGeom>
          </p:spPr>
        </p:pic>
        <p:sp>
          <p:nvSpPr>
            <p:cNvPr id="32" name="object 32"/>
            <p:cNvSpPr/>
            <p:nvPr/>
          </p:nvSpPr>
          <p:spPr>
            <a:xfrm>
              <a:off x="696815" y="1271209"/>
              <a:ext cx="438784" cy="63500"/>
            </a:xfrm>
            <a:custGeom>
              <a:avLst/>
              <a:gdLst/>
              <a:ahLst/>
              <a:cxnLst/>
              <a:rect l="l" t="t" r="r" b="b"/>
              <a:pathLst>
                <a:path w="438784" h="63500">
                  <a:moveTo>
                    <a:pt x="92771" y="0"/>
                  </a:moveTo>
                  <a:lnTo>
                    <a:pt x="87414" y="63"/>
                  </a:lnTo>
                  <a:lnTo>
                    <a:pt x="66999" y="1596"/>
                  </a:lnTo>
                  <a:lnTo>
                    <a:pt x="0" y="8711"/>
                  </a:lnTo>
                  <a:lnTo>
                    <a:pt x="82880" y="7911"/>
                  </a:lnTo>
                  <a:lnTo>
                    <a:pt x="92349" y="8299"/>
                  </a:lnTo>
                  <a:lnTo>
                    <a:pt x="250012" y="36594"/>
                  </a:lnTo>
                  <a:lnTo>
                    <a:pt x="308328" y="47918"/>
                  </a:lnTo>
                  <a:lnTo>
                    <a:pt x="348538" y="56260"/>
                  </a:lnTo>
                  <a:lnTo>
                    <a:pt x="381031" y="61394"/>
                  </a:lnTo>
                  <a:lnTo>
                    <a:pt x="410005" y="63007"/>
                  </a:lnTo>
                  <a:lnTo>
                    <a:pt x="430804" y="62757"/>
                  </a:lnTo>
                  <a:lnTo>
                    <a:pt x="438772" y="62305"/>
                  </a:lnTo>
                  <a:lnTo>
                    <a:pt x="405415" y="52899"/>
                  </a:lnTo>
                  <a:lnTo>
                    <a:pt x="397602" y="51238"/>
                  </a:lnTo>
                  <a:lnTo>
                    <a:pt x="389547" y="50075"/>
                  </a:lnTo>
                  <a:lnTo>
                    <a:pt x="309035" y="36205"/>
                  </a:lnTo>
                  <a:lnTo>
                    <a:pt x="124167" y="3454"/>
                  </a:lnTo>
                  <a:lnTo>
                    <a:pt x="110524" y="1331"/>
                  </a:lnTo>
                  <a:lnTo>
                    <a:pt x="100266" y="301"/>
                  </a:lnTo>
                  <a:lnTo>
                    <a:pt x="92771"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3" name="object 33"/>
            <p:cNvSpPr/>
            <p:nvPr/>
          </p:nvSpPr>
          <p:spPr>
            <a:xfrm>
              <a:off x="696808" y="1279116"/>
              <a:ext cx="438784" cy="71755"/>
            </a:xfrm>
            <a:custGeom>
              <a:avLst/>
              <a:gdLst/>
              <a:ahLst/>
              <a:cxnLst/>
              <a:rect l="l" t="t" r="r" b="b"/>
              <a:pathLst>
                <a:path w="438784" h="71755">
                  <a:moveTo>
                    <a:pt x="82892" y="0"/>
                  </a:moveTo>
                  <a:lnTo>
                    <a:pt x="0" y="812"/>
                  </a:lnTo>
                  <a:lnTo>
                    <a:pt x="163062" y="53221"/>
                  </a:lnTo>
                  <a:lnTo>
                    <a:pt x="220535" y="71234"/>
                  </a:lnTo>
                  <a:lnTo>
                    <a:pt x="379196" y="71234"/>
                  </a:lnTo>
                  <a:lnTo>
                    <a:pt x="404530" y="68603"/>
                  </a:lnTo>
                  <a:lnTo>
                    <a:pt x="423229" y="62814"/>
                  </a:lnTo>
                  <a:lnTo>
                    <a:pt x="434805" y="57025"/>
                  </a:lnTo>
                  <a:lnTo>
                    <a:pt x="438772" y="54394"/>
                  </a:lnTo>
                  <a:lnTo>
                    <a:pt x="411137" y="56485"/>
                  </a:lnTo>
                  <a:lnTo>
                    <a:pt x="392528" y="56553"/>
                  </a:lnTo>
                  <a:lnTo>
                    <a:pt x="374485" y="54029"/>
                  </a:lnTo>
                  <a:lnTo>
                    <a:pt x="348551" y="48348"/>
                  </a:lnTo>
                  <a:lnTo>
                    <a:pt x="308340" y="40008"/>
                  </a:lnTo>
                  <a:lnTo>
                    <a:pt x="250024" y="28686"/>
                  </a:lnTo>
                  <a:lnTo>
                    <a:pt x="110262" y="2496"/>
                  </a:lnTo>
                  <a:lnTo>
                    <a:pt x="101868" y="1330"/>
                  </a:lnTo>
                  <a:lnTo>
                    <a:pt x="92362" y="387"/>
                  </a:lnTo>
                  <a:lnTo>
                    <a:pt x="82892" y="0"/>
                  </a:lnTo>
                  <a:close/>
                </a:path>
              </a:pathLst>
            </a:custGeom>
            <a:solidFill>
              <a:srgbClr val="88939E"/>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34" name="object 34"/>
            <p:cNvPicPr/>
            <p:nvPr/>
          </p:nvPicPr>
          <p:blipFill>
            <a:blip r:embed="rId15" cstate="print"/>
            <a:stretch>
              <a:fillRect/>
            </a:stretch>
          </p:blipFill>
          <p:spPr>
            <a:xfrm>
              <a:off x="576649" y="1092755"/>
              <a:ext cx="197764" cy="189652"/>
            </a:xfrm>
            <a:prstGeom prst="rect">
              <a:avLst/>
            </a:prstGeom>
          </p:spPr>
        </p:pic>
        <p:sp>
          <p:nvSpPr>
            <p:cNvPr id="35" name="object 35"/>
            <p:cNvSpPr/>
            <p:nvPr/>
          </p:nvSpPr>
          <p:spPr>
            <a:xfrm>
              <a:off x="511289" y="759291"/>
              <a:ext cx="776605" cy="776605"/>
            </a:xfrm>
            <a:custGeom>
              <a:avLst/>
              <a:gdLst/>
              <a:ahLst/>
              <a:cxnLst/>
              <a:rect l="l" t="t" r="r" b="b"/>
              <a:pathLst>
                <a:path w="776605" h="776605">
                  <a:moveTo>
                    <a:pt x="388289" y="0"/>
                  </a:moveTo>
                  <a:lnTo>
                    <a:pt x="337030" y="3331"/>
                  </a:lnTo>
                  <a:lnTo>
                    <a:pt x="287307" y="13186"/>
                  </a:lnTo>
                  <a:lnTo>
                    <a:pt x="239617" y="29360"/>
                  </a:lnTo>
                  <a:lnTo>
                    <a:pt x="194458" y="51646"/>
                  </a:lnTo>
                  <a:lnTo>
                    <a:pt x="152329" y="79838"/>
                  </a:lnTo>
                  <a:lnTo>
                    <a:pt x="113728" y="113728"/>
                  </a:lnTo>
                  <a:lnTo>
                    <a:pt x="79842" y="152325"/>
                  </a:lnTo>
                  <a:lnTo>
                    <a:pt x="51652" y="194452"/>
                  </a:lnTo>
                  <a:lnTo>
                    <a:pt x="29365" y="239612"/>
                  </a:lnTo>
                  <a:lnTo>
                    <a:pt x="13189" y="287304"/>
                  </a:lnTo>
                  <a:lnTo>
                    <a:pt x="3331" y="337030"/>
                  </a:lnTo>
                  <a:lnTo>
                    <a:pt x="0" y="388289"/>
                  </a:lnTo>
                  <a:lnTo>
                    <a:pt x="3331" y="439544"/>
                  </a:lnTo>
                  <a:lnTo>
                    <a:pt x="13189" y="489266"/>
                  </a:lnTo>
                  <a:lnTo>
                    <a:pt x="29365" y="536956"/>
                  </a:lnTo>
                  <a:lnTo>
                    <a:pt x="51652" y="582114"/>
                  </a:lnTo>
                  <a:lnTo>
                    <a:pt x="79842" y="624241"/>
                  </a:lnTo>
                  <a:lnTo>
                    <a:pt x="113728" y="662838"/>
                  </a:lnTo>
                  <a:lnTo>
                    <a:pt x="152329" y="696728"/>
                  </a:lnTo>
                  <a:lnTo>
                    <a:pt x="194458" y="724920"/>
                  </a:lnTo>
                  <a:lnTo>
                    <a:pt x="239617" y="747206"/>
                  </a:lnTo>
                  <a:lnTo>
                    <a:pt x="287307" y="763380"/>
                  </a:lnTo>
                  <a:lnTo>
                    <a:pt x="337030" y="773235"/>
                  </a:lnTo>
                  <a:lnTo>
                    <a:pt x="388289" y="776566"/>
                  </a:lnTo>
                  <a:lnTo>
                    <a:pt x="439548" y="773235"/>
                  </a:lnTo>
                  <a:lnTo>
                    <a:pt x="489272" y="763380"/>
                  </a:lnTo>
                  <a:lnTo>
                    <a:pt x="505361" y="757923"/>
                  </a:lnTo>
                  <a:lnTo>
                    <a:pt x="388289" y="757923"/>
                  </a:lnTo>
                  <a:lnTo>
                    <a:pt x="341924" y="755043"/>
                  </a:lnTo>
                  <a:lnTo>
                    <a:pt x="297277" y="746634"/>
                  </a:lnTo>
                  <a:lnTo>
                    <a:pt x="254695" y="733042"/>
                  </a:lnTo>
                  <a:lnTo>
                    <a:pt x="214524" y="714614"/>
                  </a:lnTo>
                  <a:lnTo>
                    <a:pt x="177111" y="691696"/>
                  </a:lnTo>
                  <a:lnTo>
                    <a:pt x="142802" y="664635"/>
                  </a:lnTo>
                  <a:lnTo>
                    <a:pt x="111944" y="633776"/>
                  </a:lnTo>
                  <a:lnTo>
                    <a:pt x="84883" y="599467"/>
                  </a:lnTo>
                  <a:lnTo>
                    <a:pt x="61965" y="562054"/>
                  </a:lnTo>
                  <a:lnTo>
                    <a:pt x="43537" y="521884"/>
                  </a:lnTo>
                  <a:lnTo>
                    <a:pt x="29945" y="479302"/>
                  </a:lnTo>
                  <a:lnTo>
                    <a:pt x="21536" y="434655"/>
                  </a:lnTo>
                  <a:lnTo>
                    <a:pt x="18656" y="388289"/>
                  </a:lnTo>
                  <a:lnTo>
                    <a:pt x="21536" y="341921"/>
                  </a:lnTo>
                  <a:lnTo>
                    <a:pt x="29945" y="297272"/>
                  </a:lnTo>
                  <a:lnTo>
                    <a:pt x="43537" y="254688"/>
                  </a:lnTo>
                  <a:lnTo>
                    <a:pt x="61965" y="214516"/>
                  </a:lnTo>
                  <a:lnTo>
                    <a:pt x="84883" y="177101"/>
                  </a:lnTo>
                  <a:lnTo>
                    <a:pt x="111944" y="142792"/>
                  </a:lnTo>
                  <a:lnTo>
                    <a:pt x="142802" y="111933"/>
                  </a:lnTo>
                  <a:lnTo>
                    <a:pt x="177111" y="84871"/>
                  </a:lnTo>
                  <a:lnTo>
                    <a:pt x="214524" y="61952"/>
                  </a:lnTo>
                  <a:lnTo>
                    <a:pt x="254695" y="43524"/>
                  </a:lnTo>
                  <a:lnTo>
                    <a:pt x="297277" y="29932"/>
                  </a:lnTo>
                  <a:lnTo>
                    <a:pt x="341924" y="21523"/>
                  </a:lnTo>
                  <a:lnTo>
                    <a:pt x="388289" y="18643"/>
                  </a:lnTo>
                  <a:lnTo>
                    <a:pt x="505361" y="18643"/>
                  </a:lnTo>
                  <a:lnTo>
                    <a:pt x="489272" y="13186"/>
                  </a:lnTo>
                  <a:lnTo>
                    <a:pt x="439548" y="3331"/>
                  </a:lnTo>
                  <a:lnTo>
                    <a:pt x="388289" y="0"/>
                  </a:lnTo>
                  <a:close/>
                </a:path>
                <a:path w="776605" h="776605">
                  <a:moveTo>
                    <a:pt x="505361" y="18643"/>
                  </a:moveTo>
                  <a:lnTo>
                    <a:pt x="388289" y="18643"/>
                  </a:lnTo>
                  <a:lnTo>
                    <a:pt x="434655" y="21523"/>
                  </a:lnTo>
                  <a:lnTo>
                    <a:pt x="479302" y="29932"/>
                  </a:lnTo>
                  <a:lnTo>
                    <a:pt x="521884" y="43524"/>
                  </a:lnTo>
                  <a:lnTo>
                    <a:pt x="562054" y="61952"/>
                  </a:lnTo>
                  <a:lnTo>
                    <a:pt x="599467" y="84871"/>
                  </a:lnTo>
                  <a:lnTo>
                    <a:pt x="633776" y="111933"/>
                  </a:lnTo>
                  <a:lnTo>
                    <a:pt x="664635" y="142792"/>
                  </a:lnTo>
                  <a:lnTo>
                    <a:pt x="691696" y="177101"/>
                  </a:lnTo>
                  <a:lnTo>
                    <a:pt x="714614" y="214516"/>
                  </a:lnTo>
                  <a:lnTo>
                    <a:pt x="733042" y="254688"/>
                  </a:lnTo>
                  <a:lnTo>
                    <a:pt x="746634" y="297272"/>
                  </a:lnTo>
                  <a:lnTo>
                    <a:pt x="755043" y="341921"/>
                  </a:lnTo>
                  <a:lnTo>
                    <a:pt x="757923" y="388289"/>
                  </a:lnTo>
                  <a:lnTo>
                    <a:pt x="755043" y="434655"/>
                  </a:lnTo>
                  <a:lnTo>
                    <a:pt x="746634" y="479302"/>
                  </a:lnTo>
                  <a:lnTo>
                    <a:pt x="733042" y="521884"/>
                  </a:lnTo>
                  <a:lnTo>
                    <a:pt x="714614" y="562054"/>
                  </a:lnTo>
                  <a:lnTo>
                    <a:pt x="691696" y="599467"/>
                  </a:lnTo>
                  <a:lnTo>
                    <a:pt x="664635" y="633776"/>
                  </a:lnTo>
                  <a:lnTo>
                    <a:pt x="633776" y="664635"/>
                  </a:lnTo>
                  <a:lnTo>
                    <a:pt x="599467" y="691696"/>
                  </a:lnTo>
                  <a:lnTo>
                    <a:pt x="562054" y="714614"/>
                  </a:lnTo>
                  <a:lnTo>
                    <a:pt x="521884" y="733042"/>
                  </a:lnTo>
                  <a:lnTo>
                    <a:pt x="479302" y="746634"/>
                  </a:lnTo>
                  <a:lnTo>
                    <a:pt x="434655" y="755043"/>
                  </a:lnTo>
                  <a:lnTo>
                    <a:pt x="388289" y="757923"/>
                  </a:lnTo>
                  <a:lnTo>
                    <a:pt x="505361" y="757923"/>
                  </a:lnTo>
                  <a:lnTo>
                    <a:pt x="582120" y="724920"/>
                  </a:lnTo>
                  <a:lnTo>
                    <a:pt x="624249" y="696728"/>
                  </a:lnTo>
                  <a:lnTo>
                    <a:pt x="662851" y="662838"/>
                  </a:lnTo>
                  <a:lnTo>
                    <a:pt x="696737" y="624241"/>
                  </a:lnTo>
                  <a:lnTo>
                    <a:pt x="724927" y="582114"/>
                  </a:lnTo>
                  <a:lnTo>
                    <a:pt x="747214" y="536956"/>
                  </a:lnTo>
                  <a:lnTo>
                    <a:pt x="763389" y="489266"/>
                  </a:lnTo>
                  <a:lnTo>
                    <a:pt x="773247" y="439544"/>
                  </a:lnTo>
                  <a:lnTo>
                    <a:pt x="776579" y="388289"/>
                  </a:lnTo>
                  <a:lnTo>
                    <a:pt x="773247" y="337030"/>
                  </a:lnTo>
                  <a:lnTo>
                    <a:pt x="763389" y="287304"/>
                  </a:lnTo>
                  <a:lnTo>
                    <a:pt x="747214" y="239612"/>
                  </a:lnTo>
                  <a:lnTo>
                    <a:pt x="724927" y="194452"/>
                  </a:lnTo>
                  <a:lnTo>
                    <a:pt x="696737" y="152325"/>
                  </a:lnTo>
                  <a:lnTo>
                    <a:pt x="662851" y="113728"/>
                  </a:lnTo>
                  <a:lnTo>
                    <a:pt x="624249" y="79838"/>
                  </a:lnTo>
                  <a:lnTo>
                    <a:pt x="582120" y="51646"/>
                  </a:lnTo>
                  <a:lnTo>
                    <a:pt x="536962" y="29360"/>
                  </a:lnTo>
                  <a:lnTo>
                    <a:pt x="505361" y="18643"/>
                  </a:lnTo>
                  <a:close/>
                </a:path>
              </a:pathLst>
            </a:custGeom>
            <a:solidFill>
              <a:srgbClr val="D0D1C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36" name="object 36"/>
          <p:cNvGrpSpPr/>
          <p:nvPr/>
        </p:nvGrpSpPr>
        <p:grpSpPr>
          <a:xfrm>
            <a:off x="3119792" y="669961"/>
            <a:ext cx="686360" cy="686360"/>
            <a:chOff x="1656164" y="759289"/>
            <a:chExt cx="777875" cy="777875"/>
          </a:xfrm>
        </p:grpSpPr>
        <p:sp>
          <p:nvSpPr>
            <p:cNvPr id="37" name="object 37"/>
            <p:cNvSpPr/>
            <p:nvPr/>
          </p:nvSpPr>
          <p:spPr>
            <a:xfrm>
              <a:off x="1674845" y="777970"/>
              <a:ext cx="741045" cy="741045"/>
            </a:xfrm>
            <a:custGeom>
              <a:avLst/>
              <a:gdLst/>
              <a:ahLst/>
              <a:cxnLst/>
              <a:rect l="l" t="t" r="r" b="b"/>
              <a:pathLst>
                <a:path w="741044" h="741044">
                  <a:moveTo>
                    <a:pt x="370230" y="0"/>
                  </a:moveTo>
                  <a:lnTo>
                    <a:pt x="323789" y="2884"/>
                  </a:lnTo>
                  <a:lnTo>
                    <a:pt x="279070" y="11307"/>
                  </a:lnTo>
                  <a:lnTo>
                    <a:pt x="236420" y="24921"/>
                  </a:lnTo>
                  <a:lnTo>
                    <a:pt x="196184" y="43378"/>
                  </a:lnTo>
                  <a:lnTo>
                    <a:pt x="158710" y="66333"/>
                  </a:lnTo>
                  <a:lnTo>
                    <a:pt x="124346" y="93438"/>
                  </a:lnTo>
                  <a:lnTo>
                    <a:pt x="93438" y="124346"/>
                  </a:lnTo>
                  <a:lnTo>
                    <a:pt x="66333" y="158710"/>
                  </a:lnTo>
                  <a:lnTo>
                    <a:pt x="43378" y="196184"/>
                  </a:lnTo>
                  <a:lnTo>
                    <a:pt x="24921" y="236420"/>
                  </a:lnTo>
                  <a:lnTo>
                    <a:pt x="11307" y="279070"/>
                  </a:lnTo>
                  <a:lnTo>
                    <a:pt x="2884" y="323789"/>
                  </a:lnTo>
                  <a:lnTo>
                    <a:pt x="0" y="370230"/>
                  </a:lnTo>
                  <a:lnTo>
                    <a:pt x="2884" y="416670"/>
                  </a:lnTo>
                  <a:lnTo>
                    <a:pt x="11307" y="461389"/>
                  </a:lnTo>
                  <a:lnTo>
                    <a:pt x="24921" y="504040"/>
                  </a:lnTo>
                  <a:lnTo>
                    <a:pt x="43378" y="544276"/>
                  </a:lnTo>
                  <a:lnTo>
                    <a:pt x="66333" y="581749"/>
                  </a:lnTo>
                  <a:lnTo>
                    <a:pt x="93438" y="616114"/>
                  </a:lnTo>
                  <a:lnTo>
                    <a:pt x="124346" y="647022"/>
                  </a:lnTo>
                  <a:lnTo>
                    <a:pt x="158710" y="674127"/>
                  </a:lnTo>
                  <a:lnTo>
                    <a:pt x="196184" y="697081"/>
                  </a:lnTo>
                  <a:lnTo>
                    <a:pt x="236420" y="715539"/>
                  </a:lnTo>
                  <a:lnTo>
                    <a:pt x="279070" y="729153"/>
                  </a:lnTo>
                  <a:lnTo>
                    <a:pt x="323789" y="737576"/>
                  </a:lnTo>
                  <a:lnTo>
                    <a:pt x="370230" y="740460"/>
                  </a:lnTo>
                  <a:lnTo>
                    <a:pt x="416670" y="737576"/>
                  </a:lnTo>
                  <a:lnTo>
                    <a:pt x="461389" y="729153"/>
                  </a:lnTo>
                  <a:lnTo>
                    <a:pt x="504040" y="715539"/>
                  </a:lnTo>
                  <a:lnTo>
                    <a:pt x="544276" y="697081"/>
                  </a:lnTo>
                  <a:lnTo>
                    <a:pt x="581749" y="674127"/>
                  </a:lnTo>
                  <a:lnTo>
                    <a:pt x="616114" y="647022"/>
                  </a:lnTo>
                  <a:lnTo>
                    <a:pt x="647022" y="616114"/>
                  </a:lnTo>
                  <a:lnTo>
                    <a:pt x="674127" y="581749"/>
                  </a:lnTo>
                  <a:lnTo>
                    <a:pt x="697081" y="544276"/>
                  </a:lnTo>
                  <a:lnTo>
                    <a:pt x="715539" y="504040"/>
                  </a:lnTo>
                  <a:lnTo>
                    <a:pt x="729153" y="461389"/>
                  </a:lnTo>
                  <a:lnTo>
                    <a:pt x="737576" y="416670"/>
                  </a:lnTo>
                  <a:lnTo>
                    <a:pt x="740460" y="370230"/>
                  </a:lnTo>
                  <a:lnTo>
                    <a:pt x="737576" y="323789"/>
                  </a:lnTo>
                  <a:lnTo>
                    <a:pt x="729153" y="279070"/>
                  </a:lnTo>
                  <a:lnTo>
                    <a:pt x="715539" y="236420"/>
                  </a:lnTo>
                  <a:lnTo>
                    <a:pt x="697081" y="196184"/>
                  </a:lnTo>
                  <a:lnTo>
                    <a:pt x="674127" y="158710"/>
                  </a:lnTo>
                  <a:lnTo>
                    <a:pt x="647022" y="124346"/>
                  </a:lnTo>
                  <a:lnTo>
                    <a:pt x="616114" y="93438"/>
                  </a:lnTo>
                  <a:lnTo>
                    <a:pt x="581749" y="66333"/>
                  </a:lnTo>
                  <a:lnTo>
                    <a:pt x="544276" y="43378"/>
                  </a:lnTo>
                  <a:lnTo>
                    <a:pt x="504040" y="24921"/>
                  </a:lnTo>
                  <a:lnTo>
                    <a:pt x="461389" y="11307"/>
                  </a:lnTo>
                  <a:lnTo>
                    <a:pt x="416670" y="2884"/>
                  </a:lnTo>
                  <a:lnTo>
                    <a:pt x="370230" y="0"/>
                  </a:lnTo>
                  <a:close/>
                </a:path>
              </a:pathLst>
            </a:custGeom>
            <a:solidFill>
              <a:srgbClr val="F0EBE5"/>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8" name="object 38"/>
            <p:cNvSpPr/>
            <p:nvPr/>
          </p:nvSpPr>
          <p:spPr>
            <a:xfrm>
              <a:off x="1656164" y="759289"/>
              <a:ext cx="777875" cy="777875"/>
            </a:xfrm>
            <a:custGeom>
              <a:avLst/>
              <a:gdLst/>
              <a:ahLst/>
              <a:cxnLst/>
              <a:rect l="l" t="t" r="r" b="b"/>
              <a:pathLst>
                <a:path w="777875" h="777875">
                  <a:moveTo>
                    <a:pt x="388912" y="0"/>
                  </a:moveTo>
                  <a:lnTo>
                    <a:pt x="337570" y="3336"/>
                  </a:lnTo>
                  <a:lnTo>
                    <a:pt x="287766" y="13207"/>
                  </a:lnTo>
                  <a:lnTo>
                    <a:pt x="239998" y="29406"/>
                  </a:lnTo>
                  <a:lnTo>
                    <a:pt x="194765" y="51727"/>
                  </a:lnTo>
                  <a:lnTo>
                    <a:pt x="152568" y="79962"/>
                  </a:lnTo>
                  <a:lnTo>
                    <a:pt x="113906" y="113906"/>
                  </a:lnTo>
                  <a:lnTo>
                    <a:pt x="79962" y="152568"/>
                  </a:lnTo>
                  <a:lnTo>
                    <a:pt x="51727" y="194765"/>
                  </a:lnTo>
                  <a:lnTo>
                    <a:pt x="29406" y="239998"/>
                  </a:lnTo>
                  <a:lnTo>
                    <a:pt x="13207" y="287766"/>
                  </a:lnTo>
                  <a:lnTo>
                    <a:pt x="3336" y="337570"/>
                  </a:lnTo>
                  <a:lnTo>
                    <a:pt x="0" y="388912"/>
                  </a:lnTo>
                  <a:lnTo>
                    <a:pt x="3336" y="440252"/>
                  </a:lnTo>
                  <a:lnTo>
                    <a:pt x="13207" y="490054"/>
                  </a:lnTo>
                  <a:lnTo>
                    <a:pt x="29406" y="537819"/>
                  </a:lnTo>
                  <a:lnTo>
                    <a:pt x="51727" y="583049"/>
                  </a:lnTo>
                  <a:lnTo>
                    <a:pt x="79962" y="625243"/>
                  </a:lnTo>
                  <a:lnTo>
                    <a:pt x="113906" y="663905"/>
                  </a:lnTo>
                  <a:lnTo>
                    <a:pt x="152568" y="697849"/>
                  </a:lnTo>
                  <a:lnTo>
                    <a:pt x="194765" y="726087"/>
                  </a:lnTo>
                  <a:lnTo>
                    <a:pt x="239998" y="748411"/>
                  </a:lnTo>
                  <a:lnTo>
                    <a:pt x="287766" y="764613"/>
                  </a:lnTo>
                  <a:lnTo>
                    <a:pt x="337570" y="774486"/>
                  </a:lnTo>
                  <a:lnTo>
                    <a:pt x="388912" y="777824"/>
                  </a:lnTo>
                  <a:lnTo>
                    <a:pt x="440253" y="774486"/>
                  </a:lnTo>
                  <a:lnTo>
                    <a:pt x="490057" y="764613"/>
                  </a:lnTo>
                  <a:lnTo>
                    <a:pt x="506187" y="759142"/>
                  </a:lnTo>
                  <a:lnTo>
                    <a:pt x="388912" y="759142"/>
                  </a:lnTo>
                  <a:lnTo>
                    <a:pt x="342471" y="756257"/>
                  </a:lnTo>
                  <a:lnTo>
                    <a:pt x="297752" y="747835"/>
                  </a:lnTo>
                  <a:lnTo>
                    <a:pt x="255101" y="734221"/>
                  </a:lnTo>
                  <a:lnTo>
                    <a:pt x="214866" y="715763"/>
                  </a:lnTo>
                  <a:lnTo>
                    <a:pt x="177392" y="692808"/>
                  </a:lnTo>
                  <a:lnTo>
                    <a:pt x="143028" y="665703"/>
                  </a:lnTo>
                  <a:lnTo>
                    <a:pt x="112120" y="634795"/>
                  </a:lnTo>
                  <a:lnTo>
                    <a:pt x="85015" y="600431"/>
                  </a:lnTo>
                  <a:lnTo>
                    <a:pt x="62060" y="562958"/>
                  </a:lnTo>
                  <a:lnTo>
                    <a:pt x="43602" y="522722"/>
                  </a:lnTo>
                  <a:lnTo>
                    <a:pt x="29989" y="480071"/>
                  </a:lnTo>
                  <a:lnTo>
                    <a:pt x="21566" y="435352"/>
                  </a:lnTo>
                  <a:lnTo>
                    <a:pt x="18681" y="388912"/>
                  </a:lnTo>
                  <a:lnTo>
                    <a:pt x="21566" y="342471"/>
                  </a:lnTo>
                  <a:lnTo>
                    <a:pt x="29989" y="297752"/>
                  </a:lnTo>
                  <a:lnTo>
                    <a:pt x="43602" y="255101"/>
                  </a:lnTo>
                  <a:lnTo>
                    <a:pt x="62060" y="214866"/>
                  </a:lnTo>
                  <a:lnTo>
                    <a:pt x="85015" y="177392"/>
                  </a:lnTo>
                  <a:lnTo>
                    <a:pt x="112120" y="143028"/>
                  </a:lnTo>
                  <a:lnTo>
                    <a:pt x="143028" y="112120"/>
                  </a:lnTo>
                  <a:lnTo>
                    <a:pt x="177392" y="85015"/>
                  </a:lnTo>
                  <a:lnTo>
                    <a:pt x="214866" y="62060"/>
                  </a:lnTo>
                  <a:lnTo>
                    <a:pt x="255101" y="43602"/>
                  </a:lnTo>
                  <a:lnTo>
                    <a:pt x="297752" y="29989"/>
                  </a:lnTo>
                  <a:lnTo>
                    <a:pt x="342471" y="21566"/>
                  </a:lnTo>
                  <a:lnTo>
                    <a:pt x="388912" y="18681"/>
                  </a:lnTo>
                  <a:lnTo>
                    <a:pt x="506199" y="18681"/>
                  </a:lnTo>
                  <a:lnTo>
                    <a:pt x="490057" y="13207"/>
                  </a:lnTo>
                  <a:lnTo>
                    <a:pt x="440253" y="3336"/>
                  </a:lnTo>
                  <a:lnTo>
                    <a:pt x="388912" y="0"/>
                  </a:lnTo>
                  <a:close/>
                </a:path>
                <a:path w="777875" h="777875">
                  <a:moveTo>
                    <a:pt x="506199" y="18681"/>
                  </a:moveTo>
                  <a:lnTo>
                    <a:pt x="388912" y="18681"/>
                  </a:lnTo>
                  <a:lnTo>
                    <a:pt x="435352" y="21566"/>
                  </a:lnTo>
                  <a:lnTo>
                    <a:pt x="480071" y="29989"/>
                  </a:lnTo>
                  <a:lnTo>
                    <a:pt x="522722" y="43602"/>
                  </a:lnTo>
                  <a:lnTo>
                    <a:pt x="562958" y="62060"/>
                  </a:lnTo>
                  <a:lnTo>
                    <a:pt x="600431" y="85015"/>
                  </a:lnTo>
                  <a:lnTo>
                    <a:pt x="634795" y="112120"/>
                  </a:lnTo>
                  <a:lnTo>
                    <a:pt x="665703" y="143028"/>
                  </a:lnTo>
                  <a:lnTo>
                    <a:pt x="692808" y="177392"/>
                  </a:lnTo>
                  <a:lnTo>
                    <a:pt x="715763" y="214866"/>
                  </a:lnTo>
                  <a:lnTo>
                    <a:pt x="734221" y="255101"/>
                  </a:lnTo>
                  <a:lnTo>
                    <a:pt x="747835" y="297752"/>
                  </a:lnTo>
                  <a:lnTo>
                    <a:pt x="756257" y="342471"/>
                  </a:lnTo>
                  <a:lnTo>
                    <a:pt x="759142" y="388912"/>
                  </a:lnTo>
                  <a:lnTo>
                    <a:pt x="756257" y="435352"/>
                  </a:lnTo>
                  <a:lnTo>
                    <a:pt x="747835" y="480071"/>
                  </a:lnTo>
                  <a:lnTo>
                    <a:pt x="734221" y="522722"/>
                  </a:lnTo>
                  <a:lnTo>
                    <a:pt x="715763" y="562958"/>
                  </a:lnTo>
                  <a:lnTo>
                    <a:pt x="692808" y="600431"/>
                  </a:lnTo>
                  <a:lnTo>
                    <a:pt x="665703" y="634795"/>
                  </a:lnTo>
                  <a:lnTo>
                    <a:pt x="634795" y="665703"/>
                  </a:lnTo>
                  <a:lnTo>
                    <a:pt x="600431" y="692808"/>
                  </a:lnTo>
                  <a:lnTo>
                    <a:pt x="562958" y="715763"/>
                  </a:lnTo>
                  <a:lnTo>
                    <a:pt x="522722" y="734221"/>
                  </a:lnTo>
                  <a:lnTo>
                    <a:pt x="480071" y="747835"/>
                  </a:lnTo>
                  <a:lnTo>
                    <a:pt x="435352" y="756257"/>
                  </a:lnTo>
                  <a:lnTo>
                    <a:pt x="388912" y="759142"/>
                  </a:lnTo>
                  <a:lnTo>
                    <a:pt x="506187" y="759142"/>
                  </a:lnTo>
                  <a:lnTo>
                    <a:pt x="583058" y="726087"/>
                  </a:lnTo>
                  <a:lnTo>
                    <a:pt x="625255" y="697849"/>
                  </a:lnTo>
                  <a:lnTo>
                    <a:pt x="663917" y="663905"/>
                  </a:lnTo>
                  <a:lnTo>
                    <a:pt x="697861" y="625243"/>
                  </a:lnTo>
                  <a:lnTo>
                    <a:pt x="726096" y="583049"/>
                  </a:lnTo>
                  <a:lnTo>
                    <a:pt x="748417" y="537819"/>
                  </a:lnTo>
                  <a:lnTo>
                    <a:pt x="764616" y="490054"/>
                  </a:lnTo>
                  <a:lnTo>
                    <a:pt x="774487" y="440252"/>
                  </a:lnTo>
                  <a:lnTo>
                    <a:pt x="777824" y="388912"/>
                  </a:lnTo>
                  <a:lnTo>
                    <a:pt x="774487" y="337570"/>
                  </a:lnTo>
                  <a:lnTo>
                    <a:pt x="764616" y="287766"/>
                  </a:lnTo>
                  <a:lnTo>
                    <a:pt x="748417" y="239998"/>
                  </a:lnTo>
                  <a:lnTo>
                    <a:pt x="726096" y="194765"/>
                  </a:lnTo>
                  <a:lnTo>
                    <a:pt x="697861" y="152568"/>
                  </a:lnTo>
                  <a:lnTo>
                    <a:pt x="663917" y="113906"/>
                  </a:lnTo>
                  <a:lnTo>
                    <a:pt x="625255" y="79962"/>
                  </a:lnTo>
                  <a:lnTo>
                    <a:pt x="583058" y="51727"/>
                  </a:lnTo>
                  <a:lnTo>
                    <a:pt x="537825" y="29406"/>
                  </a:lnTo>
                  <a:lnTo>
                    <a:pt x="506199" y="18681"/>
                  </a:lnTo>
                  <a:close/>
                </a:path>
              </a:pathLst>
            </a:custGeom>
            <a:solidFill>
              <a:srgbClr val="D0D1C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9" name="object 39"/>
            <p:cNvSpPr/>
            <p:nvPr/>
          </p:nvSpPr>
          <p:spPr>
            <a:xfrm>
              <a:off x="1784642" y="848194"/>
              <a:ext cx="511175" cy="438150"/>
            </a:xfrm>
            <a:custGeom>
              <a:avLst/>
              <a:gdLst/>
              <a:ahLst/>
              <a:cxnLst/>
              <a:rect l="l" t="t" r="r" b="b"/>
              <a:pathLst>
                <a:path w="511175" h="438150">
                  <a:moveTo>
                    <a:pt x="66065" y="251866"/>
                  </a:moveTo>
                  <a:lnTo>
                    <a:pt x="63144" y="248945"/>
                  </a:lnTo>
                  <a:lnTo>
                    <a:pt x="2921" y="248945"/>
                  </a:lnTo>
                  <a:lnTo>
                    <a:pt x="0" y="251866"/>
                  </a:lnTo>
                  <a:lnTo>
                    <a:pt x="0" y="259054"/>
                  </a:lnTo>
                  <a:lnTo>
                    <a:pt x="2921" y="261975"/>
                  </a:lnTo>
                  <a:lnTo>
                    <a:pt x="59550" y="261975"/>
                  </a:lnTo>
                  <a:lnTo>
                    <a:pt x="63144" y="261975"/>
                  </a:lnTo>
                  <a:lnTo>
                    <a:pt x="66065" y="259054"/>
                  </a:lnTo>
                  <a:lnTo>
                    <a:pt x="66065" y="251866"/>
                  </a:lnTo>
                  <a:close/>
                </a:path>
                <a:path w="511175" h="438150">
                  <a:moveTo>
                    <a:pt x="124079" y="391922"/>
                  </a:moveTo>
                  <a:lnTo>
                    <a:pt x="118986" y="386842"/>
                  </a:lnTo>
                  <a:lnTo>
                    <a:pt x="114871" y="386842"/>
                  </a:lnTo>
                  <a:lnTo>
                    <a:pt x="72275" y="429437"/>
                  </a:lnTo>
                  <a:lnTo>
                    <a:pt x="72275" y="433552"/>
                  </a:lnTo>
                  <a:lnTo>
                    <a:pt x="76085" y="437375"/>
                  </a:lnTo>
                  <a:lnTo>
                    <a:pt x="77762" y="438010"/>
                  </a:lnTo>
                  <a:lnTo>
                    <a:pt x="79425" y="438010"/>
                  </a:lnTo>
                  <a:lnTo>
                    <a:pt x="81089" y="438010"/>
                  </a:lnTo>
                  <a:lnTo>
                    <a:pt x="82765" y="437375"/>
                  </a:lnTo>
                  <a:lnTo>
                    <a:pt x="124079" y="396049"/>
                  </a:lnTo>
                  <a:lnTo>
                    <a:pt x="124079" y="391922"/>
                  </a:lnTo>
                  <a:close/>
                </a:path>
                <a:path w="511175" h="438150">
                  <a:moveTo>
                    <a:pt x="124079" y="114871"/>
                  </a:moveTo>
                  <a:lnTo>
                    <a:pt x="81483" y="72275"/>
                  </a:lnTo>
                  <a:lnTo>
                    <a:pt x="77368" y="72275"/>
                  </a:lnTo>
                  <a:lnTo>
                    <a:pt x="72275" y="77355"/>
                  </a:lnTo>
                  <a:lnTo>
                    <a:pt x="72275" y="81483"/>
                  </a:lnTo>
                  <a:lnTo>
                    <a:pt x="113588" y="122809"/>
                  </a:lnTo>
                  <a:lnTo>
                    <a:pt x="115265" y="123444"/>
                  </a:lnTo>
                  <a:lnTo>
                    <a:pt x="116928" y="123444"/>
                  </a:lnTo>
                  <a:lnTo>
                    <a:pt x="118592" y="123444"/>
                  </a:lnTo>
                  <a:lnTo>
                    <a:pt x="120269" y="122809"/>
                  </a:lnTo>
                  <a:lnTo>
                    <a:pt x="124079" y="118986"/>
                  </a:lnTo>
                  <a:lnTo>
                    <a:pt x="124079" y="114871"/>
                  </a:lnTo>
                  <a:close/>
                </a:path>
                <a:path w="511175" h="438150">
                  <a:moveTo>
                    <a:pt x="261975" y="2921"/>
                  </a:moveTo>
                  <a:lnTo>
                    <a:pt x="259054" y="0"/>
                  </a:lnTo>
                  <a:lnTo>
                    <a:pt x="251866" y="0"/>
                  </a:lnTo>
                  <a:lnTo>
                    <a:pt x="248945" y="2921"/>
                  </a:lnTo>
                  <a:lnTo>
                    <a:pt x="248945" y="63144"/>
                  </a:lnTo>
                  <a:lnTo>
                    <a:pt x="251866" y="66065"/>
                  </a:lnTo>
                  <a:lnTo>
                    <a:pt x="255460" y="66065"/>
                  </a:lnTo>
                  <a:lnTo>
                    <a:pt x="259054" y="66065"/>
                  </a:lnTo>
                  <a:lnTo>
                    <a:pt x="261975" y="63144"/>
                  </a:lnTo>
                  <a:lnTo>
                    <a:pt x="261975" y="2921"/>
                  </a:lnTo>
                  <a:close/>
                </a:path>
                <a:path w="511175" h="438150">
                  <a:moveTo>
                    <a:pt x="438658" y="429437"/>
                  </a:moveTo>
                  <a:lnTo>
                    <a:pt x="396062" y="386842"/>
                  </a:lnTo>
                  <a:lnTo>
                    <a:pt x="391947" y="386842"/>
                  </a:lnTo>
                  <a:lnTo>
                    <a:pt x="386854" y="391922"/>
                  </a:lnTo>
                  <a:lnTo>
                    <a:pt x="386854" y="396049"/>
                  </a:lnTo>
                  <a:lnTo>
                    <a:pt x="428167" y="437375"/>
                  </a:lnTo>
                  <a:lnTo>
                    <a:pt x="429844" y="438010"/>
                  </a:lnTo>
                  <a:lnTo>
                    <a:pt x="431507" y="438010"/>
                  </a:lnTo>
                  <a:lnTo>
                    <a:pt x="433171" y="438010"/>
                  </a:lnTo>
                  <a:lnTo>
                    <a:pt x="434848" y="437375"/>
                  </a:lnTo>
                  <a:lnTo>
                    <a:pt x="438658" y="433552"/>
                  </a:lnTo>
                  <a:lnTo>
                    <a:pt x="438658" y="429437"/>
                  </a:lnTo>
                  <a:close/>
                </a:path>
                <a:path w="511175" h="438150">
                  <a:moveTo>
                    <a:pt x="438658" y="77355"/>
                  </a:moveTo>
                  <a:lnTo>
                    <a:pt x="433565" y="72275"/>
                  </a:lnTo>
                  <a:lnTo>
                    <a:pt x="429450" y="72275"/>
                  </a:lnTo>
                  <a:lnTo>
                    <a:pt x="386854" y="114871"/>
                  </a:lnTo>
                  <a:lnTo>
                    <a:pt x="386854" y="118986"/>
                  </a:lnTo>
                  <a:lnTo>
                    <a:pt x="390664" y="122809"/>
                  </a:lnTo>
                  <a:lnTo>
                    <a:pt x="392341" y="123444"/>
                  </a:lnTo>
                  <a:lnTo>
                    <a:pt x="394004" y="123444"/>
                  </a:lnTo>
                  <a:lnTo>
                    <a:pt x="395668" y="123444"/>
                  </a:lnTo>
                  <a:lnTo>
                    <a:pt x="397344" y="122809"/>
                  </a:lnTo>
                  <a:lnTo>
                    <a:pt x="438658" y="81483"/>
                  </a:lnTo>
                  <a:lnTo>
                    <a:pt x="438658" y="77355"/>
                  </a:lnTo>
                  <a:close/>
                </a:path>
                <a:path w="511175" h="438150">
                  <a:moveTo>
                    <a:pt x="510933" y="251866"/>
                  </a:moveTo>
                  <a:lnTo>
                    <a:pt x="508012" y="248945"/>
                  </a:lnTo>
                  <a:lnTo>
                    <a:pt x="447789" y="248945"/>
                  </a:lnTo>
                  <a:lnTo>
                    <a:pt x="444868" y="251866"/>
                  </a:lnTo>
                  <a:lnTo>
                    <a:pt x="444868" y="259054"/>
                  </a:lnTo>
                  <a:lnTo>
                    <a:pt x="447789" y="261975"/>
                  </a:lnTo>
                  <a:lnTo>
                    <a:pt x="504418" y="261975"/>
                  </a:lnTo>
                  <a:lnTo>
                    <a:pt x="508012" y="261975"/>
                  </a:lnTo>
                  <a:lnTo>
                    <a:pt x="510933" y="259054"/>
                  </a:lnTo>
                  <a:lnTo>
                    <a:pt x="510933" y="251866"/>
                  </a:lnTo>
                  <a:close/>
                </a:path>
              </a:pathLst>
            </a:custGeom>
            <a:solidFill>
              <a:srgbClr val="4B4F5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0" name="object 40"/>
            <p:cNvSpPr/>
            <p:nvPr/>
          </p:nvSpPr>
          <p:spPr>
            <a:xfrm>
              <a:off x="1869305" y="928148"/>
              <a:ext cx="344805" cy="379095"/>
            </a:xfrm>
            <a:custGeom>
              <a:avLst/>
              <a:gdLst/>
              <a:ahLst/>
              <a:cxnLst/>
              <a:rect l="l" t="t" r="r" b="b"/>
              <a:pathLst>
                <a:path w="344805" h="379094">
                  <a:moveTo>
                    <a:pt x="183434" y="0"/>
                  </a:moveTo>
                  <a:lnTo>
                    <a:pt x="107161" y="12058"/>
                  </a:lnTo>
                  <a:lnTo>
                    <a:pt x="67643" y="34494"/>
                  </a:lnTo>
                  <a:lnTo>
                    <a:pt x="35414" y="66190"/>
                  </a:lnTo>
                  <a:lnTo>
                    <a:pt x="12340" y="105322"/>
                  </a:lnTo>
                  <a:lnTo>
                    <a:pt x="286" y="150069"/>
                  </a:lnTo>
                  <a:lnTo>
                    <a:pt x="0" y="192544"/>
                  </a:lnTo>
                  <a:lnTo>
                    <a:pt x="9373" y="232078"/>
                  </a:lnTo>
                  <a:lnTo>
                    <a:pt x="27243" y="267514"/>
                  </a:lnTo>
                  <a:lnTo>
                    <a:pt x="52445" y="297694"/>
                  </a:lnTo>
                  <a:lnTo>
                    <a:pt x="61802" y="307876"/>
                  </a:lnTo>
                  <a:lnTo>
                    <a:pt x="70043" y="319357"/>
                  </a:lnTo>
                  <a:lnTo>
                    <a:pt x="88583" y="361707"/>
                  </a:lnTo>
                  <a:lnTo>
                    <a:pt x="92374" y="378555"/>
                  </a:lnTo>
                  <a:lnTo>
                    <a:pt x="251175" y="378555"/>
                  </a:lnTo>
                  <a:lnTo>
                    <a:pt x="256802" y="355852"/>
                  </a:lnTo>
                  <a:lnTo>
                    <a:pt x="265567" y="334045"/>
                  </a:lnTo>
                  <a:lnTo>
                    <a:pt x="277300" y="314119"/>
                  </a:lnTo>
                  <a:lnTo>
                    <a:pt x="313863" y="271218"/>
                  </a:lnTo>
                  <a:lnTo>
                    <a:pt x="330529" y="241360"/>
                  </a:lnTo>
                  <a:lnTo>
                    <a:pt x="341078" y="208230"/>
                  </a:lnTo>
                  <a:lnTo>
                    <a:pt x="344761" y="172574"/>
                  </a:lnTo>
                  <a:lnTo>
                    <a:pt x="339186" y="128848"/>
                  </a:lnTo>
                  <a:lnTo>
                    <a:pt x="323400" y="89246"/>
                  </a:lnTo>
                  <a:lnTo>
                    <a:pt x="298813" y="55173"/>
                  </a:lnTo>
                  <a:lnTo>
                    <a:pt x="266834" y="28035"/>
                  </a:lnTo>
                  <a:lnTo>
                    <a:pt x="213307" y="4626"/>
                  </a:lnTo>
                  <a:lnTo>
                    <a:pt x="183434"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1" name="object 41"/>
            <p:cNvSpPr/>
            <p:nvPr/>
          </p:nvSpPr>
          <p:spPr>
            <a:xfrm>
              <a:off x="1952383" y="956184"/>
              <a:ext cx="262255" cy="350520"/>
            </a:xfrm>
            <a:custGeom>
              <a:avLst/>
              <a:gdLst/>
              <a:ahLst/>
              <a:cxnLst/>
              <a:rect l="l" t="t" r="r" b="b"/>
              <a:pathLst>
                <a:path w="262255" h="350519">
                  <a:moveTo>
                    <a:pt x="183756" y="0"/>
                  </a:moveTo>
                  <a:lnTo>
                    <a:pt x="200578" y="38949"/>
                  </a:lnTo>
                  <a:lnTo>
                    <a:pt x="213302" y="130298"/>
                  </a:lnTo>
                  <a:lnTo>
                    <a:pt x="165314" y="235797"/>
                  </a:lnTo>
                  <a:lnTo>
                    <a:pt x="0" y="317195"/>
                  </a:lnTo>
                  <a:lnTo>
                    <a:pt x="2963" y="325361"/>
                  </a:lnTo>
                  <a:lnTo>
                    <a:pt x="5505" y="333671"/>
                  </a:lnTo>
                  <a:lnTo>
                    <a:pt x="7618" y="342075"/>
                  </a:lnTo>
                  <a:lnTo>
                    <a:pt x="9296" y="350519"/>
                  </a:lnTo>
                  <a:lnTo>
                    <a:pt x="168097" y="350519"/>
                  </a:lnTo>
                  <a:lnTo>
                    <a:pt x="173724" y="327817"/>
                  </a:lnTo>
                  <a:lnTo>
                    <a:pt x="182489" y="306009"/>
                  </a:lnTo>
                  <a:lnTo>
                    <a:pt x="194221" y="286083"/>
                  </a:lnTo>
                  <a:lnTo>
                    <a:pt x="230784" y="243183"/>
                  </a:lnTo>
                  <a:lnTo>
                    <a:pt x="247451" y="213325"/>
                  </a:lnTo>
                  <a:lnTo>
                    <a:pt x="258000" y="180195"/>
                  </a:lnTo>
                  <a:lnTo>
                    <a:pt x="261683" y="144538"/>
                  </a:lnTo>
                  <a:lnTo>
                    <a:pt x="256108" y="100812"/>
                  </a:lnTo>
                  <a:lnTo>
                    <a:pt x="240322" y="61210"/>
                  </a:lnTo>
                  <a:lnTo>
                    <a:pt x="215734" y="27138"/>
                  </a:lnTo>
                  <a:lnTo>
                    <a:pt x="183756" y="0"/>
                  </a:lnTo>
                  <a:close/>
                </a:path>
              </a:pathLst>
            </a:custGeom>
            <a:solidFill>
              <a:srgbClr val="4B4F5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2" name="object 42"/>
            <p:cNvPicPr/>
            <p:nvPr/>
          </p:nvPicPr>
          <p:blipFill>
            <a:blip r:embed="rId16" cstate="print"/>
            <a:stretch>
              <a:fillRect/>
            </a:stretch>
          </p:blipFill>
          <p:spPr>
            <a:xfrm>
              <a:off x="1918609" y="1049116"/>
              <a:ext cx="259998" cy="413072"/>
            </a:xfrm>
            <a:prstGeom prst="rect">
              <a:avLst/>
            </a:prstGeom>
          </p:spPr>
        </p:pic>
      </p:grpSp>
      <p:grpSp>
        <p:nvGrpSpPr>
          <p:cNvPr id="43" name="object 43"/>
          <p:cNvGrpSpPr/>
          <p:nvPr/>
        </p:nvGrpSpPr>
        <p:grpSpPr>
          <a:xfrm>
            <a:off x="4111380" y="669963"/>
            <a:ext cx="685240" cy="685240"/>
            <a:chOff x="2779964" y="759291"/>
            <a:chExt cx="776605" cy="776605"/>
          </a:xfrm>
        </p:grpSpPr>
        <p:sp>
          <p:nvSpPr>
            <p:cNvPr id="44" name="object 44"/>
            <p:cNvSpPr/>
            <p:nvPr/>
          </p:nvSpPr>
          <p:spPr>
            <a:xfrm>
              <a:off x="2798621" y="777941"/>
              <a:ext cx="739775" cy="739775"/>
            </a:xfrm>
            <a:custGeom>
              <a:avLst/>
              <a:gdLst/>
              <a:ahLst/>
              <a:cxnLst/>
              <a:rect l="l" t="t" r="r" b="b"/>
              <a:pathLst>
                <a:path w="739775" h="739775">
                  <a:moveTo>
                    <a:pt x="369633" y="0"/>
                  </a:moveTo>
                  <a:lnTo>
                    <a:pt x="323268" y="2880"/>
                  </a:lnTo>
                  <a:lnTo>
                    <a:pt x="278621" y="11289"/>
                  </a:lnTo>
                  <a:lnTo>
                    <a:pt x="236039" y="24880"/>
                  </a:lnTo>
                  <a:lnTo>
                    <a:pt x="195868" y="43308"/>
                  </a:lnTo>
                  <a:lnTo>
                    <a:pt x="158455" y="66226"/>
                  </a:lnTo>
                  <a:lnTo>
                    <a:pt x="124146" y="93288"/>
                  </a:lnTo>
                  <a:lnTo>
                    <a:pt x="93288" y="124146"/>
                  </a:lnTo>
                  <a:lnTo>
                    <a:pt x="66226" y="158455"/>
                  </a:lnTo>
                  <a:lnTo>
                    <a:pt x="43308" y="195868"/>
                  </a:lnTo>
                  <a:lnTo>
                    <a:pt x="24880" y="236039"/>
                  </a:lnTo>
                  <a:lnTo>
                    <a:pt x="11289" y="278621"/>
                  </a:lnTo>
                  <a:lnTo>
                    <a:pt x="2880" y="323268"/>
                  </a:lnTo>
                  <a:lnTo>
                    <a:pt x="0" y="369633"/>
                  </a:lnTo>
                  <a:lnTo>
                    <a:pt x="2880" y="415998"/>
                  </a:lnTo>
                  <a:lnTo>
                    <a:pt x="11289" y="460645"/>
                  </a:lnTo>
                  <a:lnTo>
                    <a:pt x="24880" y="503227"/>
                  </a:lnTo>
                  <a:lnTo>
                    <a:pt x="43308" y="543398"/>
                  </a:lnTo>
                  <a:lnTo>
                    <a:pt x="66226" y="580811"/>
                  </a:lnTo>
                  <a:lnTo>
                    <a:pt x="93288" y="615120"/>
                  </a:lnTo>
                  <a:lnTo>
                    <a:pt x="124146" y="645978"/>
                  </a:lnTo>
                  <a:lnTo>
                    <a:pt x="158455" y="673040"/>
                  </a:lnTo>
                  <a:lnTo>
                    <a:pt x="195868" y="695958"/>
                  </a:lnTo>
                  <a:lnTo>
                    <a:pt x="236039" y="714386"/>
                  </a:lnTo>
                  <a:lnTo>
                    <a:pt x="278621" y="727977"/>
                  </a:lnTo>
                  <a:lnTo>
                    <a:pt x="323268" y="736386"/>
                  </a:lnTo>
                  <a:lnTo>
                    <a:pt x="369633" y="739267"/>
                  </a:lnTo>
                  <a:lnTo>
                    <a:pt x="415998" y="736386"/>
                  </a:lnTo>
                  <a:lnTo>
                    <a:pt x="460645" y="727977"/>
                  </a:lnTo>
                  <a:lnTo>
                    <a:pt x="503227" y="714386"/>
                  </a:lnTo>
                  <a:lnTo>
                    <a:pt x="543398" y="695958"/>
                  </a:lnTo>
                  <a:lnTo>
                    <a:pt x="580811" y="673040"/>
                  </a:lnTo>
                  <a:lnTo>
                    <a:pt x="615120" y="645978"/>
                  </a:lnTo>
                  <a:lnTo>
                    <a:pt x="645978" y="615120"/>
                  </a:lnTo>
                  <a:lnTo>
                    <a:pt x="673040" y="580811"/>
                  </a:lnTo>
                  <a:lnTo>
                    <a:pt x="695958" y="543398"/>
                  </a:lnTo>
                  <a:lnTo>
                    <a:pt x="714386" y="503227"/>
                  </a:lnTo>
                  <a:lnTo>
                    <a:pt x="727977" y="460645"/>
                  </a:lnTo>
                  <a:lnTo>
                    <a:pt x="736386" y="415998"/>
                  </a:lnTo>
                  <a:lnTo>
                    <a:pt x="739267" y="369633"/>
                  </a:lnTo>
                  <a:lnTo>
                    <a:pt x="736386" y="323268"/>
                  </a:lnTo>
                  <a:lnTo>
                    <a:pt x="727977" y="278621"/>
                  </a:lnTo>
                  <a:lnTo>
                    <a:pt x="714386" y="236039"/>
                  </a:lnTo>
                  <a:lnTo>
                    <a:pt x="695958" y="195868"/>
                  </a:lnTo>
                  <a:lnTo>
                    <a:pt x="673040" y="158455"/>
                  </a:lnTo>
                  <a:lnTo>
                    <a:pt x="645978" y="124146"/>
                  </a:lnTo>
                  <a:lnTo>
                    <a:pt x="615120" y="93288"/>
                  </a:lnTo>
                  <a:lnTo>
                    <a:pt x="580811" y="66226"/>
                  </a:lnTo>
                  <a:lnTo>
                    <a:pt x="543398" y="43308"/>
                  </a:lnTo>
                  <a:lnTo>
                    <a:pt x="503227" y="24880"/>
                  </a:lnTo>
                  <a:lnTo>
                    <a:pt x="460645" y="11289"/>
                  </a:lnTo>
                  <a:lnTo>
                    <a:pt x="415998" y="2880"/>
                  </a:lnTo>
                  <a:lnTo>
                    <a:pt x="369633" y="0"/>
                  </a:lnTo>
                  <a:close/>
                </a:path>
              </a:pathLst>
            </a:custGeom>
            <a:solidFill>
              <a:srgbClr val="F0EBE5"/>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5" name="object 45"/>
            <p:cNvSpPr/>
            <p:nvPr/>
          </p:nvSpPr>
          <p:spPr>
            <a:xfrm>
              <a:off x="2779964" y="759291"/>
              <a:ext cx="776605" cy="776605"/>
            </a:xfrm>
            <a:custGeom>
              <a:avLst/>
              <a:gdLst/>
              <a:ahLst/>
              <a:cxnLst/>
              <a:rect l="l" t="t" r="r" b="b"/>
              <a:pathLst>
                <a:path w="776604" h="776605">
                  <a:moveTo>
                    <a:pt x="388289" y="0"/>
                  </a:moveTo>
                  <a:lnTo>
                    <a:pt x="337030" y="3331"/>
                  </a:lnTo>
                  <a:lnTo>
                    <a:pt x="287307" y="13186"/>
                  </a:lnTo>
                  <a:lnTo>
                    <a:pt x="239617" y="29360"/>
                  </a:lnTo>
                  <a:lnTo>
                    <a:pt x="194458" y="51646"/>
                  </a:lnTo>
                  <a:lnTo>
                    <a:pt x="152329" y="79838"/>
                  </a:lnTo>
                  <a:lnTo>
                    <a:pt x="113728" y="113728"/>
                  </a:lnTo>
                  <a:lnTo>
                    <a:pt x="79842" y="152325"/>
                  </a:lnTo>
                  <a:lnTo>
                    <a:pt x="51652" y="194452"/>
                  </a:lnTo>
                  <a:lnTo>
                    <a:pt x="29365" y="239612"/>
                  </a:lnTo>
                  <a:lnTo>
                    <a:pt x="13189" y="287304"/>
                  </a:lnTo>
                  <a:lnTo>
                    <a:pt x="3331" y="337030"/>
                  </a:lnTo>
                  <a:lnTo>
                    <a:pt x="0" y="388289"/>
                  </a:lnTo>
                  <a:lnTo>
                    <a:pt x="3331" y="439544"/>
                  </a:lnTo>
                  <a:lnTo>
                    <a:pt x="13189" y="489266"/>
                  </a:lnTo>
                  <a:lnTo>
                    <a:pt x="29365" y="536956"/>
                  </a:lnTo>
                  <a:lnTo>
                    <a:pt x="51652" y="582114"/>
                  </a:lnTo>
                  <a:lnTo>
                    <a:pt x="79842" y="624241"/>
                  </a:lnTo>
                  <a:lnTo>
                    <a:pt x="113728" y="662838"/>
                  </a:lnTo>
                  <a:lnTo>
                    <a:pt x="152329" y="696728"/>
                  </a:lnTo>
                  <a:lnTo>
                    <a:pt x="194458" y="724920"/>
                  </a:lnTo>
                  <a:lnTo>
                    <a:pt x="239617" y="747206"/>
                  </a:lnTo>
                  <a:lnTo>
                    <a:pt x="287307" y="763380"/>
                  </a:lnTo>
                  <a:lnTo>
                    <a:pt x="337030" y="773235"/>
                  </a:lnTo>
                  <a:lnTo>
                    <a:pt x="388289" y="776566"/>
                  </a:lnTo>
                  <a:lnTo>
                    <a:pt x="439544" y="773235"/>
                  </a:lnTo>
                  <a:lnTo>
                    <a:pt x="489266" y="763380"/>
                  </a:lnTo>
                  <a:lnTo>
                    <a:pt x="505356" y="757923"/>
                  </a:lnTo>
                  <a:lnTo>
                    <a:pt x="388289" y="757923"/>
                  </a:lnTo>
                  <a:lnTo>
                    <a:pt x="341924" y="755043"/>
                  </a:lnTo>
                  <a:lnTo>
                    <a:pt x="297277" y="746634"/>
                  </a:lnTo>
                  <a:lnTo>
                    <a:pt x="254695" y="733042"/>
                  </a:lnTo>
                  <a:lnTo>
                    <a:pt x="214524" y="714614"/>
                  </a:lnTo>
                  <a:lnTo>
                    <a:pt x="177111" y="691696"/>
                  </a:lnTo>
                  <a:lnTo>
                    <a:pt x="142802" y="664635"/>
                  </a:lnTo>
                  <a:lnTo>
                    <a:pt x="111944" y="633776"/>
                  </a:lnTo>
                  <a:lnTo>
                    <a:pt x="84883" y="599467"/>
                  </a:lnTo>
                  <a:lnTo>
                    <a:pt x="61965" y="562054"/>
                  </a:lnTo>
                  <a:lnTo>
                    <a:pt x="43537" y="521884"/>
                  </a:lnTo>
                  <a:lnTo>
                    <a:pt x="29945" y="479302"/>
                  </a:lnTo>
                  <a:lnTo>
                    <a:pt x="21536" y="434655"/>
                  </a:lnTo>
                  <a:lnTo>
                    <a:pt x="18656" y="388289"/>
                  </a:lnTo>
                  <a:lnTo>
                    <a:pt x="21536" y="341921"/>
                  </a:lnTo>
                  <a:lnTo>
                    <a:pt x="29945" y="297272"/>
                  </a:lnTo>
                  <a:lnTo>
                    <a:pt x="43537" y="254688"/>
                  </a:lnTo>
                  <a:lnTo>
                    <a:pt x="61965" y="214516"/>
                  </a:lnTo>
                  <a:lnTo>
                    <a:pt x="84883" y="177101"/>
                  </a:lnTo>
                  <a:lnTo>
                    <a:pt x="111944" y="142792"/>
                  </a:lnTo>
                  <a:lnTo>
                    <a:pt x="142802" y="111933"/>
                  </a:lnTo>
                  <a:lnTo>
                    <a:pt x="177111" y="84871"/>
                  </a:lnTo>
                  <a:lnTo>
                    <a:pt x="214524" y="61952"/>
                  </a:lnTo>
                  <a:lnTo>
                    <a:pt x="254695" y="43524"/>
                  </a:lnTo>
                  <a:lnTo>
                    <a:pt x="297277" y="29932"/>
                  </a:lnTo>
                  <a:lnTo>
                    <a:pt x="341924" y="21523"/>
                  </a:lnTo>
                  <a:lnTo>
                    <a:pt x="388289" y="18643"/>
                  </a:lnTo>
                  <a:lnTo>
                    <a:pt x="505356" y="18643"/>
                  </a:lnTo>
                  <a:lnTo>
                    <a:pt x="489266" y="13186"/>
                  </a:lnTo>
                  <a:lnTo>
                    <a:pt x="439544" y="3331"/>
                  </a:lnTo>
                  <a:lnTo>
                    <a:pt x="388289" y="0"/>
                  </a:lnTo>
                  <a:close/>
                </a:path>
                <a:path w="776604" h="776605">
                  <a:moveTo>
                    <a:pt x="505356" y="18643"/>
                  </a:moveTo>
                  <a:lnTo>
                    <a:pt x="388289" y="18643"/>
                  </a:lnTo>
                  <a:lnTo>
                    <a:pt x="434655" y="21523"/>
                  </a:lnTo>
                  <a:lnTo>
                    <a:pt x="479302" y="29932"/>
                  </a:lnTo>
                  <a:lnTo>
                    <a:pt x="521884" y="43524"/>
                  </a:lnTo>
                  <a:lnTo>
                    <a:pt x="562054" y="61952"/>
                  </a:lnTo>
                  <a:lnTo>
                    <a:pt x="599467" y="84871"/>
                  </a:lnTo>
                  <a:lnTo>
                    <a:pt x="633776" y="111933"/>
                  </a:lnTo>
                  <a:lnTo>
                    <a:pt x="664635" y="142792"/>
                  </a:lnTo>
                  <a:lnTo>
                    <a:pt x="691696" y="177101"/>
                  </a:lnTo>
                  <a:lnTo>
                    <a:pt x="714614" y="214516"/>
                  </a:lnTo>
                  <a:lnTo>
                    <a:pt x="733042" y="254688"/>
                  </a:lnTo>
                  <a:lnTo>
                    <a:pt x="746634" y="297272"/>
                  </a:lnTo>
                  <a:lnTo>
                    <a:pt x="755043" y="341921"/>
                  </a:lnTo>
                  <a:lnTo>
                    <a:pt x="757923" y="388289"/>
                  </a:lnTo>
                  <a:lnTo>
                    <a:pt x="755043" y="434655"/>
                  </a:lnTo>
                  <a:lnTo>
                    <a:pt x="746634" y="479302"/>
                  </a:lnTo>
                  <a:lnTo>
                    <a:pt x="733042" y="521884"/>
                  </a:lnTo>
                  <a:lnTo>
                    <a:pt x="714614" y="562054"/>
                  </a:lnTo>
                  <a:lnTo>
                    <a:pt x="691696" y="599467"/>
                  </a:lnTo>
                  <a:lnTo>
                    <a:pt x="664635" y="633776"/>
                  </a:lnTo>
                  <a:lnTo>
                    <a:pt x="633776" y="664635"/>
                  </a:lnTo>
                  <a:lnTo>
                    <a:pt x="599467" y="691696"/>
                  </a:lnTo>
                  <a:lnTo>
                    <a:pt x="562054" y="714614"/>
                  </a:lnTo>
                  <a:lnTo>
                    <a:pt x="521884" y="733042"/>
                  </a:lnTo>
                  <a:lnTo>
                    <a:pt x="479302" y="746634"/>
                  </a:lnTo>
                  <a:lnTo>
                    <a:pt x="434655" y="755043"/>
                  </a:lnTo>
                  <a:lnTo>
                    <a:pt x="388289" y="757923"/>
                  </a:lnTo>
                  <a:lnTo>
                    <a:pt x="505356" y="757923"/>
                  </a:lnTo>
                  <a:lnTo>
                    <a:pt x="582118" y="724920"/>
                  </a:lnTo>
                  <a:lnTo>
                    <a:pt x="624249" y="696728"/>
                  </a:lnTo>
                  <a:lnTo>
                    <a:pt x="662851" y="662838"/>
                  </a:lnTo>
                  <a:lnTo>
                    <a:pt x="696737" y="624241"/>
                  </a:lnTo>
                  <a:lnTo>
                    <a:pt x="724927" y="582114"/>
                  </a:lnTo>
                  <a:lnTo>
                    <a:pt x="747214" y="536956"/>
                  </a:lnTo>
                  <a:lnTo>
                    <a:pt x="763389" y="489266"/>
                  </a:lnTo>
                  <a:lnTo>
                    <a:pt x="773247" y="439544"/>
                  </a:lnTo>
                  <a:lnTo>
                    <a:pt x="776579" y="388289"/>
                  </a:lnTo>
                  <a:lnTo>
                    <a:pt x="773247" y="337030"/>
                  </a:lnTo>
                  <a:lnTo>
                    <a:pt x="763389" y="287304"/>
                  </a:lnTo>
                  <a:lnTo>
                    <a:pt x="747214" y="239612"/>
                  </a:lnTo>
                  <a:lnTo>
                    <a:pt x="724927" y="194452"/>
                  </a:lnTo>
                  <a:lnTo>
                    <a:pt x="696737" y="152325"/>
                  </a:lnTo>
                  <a:lnTo>
                    <a:pt x="662851" y="113728"/>
                  </a:lnTo>
                  <a:lnTo>
                    <a:pt x="624249" y="79838"/>
                  </a:lnTo>
                  <a:lnTo>
                    <a:pt x="582118" y="51646"/>
                  </a:lnTo>
                  <a:lnTo>
                    <a:pt x="536957" y="29360"/>
                  </a:lnTo>
                  <a:lnTo>
                    <a:pt x="505356" y="18643"/>
                  </a:lnTo>
                  <a:close/>
                </a:path>
              </a:pathLst>
            </a:custGeom>
            <a:solidFill>
              <a:srgbClr val="D0D1C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6" name="object 46"/>
            <p:cNvPicPr/>
            <p:nvPr/>
          </p:nvPicPr>
          <p:blipFill>
            <a:blip r:embed="rId17" cstate="print"/>
            <a:stretch>
              <a:fillRect/>
            </a:stretch>
          </p:blipFill>
          <p:spPr>
            <a:xfrm>
              <a:off x="3302022" y="1032155"/>
              <a:ext cx="134319" cy="272938"/>
            </a:xfrm>
            <a:prstGeom prst="rect">
              <a:avLst/>
            </a:prstGeom>
          </p:spPr>
        </p:pic>
        <p:sp>
          <p:nvSpPr>
            <p:cNvPr id="47" name="object 47"/>
            <p:cNvSpPr/>
            <p:nvPr/>
          </p:nvSpPr>
          <p:spPr>
            <a:xfrm>
              <a:off x="3002515" y="871458"/>
              <a:ext cx="321310" cy="532765"/>
            </a:xfrm>
            <a:custGeom>
              <a:avLst/>
              <a:gdLst/>
              <a:ahLst/>
              <a:cxnLst/>
              <a:rect l="l" t="t" r="r" b="b"/>
              <a:pathLst>
                <a:path w="321310" h="532765">
                  <a:moveTo>
                    <a:pt x="282625" y="0"/>
                  </a:moveTo>
                  <a:lnTo>
                    <a:pt x="38125" y="0"/>
                  </a:lnTo>
                  <a:lnTo>
                    <a:pt x="23317" y="3008"/>
                  </a:lnTo>
                  <a:lnTo>
                    <a:pt x="11195" y="11198"/>
                  </a:lnTo>
                  <a:lnTo>
                    <a:pt x="3006" y="23317"/>
                  </a:lnTo>
                  <a:lnTo>
                    <a:pt x="0" y="38112"/>
                  </a:lnTo>
                  <a:lnTo>
                    <a:pt x="0" y="471690"/>
                  </a:lnTo>
                  <a:lnTo>
                    <a:pt x="89293" y="532257"/>
                  </a:lnTo>
                  <a:lnTo>
                    <a:pt x="282625" y="532257"/>
                  </a:lnTo>
                  <a:lnTo>
                    <a:pt x="297428" y="529248"/>
                  </a:lnTo>
                  <a:lnTo>
                    <a:pt x="309551" y="521057"/>
                  </a:lnTo>
                  <a:lnTo>
                    <a:pt x="317742" y="508934"/>
                  </a:lnTo>
                  <a:lnTo>
                    <a:pt x="320751" y="494131"/>
                  </a:lnTo>
                  <a:lnTo>
                    <a:pt x="320751" y="38112"/>
                  </a:lnTo>
                  <a:lnTo>
                    <a:pt x="317742" y="23317"/>
                  </a:lnTo>
                  <a:lnTo>
                    <a:pt x="309551" y="11198"/>
                  </a:lnTo>
                  <a:lnTo>
                    <a:pt x="297428" y="3008"/>
                  </a:lnTo>
                  <a:lnTo>
                    <a:pt x="282625"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8" name="object 48"/>
            <p:cNvSpPr/>
            <p:nvPr/>
          </p:nvSpPr>
          <p:spPr>
            <a:xfrm>
              <a:off x="3053067" y="919632"/>
              <a:ext cx="219710" cy="138430"/>
            </a:xfrm>
            <a:custGeom>
              <a:avLst/>
              <a:gdLst/>
              <a:ahLst/>
              <a:cxnLst/>
              <a:rect l="l" t="t" r="r" b="b"/>
              <a:pathLst>
                <a:path w="219710" h="138430">
                  <a:moveTo>
                    <a:pt x="219633" y="0"/>
                  </a:moveTo>
                  <a:lnTo>
                    <a:pt x="0" y="0"/>
                  </a:lnTo>
                  <a:lnTo>
                    <a:pt x="0" y="137833"/>
                  </a:lnTo>
                  <a:lnTo>
                    <a:pt x="219633" y="137833"/>
                  </a:lnTo>
                  <a:lnTo>
                    <a:pt x="219633" y="0"/>
                  </a:lnTo>
                  <a:close/>
                </a:path>
              </a:pathLst>
            </a:custGeom>
            <a:solidFill>
              <a:srgbClr val="F0EBE5"/>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9" name="object 49"/>
            <p:cNvSpPr/>
            <p:nvPr/>
          </p:nvSpPr>
          <p:spPr>
            <a:xfrm>
              <a:off x="3352991" y="1009276"/>
              <a:ext cx="83820" cy="61594"/>
            </a:xfrm>
            <a:custGeom>
              <a:avLst/>
              <a:gdLst/>
              <a:ahLst/>
              <a:cxnLst/>
              <a:rect l="l" t="t" r="r" b="b"/>
              <a:pathLst>
                <a:path w="83820" h="61594">
                  <a:moveTo>
                    <a:pt x="0" y="0"/>
                  </a:moveTo>
                  <a:lnTo>
                    <a:pt x="0" y="20002"/>
                  </a:lnTo>
                  <a:lnTo>
                    <a:pt x="83350" y="61442"/>
                  </a:lnTo>
                  <a:lnTo>
                    <a:pt x="83350" y="41452"/>
                  </a:lnTo>
                  <a:lnTo>
                    <a:pt x="63016" y="26603"/>
                  </a:lnTo>
                  <a:lnTo>
                    <a:pt x="47556" y="17335"/>
                  </a:lnTo>
                  <a:lnTo>
                    <a:pt x="29155" y="9763"/>
                  </a:lnTo>
                  <a:lnTo>
                    <a:pt x="0" y="0"/>
                  </a:lnTo>
                  <a:close/>
                </a:path>
              </a:pathLst>
            </a:custGeom>
            <a:solidFill>
              <a:srgbClr val="B5B1A1"/>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0" name="object 50"/>
            <p:cNvSpPr/>
            <p:nvPr/>
          </p:nvSpPr>
          <p:spPr>
            <a:xfrm>
              <a:off x="2958147" y="1369822"/>
              <a:ext cx="402590" cy="37465"/>
            </a:xfrm>
            <a:custGeom>
              <a:avLst/>
              <a:gdLst/>
              <a:ahLst/>
              <a:cxnLst/>
              <a:rect l="l" t="t" r="r" b="b"/>
              <a:pathLst>
                <a:path w="402589" h="37465">
                  <a:moveTo>
                    <a:pt x="401980" y="0"/>
                  </a:moveTo>
                  <a:lnTo>
                    <a:pt x="0" y="0"/>
                  </a:lnTo>
                  <a:lnTo>
                    <a:pt x="0" y="37160"/>
                  </a:lnTo>
                  <a:lnTo>
                    <a:pt x="401980" y="37160"/>
                  </a:lnTo>
                  <a:lnTo>
                    <a:pt x="401980" y="0"/>
                  </a:lnTo>
                  <a:close/>
                </a:path>
              </a:pathLst>
            </a:custGeom>
            <a:solidFill>
              <a:srgbClr val="4B4F5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1" name="object 51"/>
            <p:cNvPicPr/>
            <p:nvPr/>
          </p:nvPicPr>
          <p:blipFill>
            <a:blip r:embed="rId18" cstate="print"/>
            <a:stretch>
              <a:fillRect/>
            </a:stretch>
          </p:blipFill>
          <p:spPr>
            <a:xfrm>
              <a:off x="2876843" y="1150763"/>
              <a:ext cx="219624" cy="219039"/>
            </a:xfrm>
            <a:prstGeom prst="rect">
              <a:avLst/>
            </a:prstGeom>
          </p:spPr>
        </p:pic>
      </p:grpSp>
      <p:grpSp>
        <p:nvGrpSpPr>
          <p:cNvPr id="52" name="object 52"/>
          <p:cNvGrpSpPr/>
          <p:nvPr/>
        </p:nvGrpSpPr>
        <p:grpSpPr>
          <a:xfrm>
            <a:off x="5112206" y="669963"/>
            <a:ext cx="684119" cy="684119"/>
            <a:chOff x="3914233" y="759291"/>
            <a:chExt cx="775335" cy="775335"/>
          </a:xfrm>
        </p:grpSpPr>
        <p:sp>
          <p:nvSpPr>
            <p:cNvPr id="53" name="object 53"/>
            <p:cNvSpPr/>
            <p:nvPr/>
          </p:nvSpPr>
          <p:spPr>
            <a:xfrm>
              <a:off x="3932838" y="777900"/>
              <a:ext cx="737870" cy="737870"/>
            </a:xfrm>
            <a:custGeom>
              <a:avLst/>
              <a:gdLst/>
              <a:ahLst/>
              <a:cxnLst/>
              <a:rect l="l" t="t" r="r" b="b"/>
              <a:pathLst>
                <a:path w="737870" h="737869">
                  <a:moveTo>
                    <a:pt x="368846" y="0"/>
                  </a:moveTo>
                  <a:lnTo>
                    <a:pt x="322578" y="2873"/>
                  </a:lnTo>
                  <a:lnTo>
                    <a:pt x="278026" y="11264"/>
                  </a:lnTo>
                  <a:lnTo>
                    <a:pt x="235534" y="24827"/>
                  </a:lnTo>
                  <a:lnTo>
                    <a:pt x="195449" y="43216"/>
                  </a:lnTo>
                  <a:lnTo>
                    <a:pt x="158116" y="66084"/>
                  </a:lnTo>
                  <a:lnTo>
                    <a:pt x="123880" y="93088"/>
                  </a:lnTo>
                  <a:lnTo>
                    <a:pt x="93088" y="123880"/>
                  </a:lnTo>
                  <a:lnTo>
                    <a:pt x="66084" y="158116"/>
                  </a:lnTo>
                  <a:lnTo>
                    <a:pt x="43216" y="195449"/>
                  </a:lnTo>
                  <a:lnTo>
                    <a:pt x="24827" y="235534"/>
                  </a:lnTo>
                  <a:lnTo>
                    <a:pt x="11264" y="278026"/>
                  </a:lnTo>
                  <a:lnTo>
                    <a:pt x="2873" y="322578"/>
                  </a:lnTo>
                  <a:lnTo>
                    <a:pt x="0" y="368846"/>
                  </a:lnTo>
                  <a:lnTo>
                    <a:pt x="2873" y="415113"/>
                  </a:lnTo>
                  <a:lnTo>
                    <a:pt x="11264" y="459665"/>
                  </a:lnTo>
                  <a:lnTo>
                    <a:pt x="24827" y="502157"/>
                  </a:lnTo>
                  <a:lnTo>
                    <a:pt x="43216" y="542242"/>
                  </a:lnTo>
                  <a:lnTo>
                    <a:pt x="66084" y="579575"/>
                  </a:lnTo>
                  <a:lnTo>
                    <a:pt x="93088" y="613811"/>
                  </a:lnTo>
                  <a:lnTo>
                    <a:pt x="123880" y="644603"/>
                  </a:lnTo>
                  <a:lnTo>
                    <a:pt x="158116" y="671607"/>
                  </a:lnTo>
                  <a:lnTo>
                    <a:pt x="195449" y="694476"/>
                  </a:lnTo>
                  <a:lnTo>
                    <a:pt x="235534" y="712864"/>
                  </a:lnTo>
                  <a:lnTo>
                    <a:pt x="278026" y="726427"/>
                  </a:lnTo>
                  <a:lnTo>
                    <a:pt x="322578" y="734818"/>
                  </a:lnTo>
                  <a:lnTo>
                    <a:pt x="368846" y="737692"/>
                  </a:lnTo>
                  <a:lnTo>
                    <a:pt x="415113" y="734818"/>
                  </a:lnTo>
                  <a:lnTo>
                    <a:pt x="459665" y="726427"/>
                  </a:lnTo>
                  <a:lnTo>
                    <a:pt x="502157" y="712864"/>
                  </a:lnTo>
                  <a:lnTo>
                    <a:pt x="542242" y="694476"/>
                  </a:lnTo>
                  <a:lnTo>
                    <a:pt x="579575" y="671607"/>
                  </a:lnTo>
                  <a:lnTo>
                    <a:pt x="613811" y="644603"/>
                  </a:lnTo>
                  <a:lnTo>
                    <a:pt x="644603" y="613811"/>
                  </a:lnTo>
                  <a:lnTo>
                    <a:pt x="671607" y="579575"/>
                  </a:lnTo>
                  <a:lnTo>
                    <a:pt x="694476" y="542242"/>
                  </a:lnTo>
                  <a:lnTo>
                    <a:pt x="712864" y="502157"/>
                  </a:lnTo>
                  <a:lnTo>
                    <a:pt x="726427" y="459665"/>
                  </a:lnTo>
                  <a:lnTo>
                    <a:pt x="734818" y="415113"/>
                  </a:lnTo>
                  <a:lnTo>
                    <a:pt x="737692" y="368846"/>
                  </a:lnTo>
                  <a:lnTo>
                    <a:pt x="734818" y="322578"/>
                  </a:lnTo>
                  <a:lnTo>
                    <a:pt x="726427" y="278026"/>
                  </a:lnTo>
                  <a:lnTo>
                    <a:pt x="712864" y="235534"/>
                  </a:lnTo>
                  <a:lnTo>
                    <a:pt x="694476" y="195449"/>
                  </a:lnTo>
                  <a:lnTo>
                    <a:pt x="671607" y="158116"/>
                  </a:lnTo>
                  <a:lnTo>
                    <a:pt x="644603" y="123880"/>
                  </a:lnTo>
                  <a:lnTo>
                    <a:pt x="613811" y="93088"/>
                  </a:lnTo>
                  <a:lnTo>
                    <a:pt x="579575" y="66084"/>
                  </a:lnTo>
                  <a:lnTo>
                    <a:pt x="542242" y="43216"/>
                  </a:lnTo>
                  <a:lnTo>
                    <a:pt x="502157" y="24827"/>
                  </a:lnTo>
                  <a:lnTo>
                    <a:pt x="459665" y="11264"/>
                  </a:lnTo>
                  <a:lnTo>
                    <a:pt x="415113" y="2873"/>
                  </a:lnTo>
                  <a:lnTo>
                    <a:pt x="368846" y="0"/>
                  </a:lnTo>
                  <a:close/>
                </a:path>
              </a:pathLst>
            </a:custGeom>
            <a:solidFill>
              <a:srgbClr val="F0EBE5"/>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4" name="object 54"/>
            <p:cNvSpPr/>
            <p:nvPr/>
          </p:nvSpPr>
          <p:spPr>
            <a:xfrm>
              <a:off x="3914233" y="759291"/>
              <a:ext cx="775335" cy="775335"/>
            </a:xfrm>
            <a:custGeom>
              <a:avLst/>
              <a:gdLst/>
              <a:ahLst/>
              <a:cxnLst/>
              <a:rect l="l" t="t" r="r" b="b"/>
              <a:pathLst>
                <a:path w="775335" h="775335">
                  <a:moveTo>
                    <a:pt x="387451" y="0"/>
                  </a:moveTo>
                  <a:lnTo>
                    <a:pt x="336304" y="3323"/>
                  </a:lnTo>
                  <a:lnTo>
                    <a:pt x="286688" y="13158"/>
                  </a:lnTo>
                  <a:lnTo>
                    <a:pt x="239099" y="29297"/>
                  </a:lnTo>
                  <a:lnTo>
                    <a:pt x="194036" y="51535"/>
                  </a:lnTo>
                  <a:lnTo>
                    <a:pt x="151995" y="79667"/>
                  </a:lnTo>
                  <a:lnTo>
                    <a:pt x="113474" y="113487"/>
                  </a:lnTo>
                  <a:lnTo>
                    <a:pt x="79660" y="152002"/>
                  </a:lnTo>
                  <a:lnTo>
                    <a:pt x="51531" y="194040"/>
                  </a:lnTo>
                  <a:lnTo>
                    <a:pt x="29295" y="239101"/>
                  </a:lnTo>
                  <a:lnTo>
                    <a:pt x="13157" y="286688"/>
                  </a:lnTo>
                  <a:lnTo>
                    <a:pt x="3323" y="336304"/>
                  </a:lnTo>
                  <a:lnTo>
                    <a:pt x="0" y="387451"/>
                  </a:lnTo>
                  <a:lnTo>
                    <a:pt x="3323" y="438599"/>
                  </a:lnTo>
                  <a:lnTo>
                    <a:pt x="13157" y="488217"/>
                  </a:lnTo>
                  <a:lnTo>
                    <a:pt x="29295" y="535808"/>
                  </a:lnTo>
                  <a:lnTo>
                    <a:pt x="51531" y="580872"/>
                  </a:lnTo>
                  <a:lnTo>
                    <a:pt x="79660" y="622912"/>
                  </a:lnTo>
                  <a:lnTo>
                    <a:pt x="113474" y="661428"/>
                  </a:lnTo>
                  <a:lnTo>
                    <a:pt x="151995" y="695243"/>
                  </a:lnTo>
                  <a:lnTo>
                    <a:pt x="194036" y="723374"/>
                  </a:lnTo>
                  <a:lnTo>
                    <a:pt x="239099" y="745613"/>
                  </a:lnTo>
                  <a:lnTo>
                    <a:pt x="286688" y="761754"/>
                  </a:lnTo>
                  <a:lnTo>
                    <a:pt x="336304" y="771591"/>
                  </a:lnTo>
                  <a:lnTo>
                    <a:pt x="387451" y="774915"/>
                  </a:lnTo>
                  <a:lnTo>
                    <a:pt x="438598" y="771591"/>
                  </a:lnTo>
                  <a:lnTo>
                    <a:pt x="488214" y="761754"/>
                  </a:lnTo>
                  <a:lnTo>
                    <a:pt x="504304" y="756297"/>
                  </a:lnTo>
                  <a:lnTo>
                    <a:pt x="387451" y="756297"/>
                  </a:lnTo>
                  <a:lnTo>
                    <a:pt x="341184" y="753423"/>
                  </a:lnTo>
                  <a:lnTo>
                    <a:pt x="296632" y="745032"/>
                  </a:lnTo>
                  <a:lnTo>
                    <a:pt x="254140" y="731470"/>
                  </a:lnTo>
                  <a:lnTo>
                    <a:pt x="214055" y="713081"/>
                  </a:lnTo>
                  <a:lnTo>
                    <a:pt x="176721" y="690212"/>
                  </a:lnTo>
                  <a:lnTo>
                    <a:pt x="142486" y="663209"/>
                  </a:lnTo>
                  <a:lnTo>
                    <a:pt x="111693" y="632416"/>
                  </a:lnTo>
                  <a:lnTo>
                    <a:pt x="84690" y="598181"/>
                  </a:lnTo>
                  <a:lnTo>
                    <a:pt x="61821" y="560847"/>
                  </a:lnTo>
                  <a:lnTo>
                    <a:pt x="43433" y="520762"/>
                  </a:lnTo>
                  <a:lnTo>
                    <a:pt x="29870" y="478271"/>
                  </a:lnTo>
                  <a:lnTo>
                    <a:pt x="21479" y="433718"/>
                  </a:lnTo>
                  <a:lnTo>
                    <a:pt x="18605" y="387451"/>
                  </a:lnTo>
                  <a:lnTo>
                    <a:pt x="21479" y="341184"/>
                  </a:lnTo>
                  <a:lnTo>
                    <a:pt x="29870" y="296632"/>
                  </a:lnTo>
                  <a:lnTo>
                    <a:pt x="43433" y="254140"/>
                  </a:lnTo>
                  <a:lnTo>
                    <a:pt x="61821" y="214055"/>
                  </a:lnTo>
                  <a:lnTo>
                    <a:pt x="84690" y="176721"/>
                  </a:lnTo>
                  <a:lnTo>
                    <a:pt x="111693" y="142486"/>
                  </a:lnTo>
                  <a:lnTo>
                    <a:pt x="142486" y="111693"/>
                  </a:lnTo>
                  <a:lnTo>
                    <a:pt x="176721" y="84690"/>
                  </a:lnTo>
                  <a:lnTo>
                    <a:pt x="214055" y="61821"/>
                  </a:lnTo>
                  <a:lnTo>
                    <a:pt x="254140" y="43433"/>
                  </a:lnTo>
                  <a:lnTo>
                    <a:pt x="296632" y="29870"/>
                  </a:lnTo>
                  <a:lnTo>
                    <a:pt x="341184" y="21479"/>
                  </a:lnTo>
                  <a:lnTo>
                    <a:pt x="387451" y="18605"/>
                  </a:lnTo>
                  <a:lnTo>
                    <a:pt x="504277" y="18605"/>
                  </a:lnTo>
                  <a:lnTo>
                    <a:pt x="488214" y="13158"/>
                  </a:lnTo>
                  <a:lnTo>
                    <a:pt x="438598" y="3323"/>
                  </a:lnTo>
                  <a:lnTo>
                    <a:pt x="387451" y="0"/>
                  </a:lnTo>
                  <a:close/>
                </a:path>
                <a:path w="775335" h="775335">
                  <a:moveTo>
                    <a:pt x="504277" y="18605"/>
                  </a:moveTo>
                  <a:lnTo>
                    <a:pt x="387451" y="18605"/>
                  </a:lnTo>
                  <a:lnTo>
                    <a:pt x="433718" y="21479"/>
                  </a:lnTo>
                  <a:lnTo>
                    <a:pt x="478271" y="29870"/>
                  </a:lnTo>
                  <a:lnTo>
                    <a:pt x="520762" y="43433"/>
                  </a:lnTo>
                  <a:lnTo>
                    <a:pt x="560847" y="61821"/>
                  </a:lnTo>
                  <a:lnTo>
                    <a:pt x="598181" y="84690"/>
                  </a:lnTo>
                  <a:lnTo>
                    <a:pt x="632416" y="111693"/>
                  </a:lnTo>
                  <a:lnTo>
                    <a:pt x="663209" y="142486"/>
                  </a:lnTo>
                  <a:lnTo>
                    <a:pt x="690212" y="176721"/>
                  </a:lnTo>
                  <a:lnTo>
                    <a:pt x="713081" y="214055"/>
                  </a:lnTo>
                  <a:lnTo>
                    <a:pt x="731470" y="254140"/>
                  </a:lnTo>
                  <a:lnTo>
                    <a:pt x="745032" y="296632"/>
                  </a:lnTo>
                  <a:lnTo>
                    <a:pt x="753423" y="341184"/>
                  </a:lnTo>
                  <a:lnTo>
                    <a:pt x="756297" y="387451"/>
                  </a:lnTo>
                  <a:lnTo>
                    <a:pt x="753423" y="433718"/>
                  </a:lnTo>
                  <a:lnTo>
                    <a:pt x="745032" y="478271"/>
                  </a:lnTo>
                  <a:lnTo>
                    <a:pt x="731470" y="520762"/>
                  </a:lnTo>
                  <a:lnTo>
                    <a:pt x="713081" y="560847"/>
                  </a:lnTo>
                  <a:lnTo>
                    <a:pt x="690212" y="598181"/>
                  </a:lnTo>
                  <a:lnTo>
                    <a:pt x="663209" y="632416"/>
                  </a:lnTo>
                  <a:lnTo>
                    <a:pt x="632416" y="663209"/>
                  </a:lnTo>
                  <a:lnTo>
                    <a:pt x="598181" y="690212"/>
                  </a:lnTo>
                  <a:lnTo>
                    <a:pt x="560847" y="713081"/>
                  </a:lnTo>
                  <a:lnTo>
                    <a:pt x="520762" y="731470"/>
                  </a:lnTo>
                  <a:lnTo>
                    <a:pt x="478271" y="745032"/>
                  </a:lnTo>
                  <a:lnTo>
                    <a:pt x="433718" y="753423"/>
                  </a:lnTo>
                  <a:lnTo>
                    <a:pt x="387451" y="756297"/>
                  </a:lnTo>
                  <a:lnTo>
                    <a:pt x="504304" y="756297"/>
                  </a:lnTo>
                  <a:lnTo>
                    <a:pt x="580866" y="723374"/>
                  </a:lnTo>
                  <a:lnTo>
                    <a:pt x="622907" y="695243"/>
                  </a:lnTo>
                  <a:lnTo>
                    <a:pt x="661428" y="661428"/>
                  </a:lnTo>
                  <a:lnTo>
                    <a:pt x="695243" y="622912"/>
                  </a:lnTo>
                  <a:lnTo>
                    <a:pt x="723371" y="580872"/>
                  </a:lnTo>
                  <a:lnTo>
                    <a:pt x="745607" y="535808"/>
                  </a:lnTo>
                  <a:lnTo>
                    <a:pt x="761745" y="488217"/>
                  </a:lnTo>
                  <a:lnTo>
                    <a:pt x="771579" y="438599"/>
                  </a:lnTo>
                  <a:lnTo>
                    <a:pt x="774903" y="387451"/>
                  </a:lnTo>
                  <a:lnTo>
                    <a:pt x="771579" y="336304"/>
                  </a:lnTo>
                  <a:lnTo>
                    <a:pt x="761745" y="286688"/>
                  </a:lnTo>
                  <a:lnTo>
                    <a:pt x="745607" y="239101"/>
                  </a:lnTo>
                  <a:lnTo>
                    <a:pt x="723371" y="194040"/>
                  </a:lnTo>
                  <a:lnTo>
                    <a:pt x="695243" y="152002"/>
                  </a:lnTo>
                  <a:lnTo>
                    <a:pt x="661428" y="113487"/>
                  </a:lnTo>
                  <a:lnTo>
                    <a:pt x="622907" y="79667"/>
                  </a:lnTo>
                  <a:lnTo>
                    <a:pt x="580866" y="51535"/>
                  </a:lnTo>
                  <a:lnTo>
                    <a:pt x="535803" y="29297"/>
                  </a:lnTo>
                  <a:lnTo>
                    <a:pt x="504277" y="18605"/>
                  </a:lnTo>
                  <a:close/>
                </a:path>
              </a:pathLst>
            </a:custGeom>
            <a:solidFill>
              <a:srgbClr val="D0D1C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5" name="object 55"/>
            <p:cNvSpPr/>
            <p:nvPr/>
          </p:nvSpPr>
          <p:spPr>
            <a:xfrm>
              <a:off x="3957605" y="1279880"/>
              <a:ext cx="688340" cy="236220"/>
            </a:xfrm>
            <a:custGeom>
              <a:avLst/>
              <a:gdLst/>
              <a:ahLst/>
              <a:cxnLst/>
              <a:rect l="l" t="t" r="r" b="b"/>
              <a:pathLst>
                <a:path w="688339" h="236219">
                  <a:moveTo>
                    <a:pt x="688151" y="0"/>
                  </a:moveTo>
                  <a:lnTo>
                    <a:pt x="0" y="0"/>
                  </a:lnTo>
                  <a:lnTo>
                    <a:pt x="18445" y="40262"/>
                  </a:lnTo>
                  <a:lnTo>
                    <a:pt x="41313" y="77595"/>
                  </a:lnTo>
                  <a:lnTo>
                    <a:pt x="68317" y="111831"/>
                  </a:lnTo>
                  <a:lnTo>
                    <a:pt x="99109" y="142623"/>
                  </a:lnTo>
                  <a:lnTo>
                    <a:pt x="133345" y="169627"/>
                  </a:lnTo>
                  <a:lnTo>
                    <a:pt x="170678" y="192495"/>
                  </a:lnTo>
                  <a:lnTo>
                    <a:pt x="210763" y="210884"/>
                  </a:lnTo>
                  <a:lnTo>
                    <a:pt x="253255" y="224447"/>
                  </a:lnTo>
                  <a:lnTo>
                    <a:pt x="297807" y="232838"/>
                  </a:lnTo>
                  <a:lnTo>
                    <a:pt x="344075" y="235712"/>
                  </a:lnTo>
                  <a:lnTo>
                    <a:pt x="390344" y="232838"/>
                  </a:lnTo>
                  <a:lnTo>
                    <a:pt x="434898" y="224447"/>
                  </a:lnTo>
                  <a:lnTo>
                    <a:pt x="477391" y="210884"/>
                  </a:lnTo>
                  <a:lnTo>
                    <a:pt x="517477" y="192495"/>
                  </a:lnTo>
                  <a:lnTo>
                    <a:pt x="554810" y="169627"/>
                  </a:lnTo>
                  <a:lnTo>
                    <a:pt x="589045" y="142623"/>
                  </a:lnTo>
                  <a:lnTo>
                    <a:pt x="619837" y="111831"/>
                  </a:lnTo>
                  <a:lnTo>
                    <a:pt x="646839" y="77595"/>
                  </a:lnTo>
                  <a:lnTo>
                    <a:pt x="669707" y="40262"/>
                  </a:lnTo>
                  <a:lnTo>
                    <a:pt x="688151"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6" name="object 56"/>
            <p:cNvPicPr/>
            <p:nvPr/>
          </p:nvPicPr>
          <p:blipFill>
            <a:blip r:embed="rId19" cstate="print"/>
            <a:stretch>
              <a:fillRect/>
            </a:stretch>
          </p:blipFill>
          <p:spPr>
            <a:xfrm>
              <a:off x="3954558" y="882802"/>
              <a:ext cx="596447" cy="533839"/>
            </a:xfrm>
            <a:prstGeom prst="rect">
              <a:avLst/>
            </a:prstGeom>
          </p:spPr>
        </p:pic>
      </p:grpSp>
      <p:pic>
        <p:nvPicPr>
          <p:cNvPr id="57" name="object 57"/>
          <p:cNvPicPr/>
          <p:nvPr/>
        </p:nvPicPr>
        <p:blipFill>
          <a:blip r:embed="rId20" cstate="print"/>
          <a:stretch>
            <a:fillRect/>
          </a:stretch>
        </p:blipFill>
        <p:spPr>
          <a:xfrm>
            <a:off x="2068289" y="157333"/>
            <a:ext cx="127478" cy="125068"/>
          </a:xfrm>
          <a:prstGeom prst="rect">
            <a:avLst/>
          </a:prstGeom>
        </p:spPr>
      </p:pic>
      <p:grpSp>
        <p:nvGrpSpPr>
          <p:cNvPr id="58" name="object 58"/>
          <p:cNvGrpSpPr/>
          <p:nvPr/>
        </p:nvGrpSpPr>
        <p:grpSpPr>
          <a:xfrm>
            <a:off x="2249274" y="185592"/>
            <a:ext cx="210110" cy="64994"/>
            <a:chOff x="669577" y="210337"/>
            <a:chExt cx="238125" cy="73660"/>
          </a:xfrm>
        </p:grpSpPr>
        <p:pic>
          <p:nvPicPr>
            <p:cNvPr id="59" name="object 59"/>
            <p:cNvPicPr/>
            <p:nvPr/>
          </p:nvPicPr>
          <p:blipFill>
            <a:blip r:embed="rId21" cstate="print"/>
            <a:stretch>
              <a:fillRect/>
            </a:stretch>
          </p:blipFill>
          <p:spPr>
            <a:xfrm>
              <a:off x="830875" y="210381"/>
              <a:ext cx="76250" cy="73393"/>
            </a:xfrm>
            <a:prstGeom prst="rect">
              <a:avLst/>
            </a:prstGeom>
          </p:spPr>
        </p:pic>
        <p:pic>
          <p:nvPicPr>
            <p:cNvPr id="60" name="object 60"/>
            <p:cNvPicPr/>
            <p:nvPr/>
          </p:nvPicPr>
          <p:blipFill>
            <a:blip r:embed="rId22" cstate="print"/>
            <a:stretch>
              <a:fillRect/>
            </a:stretch>
          </p:blipFill>
          <p:spPr>
            <a:xfrm>
              <a:off x="669577" y="210375"/>
              <a:ext cx="83515" cy="73444"/>
            </a:xfrm>
            <a:prstGeom prst="rect">
              <a:avLst/>
            </a:prstGeom>
          </p:spPr>
        </p:pic>
        <p:sp>
          <p:nvSpPr>
            <p:cNvPr id="61" name="object 61"/>
            <p:cNvSpPr/>
            <p:nvPr/>
          </p:nvSpPr>
          <p:spPr>
            <a:xfrm>
              <a:off x="775957" y="210337"/>
              <a:ext cx="17780" cy="73660"/>
            </a:xfrm>
            <a:custGeom>
              <a:avLst/>
              <a:gdLst/>
              <a:ahLst/>
              <a:cxnLst/>
              <a:rect l="l" t="t" r="r" b="b"/>
              <a:pathLst>
                <a:path w="17779" h="73660">
                  <a:moveTo>
                    <a:pt x="17233" y="0"/>
                  </a:moveTo>
                  <a:lnTo>
                    <a:pt x="0" y="0"/>
                  </a:lnTo>
                  <a:lnTo>
                    <a:pt x="0" y="73444"/>
                  </a:lnTo>
                  <a:lnTo>
                    <a:pt x="17233" y="73444"/>
                  </a:lnTo>
                  <a:lnTo>
                    <a:pt x="17233"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62" name="object 62"/>
          <p:cNvGrpSpPr/>
          <p:nvPr/>
        </p:nvGrpSpPr>
        <p:grpSpPr>
          <a:xfrm>
            <a:off x="2500109" y="183698"/>
            <a:ext cx="524996" cy="68916"/>
            <a:chOff x="953857" y="208191"/>
            <a:chExt cx="594995" cy="78105"/>
          </a:xfrm>
        </p:grpSpPr>
        <p:pic>
          <p:nvPicPr>
            <p:cNvPr id="63" name="object 63"/>
            <p:cNvPicPr/>
            <p:nvPr/>
          </p:nvPicPr>
          <p:blipFill>
            <a:blip r:embed="rId23" cstate="print"/>
            <a:stretch>
              <a:fillRect/>
            </a:stretch>
          </p:blipFill>
          <p:spPr>
            <a:xfrm>
              <a:off x="953857" y="208191"/>
              <a:ext cx="76517" cy="77927"/>
            </a:xfrm>
            <a:prstGeom prst="rect">
              <a:avLst/>
            </a:prstGeom>
          </p:spPr>
        </p:pic>
        <p:pic>
          <p:nvPicPr>
            <p:cNvPr id="64" name="object 64"/>
            <p:cNvPicPr/>
            <p:nvPr/>
          </p:nvPicPr>
          <p:blipFill>
            <a:blip r:embed="rId24" cstate="print"/>
            <a:stretch>
              <a:fillRect/>
            </a:stretch>
          </p:blipFill>
          <p:spPr>
            <a:xfrm>
              <a:off x="1051401" y="210375"/>
              <a:ext cx="83502" cy="73444"/>
            </a:xfrm>
            <a:prstGeom prst="rect">
              <a:avLst/>
            </a:prstGeom>
          </p:spPr>
        </p:pic>
        <p:pic>
          <p:nvPicPr>
            <p:cNvPr id="65" name="object 65"/>
            <p:cNvPicPr/>
            <p:nvPr/>
          </p:nvPicPr>
          <p:blipFill>
            <a:blip r:embed="rId25" cstate="print"/>
            <a:stretch>
              <a:fillRect/>
            </a:stretch>
          </p:blipFill>
          <p:spPr>
            <a:xfrm>
              <a:off x="1263714" y="210375"/>
              <a:ext cx="83515" cy="73444"/>
            </a:xfrm>
            <a:prstGeom prst="rect">
              <a:avLst/>
            </a:prstGeom>
          </p:spPr>
        </p:pic>
        <p:pic>
          <p:nvPicPr>
            <p:cNvPr id="66" name="object 66"/>
            <p:cNvPicPr/>
            <p:nvPr/>
          </p:nvPicPr>
          <p:blipFill>
            <a:blip r:embed="rId26" cstate="print"/>
            <a:stretch>
              <a:fillRect/>
            </a:stretch>
          </p:blipFill>
          <p:spPr>
            <a:xfrm>
              <a:off x="1159389" y="210385"/>
              <a:ext cx="79794" cy="73431"/>
            </a:xfrm>
            <a:prstGeom prst="rect">
              <a:avLst/>
            </a:prstGeom>
          </p:spPr>
        </p:pic>
        <p:sp>
          <p:nvSpPr>
            <p:cNvPr id="67" name="object 67"/>
            <p:cNvSpPr/>
            <p:nvPr/>
          </p:nvSpPr>
          <p:spPr>
            <a:xfrm>
              <a:off x="1371422" y="210387"/>
              <a:ext cx="177800" cy="73660"/>
            </a:xfrm>
            <a:custGeom>
              <a:avLst/>
              <a:gdLst/>
              <a:ahLst/>
              <a:cxnLst/>
              <a:rect l="l" t="t" r="r" b="b"/>
              <a:pathLst>
                <a:path w="177800" h="73660">
                  <a:moveTo>
                    <a:pt x="74993" y="35293"/>
                  </a:moveTo>
                  <a:lnTo>
                    <a:pt x="74371" y="27292"/>
                  </a:lnTo>
                  <a:lnTo>
                    <a:pt x="72478" y="20256"/>
                  </a:lnTo>
                  <a:lnTo>
                    <a:pt x="69303" y="14224"/>
                  </a:lnTo>
                  <a:lnTo>
                    <a:pt x="65582" y="10007"/>
                  </a:lnTo>
                  <a:lnTo>
                    <a:pt x="64846" y="9169"/>
                  </a:lnTo>
                  <a:lnTo>
                    <a:pt x="59207" y="5194"/>
                  </a:lnTo>
                  <a:lnTo>
                    <a:pt x="56730" y="4152"/>
                  </a:lnTo>
                  <a:lnTo>
                    <a:pt x="56730" y="29095"/>
                  </a:lnTo>
                  <a:lnTo>
                    <a:pt x="56680" y="45161"/>
                  </a:lnTo>
                  <a:lnTo>
                    <a:pt x="54483" y="51904"/>
                  </a:lnTo>
                  <a:lnTo>
                    <a:pt x="49999" y="56349"/>
                  </a:lnTo>
                  <a:lnTo>
                    <a:pt x="45580" y="60782"/>
                  </a:lnTo>
                  <a:lnTo>
                    <a:pt x="38874" y="62979"/>
                  </a:lnTo>
                  <a:lnTo>
                    <a:pt x="17183" y="62941"/>
                  </a:lnTo>
                  <a:lnTo>
                    <a:pt x="17183" y="10007"/>
                  </a:lnTo>
                  <a:lnTo>
                    <a:pt x="54978" y="23241"/>
                  </a:lnTo>
                  <a:lnTo>
                    <a:pt x="56730" y="29095"/>
                  </a:lnTo>
                  <a:lnTo>
                    <a:pt x="56730" y="4152"/>
                  </a:lnTo>
                  <a:lnTo>
                    <a:pt x="52451" y="2324"/>
                  </a:lnTo>
                  <a:lnTo>
                    <a:pt x="44564" y="584"/>
                  </a:lnTo>
                  <a:lnTo>
                    <a:pt x="35547" y="0"/>
                  </a:lnTo>
                  <a:lnTo>
                    <a:pt x="0" y="0"/>
                  </a:lnTo>
                  <a:lnTo>
                    <a:pt x="0" y="73393"/>
                  </a:lnTo>
                  <a:lnTo>
                    <a:pt x="33858" y="73393"/>
                  </a:lnTo>
                  <a:lnTo>
                    <a:pt x="68834" y="57975"/>
                  </a:lnTo>
                  <a:lnTo>
                    <a:pt x="74282" y="43878"/>
                  </a:lnTo>
                  <a:lnTo>
                    <a:pt x="74993" y="35293"/>
                  </a:lnTo>
                  <a:close/>
                </a:path>
                <a:path w="177800" h="73660">
                  <a:moveTo>
                    <a:pt x="177304" y="73444"/>
                  </a:moveTo>
                  <a:lnTo>
                    <a:pt x="168783" y="53746"/>
                  </a:lnTo>
                  <a:lnTo>
                    <a:pt x="164579" y="44043"/>
                  </a:lnTo>
                  <a:lnTo>
                    <a:pt x="151930" y="14820"/>
                  </a:lnTo>
                  <a:lnTo>
                    <a:pt x="145529" y="0"/>
                  </a:lnTo>
                  <a:lnTo>
                    <a:pt x="144614" y="0"/>
                  </a:lnTo>
                  <a:lnTo>
                    <a:pt x="144614" y="44043"/>
                  </a:lnTo>
                  <a:lnTo>
                    <a:pt x="119176" y="44043"/>
                  </a:lnTo>
                  <a:lnTo>
                    <a:pt x="131953" y="14820"/>
                  </a:lnTo>
                  <a:lnTo>
                    <a:pt x="144614" y="44043"/>
                  </a:lnTo>
                  <a:lnTo>
                    <a:pt x="144614" y="0"/>
                  </a:lnTo>
                  <a:lnTo>
                    <a:pt x="125984" y="0"/>
                  </a:lnTo>
                  <a:lnTo>
                    <a:pt x="93789" y="73444"/>
                  </a:lnTo>
                  <a:lnTo>
                    <a:pt x="106273" y="73444"/>
                  </a:lnTo>
                  <a:lnTo>
                    <a:pt x="114935" y="53746"/>
                  </a:lnTo>
                  <a:lnTo>
                    <a:pt x="148831" y="53746"/>
                  </a:lnTo>
                  <a:lnTo>
                    <a:pt x="157353" y="73444"/>
                  </a:lnTo>
                  <a:lnTo>
                    <a:pt x="177304" y="73444"/>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68" name="object 68"/>
          <p:cNvSpPr txBox="1"/>
          <p:nvPr/>
        </p:nvSpPr>
        <p:spPr>
          <a:xfrm>
            <a:off x="8648104" y="153081"/>
            <a:ext cx="1224803" cy="119935"/>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tab pos="1160991" algn="l"/>
              </a:tabLst>
              <a:defRPr/>
            </a:pPr>
            <a:r>
              <a:rPr kumimoji="0" sz="706" b="1" i="0" u="none" strike="noStrike" kern="0" cap="none" spc="0" normalizeH="0" baseline="0" noProof="0">
                <a:ln>
                  <a:noFill/>
                </a:ln>
                <a:solidFill>
                  <a:sysClr val="windowText" lastClr="000000"/>
                </a:solidFill>
                <a:effectLst/>
                <a:uLnTx/>
                <a:uFillTx/>
                <a:latin typeface="Calibri"/>
                <a:ea typeface="+mn-ea"/>
                <a:cs typeface="Calibri"/>
              </a:rPr>
              <a:t>Overview</a:t>
            </a:r>
            <a:r>
              <a:rPr kumimoji="0" sz="706" b="1" i="0" u="none" strike="noStrike" kern="0" cap="none" spc="216" normalizeH="0" baseline="0" noProof="0">
                <a:ln>
                  <a:noFill/>
                </a:ln>
                <a:solidFill>
                  <a:sysClr val="windowText" lastClr="000000"/>
                </a:solidFill>
                <a:effectLst/>
                <a:uLnTx/>
                <a:uFillTx/>
                <a:latin typeface="Calibri"/>
                <a:ea typeface="+mn-ea"/>
                <a:cs typeface="Calibri"/>
              </a:rPr>
              <a:t> </a:t>
            </a:r>
            <a:r>
              <a:rPr kumimoji="0" sz="706" b="0" i="0" u="none" strike="noStrike" kern="0" cap="none" spc="-44" normalizeH="0" baseline="0" noProof="0">
                <a:ln>
                  <a:noFill/>
                </a:ln>
                <a:solidFill>
                  <a:sysClr val="windowText" lastClr="000000"/>
                </a:solidFill>
                <a:effectLst/>
                <a:uLnTx/>
                <a:uFillTx/>
                <a:latin typeface="Calibri"/>
                <a:ea typeface="+mn-ea"/>
                <a:cs typeface="Calibri"/>
              </a:rPr>
              <a:t>|</a:t>
            </a:r>
            <a:r>
              <a:rPr kumimoji="0" sz="706" b="0" i="0" u="none" strike="noStrike" kern="0" cap="none" spc="221" normalizeH="0" baseline="0" noProof="0">
                <a:ln>
                  <a:noFill/>
                </a:ln>
                <a:solidFill>
                  <a:sysClr val="windowText" lastClr="000000"/>
                </a:solidFill>
                <a:effectLst/>
                <a:uLnTx/>
                <a:uFillTx/>
                <a:latin typeface="Calibri"/>
                <a:ea typeface="+mn-ea"/>
                <a:cs typeface="Calibri"/>
              </a:rPr>
              <a:t> </a:t>
            </a:r>
            <a:r>
              <a:rPr kumimoji="0" sz="706" b="0" i="0" u="none" strike="noStrike" kern="0" cap="none" spc="0" normalizeH="0" baseline="0" noProof="0">
                <a:ln>
                  <a:noFill/>
                </a:ln>
                <a:solidFill>
                  <a:sysClr val="windowText" lastClr="000000"/>
                </a:solidFill>
                <a:effectLst/>
                <a:uLnTx/>
                <a:uFillTx/>
                <a:latin typeface="Calibri"/>
                <a:ea typeface="+mn-ea"/>
                <a:cs typeface="Calibri"/>
              </a:rPr>
              <a:t>MARCH</a:t>
            </a:r>
            <a:r>
              <a:rPr kumimoji="0" sz="706" b="0" i="0" u="none" strike="noStrike" kern="0" cap="none" spc="26" normalizeH="0" baseline="0" noProof="0">
                <a:ln>
                  <a:noFill/>
                </a:ln>
                <a:solidFill>
                  <a:sysClr val="windowText" lastClr="000000"/>
                </a:solidFill>
                <a:effectLst/>
                <a:uLnTx/>
                <a:uFillTx/>
                <a:latin typeface="Calibri"/>
                <a:ea typeface="+mn-ea"/>
                <a:cs typeface="Calibri"/>
              </a:rPr>
              <a:t> </a:t>
            </a:r>
            <a:r>
              <a:rPr kumimoji="0" sz="706" b="0" i="0" u="none" strike="noStrike" kern="0" cap="none" spc="-18" normalizeH="0" baseline="0" noProof="0">
                <a:ln>
                  <a:noFill/>
                </a:ln>
                <a:solidFill>
                  <a:sysClr val="windowText" lastClr="000000"/>
                </a:solidFill>
                <a:effectLst/>
                <a:uLnTx/>
                <a:uFillTx/>
                <a:latin typeface="Calibri"/>
                <a:ea typeface="+mn-ea"/>
                <a:cs typeface="Calibri"/>
              </a:rPr>
              <a:t>2022</a:t>
            </a:r>
            <a:r>
              <a:rPr kumimoji="0" sz="706" b="0" i="0" u="none" strike="noStrike" kern="0" cap="none" spc="0" normalizeH="0" baseline="0" noProof="0">
                <a:ln>
                  <a:noFill/>
                </a:ln>
                <a:solidFill>
                  <a:sysClr val="windowText" lastClr="000000"/>
                </a:solidFill>
                <a:effectLst/>
                <a:uLnTx/>
                <a:uFillTx/>
                <a:latin typeface="Calibri"/>
                <a:ea typeface="+mn-ea"/>
                <a:cs typeface="Calibri"/>
              </a:rPr>
              <a:t>	</a:t>
            </a:r>
            <a:r>
              <a:rPr kumimoji="0" sz="706" b="1" i="0" u="none" strike="noStrike" kern="0" cap="none" spc="0" normalizeH="0" baseline="0" noProof="0">
                <a:ln>
                  <a:noFill/>
                </a:ln>
                <a:solidFill>
                  <a:sysClr val="windowText" lastClr="000000"/>
                </a:solidFill>
                <a:effectLst/>
                <a:uLnTx/>
                <a:uFillTx/>
                <a:latin typeface="Calibri"/>
                <a:ea typeface="+mn-ea"/>
                <a:cs typeface="Calibri"/>
              </a:rPr>
              <a:t>3</a:t>
            </a:r>
            <a:endParaRPr kumimoji="0" sz="706"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69" name="Footer Placeholder 68">
            <a:extLst>
              <a:ext uri="{FF2B5EF4-FFF2-40B4-BE49-F238E27FC236}">
                <a16:creationId xmlns:a16="http://schemas.microsoft.com/office/drawing/2014/main" id="{2FF53A6A-8C1D-72A9-797A-25DA30F2B66D}"/>
              </a:ext>
            </a:extLst>
          </p:cNvPr>
          <p:cNvSpPr>
            <a:spLocks noGrp="1"/>
          </p:cNvSpPr>
          <p:nvPr>
            <p:ph type="ftr" sz="quarter" idx="5"/>
          </p:nvPr>
        </p:nvSpPr>
        <p:spPr/>
        <p:txBody>
          <a:bodyPr/>
          <a:lstStyle/>
          <a:p>
            <a:r>
              <a:rPr lang="en-CA"/>
              <a:t>Priveledged and Confidential</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56510" y="11"/>
            <a:ext cx="8877300" cy="6868646"/>
            <a:chOff x="-2222" y="12"/>
            <a:chExt cx="10060940" cy="7784465"/>
          </a:xfrm>
        </p:grpSpPr>
        <p:pic>
          <p:nvPicPr>
            <p:cNvPr id="3" name="object 3"/>
            <p:cNvPicPr/>
            <p:nvPr/>
          </p:nvPicPr>
          <p:blipFill>
            <a:blip r:embed="rId2" cstate="print"/>
            <a:stretch>
              <a:fillRect/>
            </a:stretch>
          </p:blipFill>
          <p:spPr>
            <a:xfrm>
              <a:off x="0" y="12"/>
              <a:ext cx="6771856" cy="7298042"/>
            </a:xfrm>
            <a:prstGeom prst="rect">
              <a:avLst/>
            </a:prstGeom>
          </p:spPr>
        </p:pic>
        <p:sp>
          <p:nvSpPr>
            <p:cNvPr id="4" name="object 4"/>
            <p:cNvSpPr/>
            <p:nvPr/>
          </p:nvSpPr>
          <p:spPr>
            <a:xfrm>
              <a:off x="229800" y="5897795"/>
              <a:ext cx="1942464" cy="721995"/>
            </a:xfrm>
            <a:custGeom>
              <a:avLst/>
              <a:gdLst/>
              <a:ahLst/>
              <a:cxnLst/>
              <a:rect l="l" t="t" r="r" b="b"/>
              <a:pathLst>
                <a:path w="1942464" h="721995">
                  <a:moveTo>
                    <a:pt x="1942452" y="0"/>
                  </a:moveTo>
                  <a:lnTo>
                    <a:pt x="1861209" y="1445"/>
                  </a:lnTo>
                  <a:lnTo>
                    <a:pt x="1642306" y="9632"/>
                  </a:lnTo>
                  <a:lnTo>
                    <a:pt x="1322982" y="30335"/>
                  </a:lnTo>
                  <a:lnTo>
                    <a:pt x="940473" y="69329"/>
                  </a:lnTo>
                  <a:lnTo>
                    <a:pt x="624519" y="109116"/>
                  </a:lnTo>
                  <a:lnTo>
                    <a:pt x="421235" y="137353"/>
                  </a:lnTo>
                  <a:lnTo>
                    <a:pt x="242451" y="167520"/>
                  </a:lnTo>
                  <a:lnTo>
                    <a:pt x="0" y="213093"/>
                  </a:lnTo>
                  <a:lnTo>
                    <a:pt x="0" y="349910"/>
                  </a:lnTo>
                  <a:lnTo>
                    <a:pt x="68033" y="369497"/>
                  </a:lnTo>
                  <a:lnTo>
                    <a:pt x="259795" y="420265"/>
                  </a:lnTo>
                  <a:lnTo>
                    <a:pt x="556778" y="490220"/>
                  </a:lnTo>
                  <a:lnTo>
                    <a:pt x="940473" y="567372"/>
                  </a:lnTo>
                  <a:lnTo>
                    <a:pt x="1254809" y="624243"/>
                  </a:lnTo>
                  <a:lnTo>
                    <a:pt x="1463960" y="659245"/>
                  </a:lnTo>
                  <a:lnTo>
                    <a:pt x="1661863" y="686821"/>
                  </a:lnTo>
                  <a:lnTo>
                    <a:pt x="1942452" y="721410"/>
                  </a:lnTo>
                  <a:lnTo>
                    <a:pt x="1942452" y="0"/>
                  </a:lnTo>
                  <a:close/>
                </a:path>
              </a:pathLst>
            </a:custGeom>
            <a:solidFill>
              <a:srgbClr val="E5E5E5"/>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 name="object 5"/>
            <p:cNvPicPr/>
            <p:nvPr/>
          </p:nvPicPr>
          <p:blipFill>
            <a:blip r:embed="rId3" cstate="print"/>
            <a:stretch>
              <a:fillRect/>
            </a:stretch>
          </p:blipFill>
          <p:spPr>
            <a:xfrm>
              <a:off x="229802" y="6123838"/>
              <a:ext cx="1942443" cy="495363"/>
            </a:xfrm>
            <a:prstGeom prst="rect">
              <a:avLst/>
            </a:prstGeom>
          </p:spPr>
        </p:pic>
        <p:sp>
          <p:nvSpPr>
            <p:cNvPr id="6" name="object 6"/>
            <p:cNvSpPr/>
            <p:nvPr/>
          </p:nvSpPr>
          <p:spPr>
            <a:xfrm>
              <a:off x="118336" y="4906833"/>
              <a:ext cx="2023745" cy="1138555"/>
            </a:xfrm>
            <a:custGeom>
              <a:avLst/>
              <a:gdLst/>
              <a:ahLst/>
              <a:cxnLst/>
              <a:rect l="l" t="t" r="r" b="b"/>
              <a:pathLst>
                <a:path w="2023745" h="1138554">
                  <a:moveTo>
                    <a:pt x="277380" y="0"/>
                  </a:moveTo>
                  <a:lnTo>
                    <a:pt x="0" y="0"/>
                  </a:lnTo>
                  <a:lnTo>
                    <a:pt x="277959" y="631350"/>
                  </a:lnTo>
                  <a:lnTo>
                    <a:pt x="422454" y="960389"/>
                  </a:lnTo>
                  <a:lnTo>
                    <a:pt x="480140" y="1093847"/>
                  </a:lnTo>
                  <a:lnTo>
                    <a:pt x="497674" y="1138453"/>
                  </a:lnTo>
                  <a:lnTo>
                    <a:pt x="631125" y="1118003"/>
                  </a:lnTo>
                  <a:lnTo>
                    <a:pt x="728209" y="1103770"/>
                  </a:lnTo>
                  <a:lnTo>
                    <a:pt x="831098" y="1089279"/>
                  </a:lnTo>
                  <a:lnTo>
                    <a:pt x="939205" y="1074721"/>
                  </a:lnTo>
                  <a:lnTo>
                    <a:pt x="1051941" y="1060284"/>
                  </a:lnTo>
                  <a:lnTo>
                    <a:pt x="1123257" y="1051719"/>
                  </a:lnTo>
                  <a:lnTo>
                    <a:pt x="1193532" y="1043890"/>
                  </a:lnTo>
                  <a:lnTo>
                    <a:pt x="1262552" y="1036762"/>
                  </a:lnTo>
                  <a:lnTo>
                    <a:pt x="1330107" y="1030304"/>
                  </a:lnTo>
                  <a:lnTo>
                    <a:pt x="1395984" y="1024483"/>
                  </a:lnTo>
                  <a:lnTo>
                    <a:pt x="1459970" y="1019264"/>
                  </a:lnTo>
                  <a:lnTo>
                    <a:pt x="1521853" y="1014617"/>
                  </a:lnTo>
                  <a:lnTo>
                    <a:pt x="1581421" y="1010507"/>
                  </a:lnTo>
                  <a:lnTo>
                    <a:pt x="1638462" y="1006901"/>
                  </a:lnTo>
                  <a:lnTo>
                    <a:pt x="1692763" y="1003768"/>
                  </a:lnTo>
                  <a:lnTo>
                    <a:pt x="1792298" y="998784"/>
                  </a:lnTo>
                  <a:lnTo>
                    <a:pt x="1878327" y="995292"/>
                  </a:lnTo>
                  <a:lnTo>
                    <a:pt x="1978335" y="992276"/>
                  </a:lnTo>
                  <a:lnTo>
                    <a:pt x="2023173" y="991362"/>
                  </a:lnTo>
                  <a:lnTo>
                    <a:pt x="2023160" y="990968"/>
                  </a:lnTo>
                  <a:lnTo>
                    <a:pt x="1863022" y="978854"/>
                  </a:lnTo>
                  <a:lnTo>
                    <a:pt x="1760661" y="961445"/>
                  </a:lnTo>
                  <a:lnTo>
                    <a:pt x="1671991" y="926708"/>
                  </a:lnTo>
                  <a:lnTo>
                    <a:pt x="1552930" y="862609"/>
                  </a:lnTo>
                  <a:lnTo>
                    <a:pt x="1503265" y="832054"/>
                  </a:lnTo>
                  <a:lnTo>
                    <a:pt x="1470967" y="810585"/>
                  </a:lnTo>
                  <a:lnTo>
                    <a:pt x="1434309" y="785480"/>
                  </a:lnTo>
                  <a:lnTo>
                    <a:pt x="1393751" y="757109"/>
                  </a:lnTo>
                  <a:lnTo>
                    <a:pt x="1349757" y="725840"/>
                  </a:lnTo>
                  <a:lnTo>
                    <a:pt x="1302787" y="692042"/>
                  </a:lnTo>
                  <a:lnTo>
                    <a:pt x="1201768" y="618336"/>
                  </a:lnTo>
                  <a:lnTo>
                    <a:pt x="1094389" y="538943"/>
                  </a:lnTo>
                  <a:lnTo>
                    <a:pt x="929477" y="415646"/>
                  </a:lnTo>
                  <a:lnTo>
                    <a:pt x="474990" y="71892"/>
                  </a:lnTo>
                  <a:lnTo>
                    <a:pt x="449732" y="53263"/>
                  </a:lnTo>
                  <a:lnTo>
                    <a:pt x="403612" y="26263"/>
                  </a:lnTo>
                  <a:lnTo>
                    <a:pt x="359951" y="10029"/>
                  </a:lnTo>
                  <a:lnTo>
                    <a:pt x="318092" y="2096"/>
                  </a:lnTo>
                  <a:lnTo>
                    <a:pt x="277380"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object 7"/>
            <p:cNvSpPr/>
            <p:nvPr/>
          </p:nvSpPr>
          <p:spPr>
            <a:xfrm>
              <a:off x="83259" y="6005219"/>
              <a:ext cx="1302385" cy="187960"/>
            </a:xfrm>
            <a:custGeom>
              <a:avLst/>
              <a:gdLst/>
              <a:ahLst/>
              <a:cxnLst/>
              <a:rect l="l" t="t" r="r" b="b"/>
              <a:pathLst>
                <a:path w="1302385" h="187960">
                  <a:moveTo>
                    <a:pt x="275349" y="0"/>
                  </a:moveTo>
                  <a:lnTo>
                    <a:pt x="259461" y="181"/>
                  </a:lnTo>
                  <a:lnTo>
                    <a:pt x="198860" y="4742"/>
                  </a:lnTo>
                  <a:lnTo>
                    <a:pt x="111899" y="13527"/>
                  </a:lnTo>
                  <a:lnTo>
                    <a:pt x="0" y="25911"/>
                  </a:lnTo>
                  <a:lnTo>
                    <a:pt x="221986" y="23548"/>
                  </a:lnTo>
                  <a:lnTo>
                    <a:pt x="246011" y="23511"/>
                  </a:lnTo>
                  <a:lnTo>
                    <a:pt x="302320" y="27473"/>
                  </a:lnTo>
                  <a:lnTo>
                    <a:pt x="345465" y="34103"/>
                  </a:lnTo>
                  <a:lnTo>
                    <a:pt x="649268" y="91141"/>
                  </a:lnTo>
                  <a:lnTo>
                    <a:pt x="844944" y="128679"/>
                  </a:lnTo>
                  <a:lnTo>
                    <a:pt x="956669" y="150825"/>
                  </a:lnTo>
                  <a:lnTo>
                    <a:pt x="1000832" y="159948"/>
                  </a:lnTo>
                  <a:lnTo>
                    <a:pt x="1034491" y="167287"/>
                  </a:lnTo>
                  <a:lnTo>
                    <a:pt x="1130922" y="182547"/>
                  </a:lnTo>
                  <a:lnTo>
                    <a:pt x="1216906" y="187341"/>
                  </a:lnTo>
                  <a:lnTo>
                    <a:pt x="1278627" y="186601"/>
                  </a:lnTo>
                  <a:lnTo>
                    <a:pt x="1302270" y="185258"/>
                  </a:lnTo>
                  <a:lnTo>
                    <a:pt x="1239452" y="167138"/>
                  </a:lnTo>
                  <a:lnTo>
                    <a:pt x="1203298" y="157313"/>
                  </a:lnTo>
                  <a:lnTo>
                    <a:pt x="1180114" y="152377"/>
                  </a:lnTo>
                  <a:lnTo>
                    <a:pt x="1143994" y="147008"/>
                  </a:lnTo>
                  <a:lnTo>
                    <a:pt x="368528" y="10290"/>
                  </a:lnTo>
                  <a:lnTo>
                    <a:pt x="328037" y="3971"/>
                  </a:lnTo>
                  <a:lnTo>
                    <a:pt x="297592" y="902"/>
                  </a:lnTo>
                  <a:lnTo>
                    <a:pt x="275349"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 name="object 8"/>
            <p:cNvSpPr/>
            <p:nvPr/>
          </p:nvSpPr>
          <p:spPr>
            <a:xfrm>
              <a:off x="1746218" y="6044135"/>
              <a:ext cx="165735" cy="258445"/>
            </a:xfrm>
            <a:custGeom>
              <a:avLst/>
              <a:gdLst/>
              <a:ahLst/>
              <a:cxnLst/>
              <a:rect l="l" t="t" r="r" b="b"/>
              <a:pathLst>
                <a:path w="165735" h="258445">
                  <a:moveTo>
                    <a:pt x="119011" y="0"/>
                  </a:moveTo>
                  <a:lnTo>
                    <a:pt x="46278" y="0"/>
                  </a:lnTo>
                  <a:lnTo>
                    <a:pt x="28267" y="3637"/>
                  </a:lnTo>
                  <a:lnTo>
                    <a:pt x="13557" y="13557"/>
                  </a:lnTo>
                  <a:lnTo>
                    <a:pt x="3637" y="28267"/>
                  </a:lnTo>
                  <a:lnTo>
                    <a:pt x="0" y="46278"/>
                  </a:lnTo>
                  <a:lnTo>
                    <a:pt x="0" y="211734"/>
                  </a:lnTo>
                  <a:lnTo>
                    <a:pt x="3637" y="229745"/>
                  </a:lnTo>
                  <a:lnTo>
                    <a:pt x="13557" y="244455"/>
                  </a:lnTo>
                  <a:lnTo>
                    <a:pt x="28267" y="254375"/>
                  </a:lnTo>
                  <a:lnTo>
                    <a:pt x="46278" y="258013"/>
                  </a:lnTo>
                  <a:lnTo>
                    <a:pt x="119011" y="258013"/>
                  </a:lnTo>
                  <a:lnTo>
                    <a:pt x="132975" y="255193"/>
                  </a:lnTo>
                  <a:lnTo>
                    <a:pt x="46278" y="255193"/>
                  </a:lnTo>
                  <a:lnTo>
                    <a:pt x="29378" y="251773"/>
                  </a:lnTo>
                  <a:lnTo>
                    <a:pt x="15562" y="242450"/>
                  </a:lnTo>
                  <a:lnTo>
                    <a:pt x="6239" y="228635"/>
                  </a:lnTo>
                  <a:lnTo>
                    <a:pt x="2819" y="211734"/>
                  </a:lnTo>
                  <a:lnTo>
                    <a:pt x="2819" y="46278"/>
                  </a:lnTo>
                  <a:lnTo>
                    <a:pt x="6239" y="29378"/>
                  </a:lnTo>
                  <a:lnTo>
                    <a:pt x="15562" y="15562"/>
                  </a:lnTo>
                  <a:lnTo>
                    <a:pt x="29378" y="6239"/>
                  </a:lnTo>
                  <a:lnTo>
                    <a:pt x="46278" y="2819"/>
                  </a:lnTo>
                  <a:lnTo>
                    <a:pt x="132975" y="2819"/>
                  </a:lnTo>
                  <a:lnTo>
                    <a:pt x="119011" y="0"/>
                  </a:lnTo>
                  <a:close/>
                </a:path>
                <a:path w="165735" h="258445">
                  <a:moveTo>
                    <a:pt x="132975" y="2819"/>
                  </a:moveTo>
                  <a:lnTo>
                    <a:pt x="119011" y="2819"/>
                  </a:lnTo>
                  <a:lnTo>
                    <a:pt x="135912" y="6239"/>
                  </a:lnTo>
                  <a:lnTo>
                    <a:pt x="149728" y="15562"/>
                  </a:lnTo>
                  <a:lnTo>
                    <a:pt x="159050" y="29378"/>
                  </a:lnTo>
                  <a:lnTo>
                    <a:pt x="162471" y="46278"/>
                  </a:lnTo>
                  <a:lnTo>
                    <a:pt x="162471" y="211734"/>
                  </a:lnTo>
                  <a:lnTo>
                    <a:pt x="159050" y="228635"/>
                  </a:lnTo>
                  <a:lnTo>
                    <a:pt x="149728" y="242450"/>
                  </a:lnTo>
                  <a:lnTo>
                    <a:pt x="135912" y="251773"/>
                  </a:lnTo>
                  <a:lnTo>
                    <a:pt x="119011" y="255193"/>
                  </a:lnTo>
                  <a:lnTo>
                    <a:pt x="132975" y="255193"/>
                  </a:lnTo>
                  <a:lnTo>
                    <a:pt x="137028" y="254375"/>
                  </a:lnTo>
                  <a:lnTo>
                    <a:pt x="151738" y="244455"/>
                  </a:lnTo>
                  <a:lnTo>
                    <a:pt x="161654" y="229745"/>
                  </a:lnTo>
                  <a:lnTo>
                    <a:pt x="165290" y="211734"/>
                  </a:lnTo>
                  <a:lnTo>
                    <a:pt x="165290" y="46278"/>
                  </a:lnTo>
                  <a:lnTo>
                    <a:pt x="161654" y="28267"/>
                  </a:lnTo>
                  <a:lnTo>
                    <a:pt x="151738" y="13557"/>
                  </a:lnTo>
                  <a:lnTo>
                    <a:pt x="137028" y="3637"/>
                  </a:lnTo>
                  <a:lnTo>
                    <a:pt x="132975" y="2819"/>
                  </a:lnTo>
                  <a:close/>
                </a:path>
              </a:pathLst>
            </a:custGeom>
            <a:solidFill>
              <a:srgbClr val="E1E1E1"/>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object 9"/>
            <p:cNvSpPr/>
            <p:nvPr/>
          </p:nvSpPr>
          <p:spPr>
            <a:xfrm>
              <a:off x="1980692" y="6134633"/>
              <a:ext cx="125730" cy="62230"/>
            </a:xfrm>
            <a:custGeom>
              <a:avLst/>
              <a:gdLst/>
              <a:ahLst/>
              <a:cxnLst/>
              <a:rect l="l" t="t" r="r" b="b"/>
              <a:pathLst>
                <a:path w="125730" h="62229">
                  <a:moveTo>
                    <a:pt x="41605" y="5181"/>
                  </a:moveTo>
                  <a:lnTo>
                    <a:pt x="36423" y="0"/>
                  </a:lnTo>
                  <a:lnTo>
                    <a:pt x="5181" y="0"/>
                  </a:lnTo>
                  <a:lnTo>
                    <a:pt x="0" y="5181"/>
                  </a:lnTo>
                  <a:lnTo>
                    <a:pt x="0" y="56438"/>
                  </a:lnTo>
                  <a:lnTo>
                    <a:pt x="5181" y="61620"/>
                  </a:lnTo>
                  <a:lnTo>
                    <a:pt x="30035" y="61620"/>
                  </a:lnTo>
                  <a:lnTo>
                    <a:pt x="36423" y="61620"/>
                  </a:lnTo>
                  <a:lnTo>
                    <a:pt x="41605" y="56438"/>
                  </a:lnTo>
                  <a:lnTo>
                    <a:pt x="41605" y="5181"/>
                  </a:lnTo>
                  <a:close/>
                </a:path>
                <a:path w="125730" h="62229">
                  <a:moveTo>
                    <a:pt x="125209" y="5181"/>
                  </a:moveTo>
                  <a:lnTo>
                    <a:pt x="120027" y="0"/>
                  </a:lnTo>
                  <a:lnTo>
                    <a:pt x="88785" y="0"/>
                  </a:lnTo>
                  <a:lnTo>
                    <a:pt x="83604" y="5181"/>
                  </a:lnTo>
                  <a:lnTo>
                    <a:pt x="83604" y="56438"/>
                  </a:lnTo>
                  <a:lnTo>
                    <a:pt x="88785" y="61620"/>
                  </a:lnTo>
                  <a:lnTo>
                    <a:pt x="113639" y="61620"/>
                  </a:lnTo>
                  <a:lnTo>
                    <a:pt x="120027" y="61620"/>
                  </a:lnTo>
                  <a:lnTo>
                    <a:pt x="125209" y="56438"/>
                  </a:lnTo>
                  <a:lnTo>
                    <a:pt x="125209" y="5181"/>
                  </a:lnTo>
                  <a:close/>
                </a:path>
              </a:pathLst>
            </a:custGeom>
            <a:solidFill>
              <a:srgbClr val="8F9AA5"/>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 name="object 10"/>
            <p:cNvSpPr/>
            <p:nvPr/>
          </p:nvSpPr>
          <p:spPr>
            <a:xfrm>
              <a:off x="177634" y="6120193"/>
              <a:ext cx="51435" cy="119380"/>
            </a:xfrm>
            <a:custGeom>
              <a:avLst/>
              <a:gdLst/>
              <a:ahLst/>
              <a:cxnLst/>
              <a:rect l="l" t="t" r="r" b="b"/>
              <a:pathLst>
                <a:path w="51435" h="119379">
                  <a:moveTo>
                    <a:pt x="51193" y="0"/>
                  </a:moveTo>
                  <a:lnTo>
                    <a:pt x="3962" y="0"/>
                  </a:lnTo>
                  <a:lnTo>
                    <a:pt x="3962" y="7620"/>
                  </a:lnTo>
                  <a:lnTo>
                    <a:pt x="0" y="7620"/>
                  </a:lnTo>
                  <a:lnTo>
                    <a:pt x="0" y="111760"/>
                  </a:lnTo>
                  <a:lnTo>
                    <a:pt x="3962" y="111760"/>
                  </a:lnTo>
                  <a:lnTo>
                    <a:pt x="3962" y="119380"/>
                  </a:lnTo>
                  <a:lnTo>
                    <a:pt x="51193" y="119380"/>
                  </a:lnTo>
                  <a:lnTo>
                    <a:pt x="51193" y="111760"/>
                  </a:lnTo>
                  <a:lnTo>
                    <a:pt x="51193" y="7620"/>
                  </a:lnTo>
                  <a:lnTo>
                    <a:pt x="51193" y="0"/>
                  </a:lnTo>
                  <a:close/>
                </a:path>
              </a:pathLst>
            </a:custGeom>
            <a:solidFill>
              <a:srgbClr val="47474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 name="object 11"/>
            <p:cNvSpPr/>
            <p:nvPr/>
          </p:nvSpPr>
          <p:spPr>
            <a:xfrm>
              <a:off x="560525" y="5342341"/>
              <a:ext cx="556260" cy="550545"/>
            </a:xfrm>
            <a:custGeom>
              <a:avLst/>
              <a:gdLst/>
              <a:ahLst/>
              <a:cxnLst/>
              <a:rect l="l" t="t" r="r" b="b"/>
              <a:pathLst>
                <a:path w="556260" h="550545">
                  <a:moveTo>
                    <a:pt x="277964" y="0"/>
                  </a:moveTo>
                  <a:lnTo>
                    <a:pt x="227999" y="4299"/>
                  </a:lnTo>
                  <a:lnTo>
                    <a:pt x="180973" y="16693"/>
                  </a:lnTo>
                  <a:lnTo>
                    <a:pt x="137669" y="36427"/>
                  </a:lnTo>
                  <a:lnTo>
                    <a:pt x="98874" y="62748"/>
                  </a:lnTo>
                  <a:lnTo>
                    <a:pt x="65373" y="94901"/>
                  </a:lnTo>
                  <a:lnTo>
                    <a:pt x="37949" y="132130"/>
                  </a:lnTo>
                  <a:lnTo>
                    <a:pt x="17389" y="173683"/>
                  </a:lnTo>
                  <a:lnTo>
                    <a:pt x="4478" y="218803"/>
                  </a:lnTo>
                  <a:lnTo>
                    <a:pt x="0" y="266738"/>
                  </a:lnTo>
                  <a:lnTo>
                    <a:pt x="4380" y="314307"/>
                  </a:lnTo>
                  <a:lnTo>
                    <a:pt x="17022" y="359050"/>
                  </a:lnTo>
                  <a:lnTo>
                    <a:pt x="37174" y="400255"/>
                  </a:lnTo>
                  <a:lnTo>
                    <a:pt x="64085" y="437207"/>
                  </a:lnTo>
                  <a:lnTo>
                    <a:pt x="97005" y="469192"/>
                  </a:lnTo>
                  <a:lnTo>
                    <a:pt x="135182" y="495498"/>
                  </a:lnTo>
                  <a:lnTo>
                    <a:pt x="177867" y="515411"/>
                  </a:lnTo>
                  <a:lnTo>
                    <a:pt x="224307" y="528218"/>
                  </a:lnTo>
                  <a:lnTo>
                    <a:pt x="239085" y="531516"/>
                  </a:lnTo>
                  <a:lnTo>
                    <a:pt x="251417" y="535446"/>
                  </a:lnTo>
                  <a:lnTo>
                    <a:pt x="261931" y="541207"/>
                  </a:lnTo>
                  <a:lnTo>
                    <a:pt x="271259" y="549998"/>
                  </a:lnTo>
                  <a:lnTo>
                    <a:pt x="279596" y="526427"/>
                  </a:lnTo>
                  <a:lnTo>
                    <a:pt x="284014" y="501916"/>
                  </a:lnTo>
                  <a:lnTo>
                    <a:pt x="256362" y="501916"/>
                  </a:lnTo>
                  <a:lnTo>
                    <a:pt x="212312" y="493105"/>
                  </a:lnTo>
                  <a:lnTo>
                    <a:pt x="171294" y="477214"/>
                  </a:lnTo>
                  <a:lnTo>
                    <a:pt x="134172" y="454842"/>
                  </a:lnTo>
                  <a:lnTo>
                    <a:pt x="101811" y="426589"/>
                  </a:lnTo>
                  <a:lnTo>
                    <a:pt x="75074" y="393053"/>
                  </a:lnTo>
                  <a:lnTo>
                    <a:pt x="54816" y="354797"/>
                  </a:lnTo>
                  <a:lnTo>
                    <a:pt x="41935" y="312529"/>
                  </a:lnTo>
                  <a:lnTo>
                    <a:pt x="37261" y="266738"/>
                  </a:lnTo>
                  <a:lnTo>
                    <a:pt x="42163" y="219313"/>
                  </a:lnTo>
                  <a:lnTo>
                    <a:pt x="56217" y="175154"/>
                  </a:lnTo>
                  <a:lnTo>
                    <a:pt x="78445" y="135204"/>
                  </a:lnTo>
                  <a:lnTo>
                    <a:pt x="107869" y="100404"/>
                  </a:lnTo>
                  <a:lnTo>
                    <a:pt x="143510" y="71698"/>
                  </a:lnTo>
                  <a:lnTo>
                    <a:pt x="184392" y="50027"/>
                  </a:lnTo>
                  <a:lnTo>
                    <a:pt x="229536" y="36333"/>
                  </a:lnTo>
                  <a:lnTo>
                    <a:pt x="277964" y="31559"/>
                  </a:lnTo>
                  <a:lnTo>
                    <a:pt x="407577" y="31559"/>
                  </a:lnTo>
                  <a:lnTo>
                    <a:pt x="374956" y="16693"/>
                  </a:lnTo>
                  <a:lnTo>
                    <a:pt x="327929" y="4299"/>
                  </a:lnTo>
                  <a:lnTo>
                    <a:pt x="277964" y="0"/>
                  </a:lnTo>
                  <a:close/>
                </a:path>
                <a:path w="556260" h="550545">
                  <a:moveTo>
                    <a:pt x="407577" y="31559"/>
                  </a:moveTo>
                  <a:lnTo>
                    <a:pt x="277964" y="31559"/>
                  </a:lnTo>
                  <a:lnTo>
                    <a:pt x="326393" y="36333"/>
                  </a:lnTo>
                  <a:lnTo>
                    <a:pt x="371537" y="50027"/>
                  </a:lnTo>
                  <a:lnTo>
                    <a:pt x="412418" y="71698"/>
                  </a:lnTo>
                  <a:lnTo>
                    <a:pt x="448060" y="100404"/>
                  </a:lnTo>
                  <a:lnTo>
                    <a:pt x="477484" y="135204"/>
                  </a:lnTo>
                  <a:lnTo>
                    <a:pt x="499712" y="175154"/>
                  </a:lnTo>
                  <a:lnTo>
                    <a:pt x="513766" y="219313"/>
                  </a:lnTo>
                  <a:lnTo>
                    <a:pt x="518668" y="266738"/>
                  </a:lnTo>
                  <a:lnTo>
                    <a:pt x="513117" y="317340"/>
                  </a:lnTo>
                  <a:lnTo>
                    <a:pt x="497255" y="364064"/>
                  </a:lnTo>
                  <a:lnTo>
                    <a:pt x="472269" y="405793"/>
                  </a:lnTo>
                  <a:lnTo>
                    <a:pt x="439344" y="441409"/>
                  </a:lnTo>
                  <a:lnTo>
                    <a:pt x="399667" y="469797"/>
                  </a:lnTo>
                  <a:lnTo>
                    <a:pt x="354423" y="489839"/>
                  </a:lnTo>
                  <a:lnTo>
                    <a:pt x="304800" y="500418"/>
                  </a:lnTo>
                  <a:lnTo>
                    <a:pt x="304800" y="531977"/>
                  </a:lnTo>
                  <a:lnTo>
                    <a:pt x="350506" y="524092"/>
                  </a:lnTo>
                  <a:lnTo>
                    <a:pt x="393293" y="509368"/>
                  </a:lnTo>
                  <a:lnTo>
                    <a:pt x="432504" y="488422"/>
                  </a:lnTo>
                  <a:lnTo>
                    <a:pt x="467483" y="461874"/>
                  </a:lnTo>
                  <a:lnTo>
                    <a:pt x="497574" y="430341"/>
                  </a:lnTo>
                  <a:lnTo>
                    <a:pt x="522120" y="394443"/>
                  </a:lnTo>
                  <a:lnTo>
                    <a:pt x="540465" y="354797"/>
                  </a:lnTo>
                  <a:lnTo>
                    <a:pt x="551954" y="312022"/>
                  </a:lnTo>
                  <a:lnTo>
                    <a:pt x="555929" y="266738"/>
                  </a:lnTo>
                  <a:lnTo>
                    <a:pt x="551451" y="218803"/>
                  </a:lnTo>
                  <a:lnTo>
                    <a:pt x="538539" y="173683"/>
                  </a:lnTo>
                  <a:lnTo>
                    <a:pt x="517979" y="132130"/>
                  </a:lnTo>
                  <a:lnTo>
                    <a:pt x="490556" y="94901"/>
                  </a:lnTo>
                  <a:lnTo>
                    <a:pt x="457054" y="62748"/>
                  </a:lnTo>
                  <a:lnTo>
                    <a:pt x="418259" y="36427"/>
                  </a:lnTo>
                  <a:lnTo>
                    <a:pt x="407577" y="31559"/>
                  </a:lnTo>
                  <a:close/>
                </a:path>
                <a:path w="556260" h="550545">
                  <a:moveTo>
                    <a:pt x="302431" y="374659"/>
                  </a:moveTo>
                  <a:lnTo>
                    <a:pt x="255422" y="374659"/>
                  </a:lnTo>
                  <a:lnTo>
                    <a:pt x="263620" y="374942"/>
                  </a:lnTo>
                  <a:lnTo>
                    <a:pt x="268739" y="380289"/>
                  </a:lnTo>
                  <a:lnTo>
                    <a:pt x="270509" y="390715"/>
                  </a:lnTo>
                  <a:lnTo>
                    <a:pt x="270509" y="434289"/>
                  </a:lnTo>
                  <a:lnTo>
                    <a:pt x="269660" y="453523"/>
                  </a:lnTo>
                  <a:lnTo>
                    <a:pt x="267065" y="472051"/>
                  </a:lnTo>
                  <a:lnTo>
                    <a:pt x="262655" y="488604"/>
                  </a:lnTo>
                  <a:lnTo>
                    <a:pt x="256362" y="501916"/>
                  </a:lnTo>
                  <a:lnTo>
                    <a:pt x="284014" y="501916"/>
                  </a:lnTo>
                  <a:lnTo>
                    <a:pt x="284861" y="497219"/>
                  </a:lnTo>
                  <a:lnTo>
                    <a:pt x="287611" y="467165"/>
                  </a:lnTo>
                  <a:lnTo>
                    <a:pt x="288393" y="441409"/>
                  </a:lnTo>
                  <a:lnTo>
                    <a:pt x="288404" y="390715"/>
                  </a:lnTo>
                  <a:lnTo>
                    <a:pt x="287655" y="390715"/>
                  </a:lnTo>
                  <a:lnTo>
                    <a:pt x="289319" y="380289"/>
                  </a:lnTo>
                  <a:lnTo>
                    <a:pt x="294268" y="374938"/>
                  </a:lnTo>
                  <a:lnTo>
                    <a:pt x="302431" y="374659"/>
                  </a:lnTo>
                  <a:close/>
                </a:path>
                <a:path w="556260" h="550545">
                  <a:moveTo>
                    <a:pt x="208361" y="399436"/>
                  </a:moveTo>
                  <a:lnTo>
                    <a:pt x="164842" y="399436"/>
                  </a:lnTo>
                  <a:lnTo>
                    <a:pt x="173353" y="402266"/>
                  </a:lnTo>
                  <a:lnTo>
                    <a:pt x="178651" y="407771"/>
                  </a:lnTo>
                  <a:lnTo>
                    <a:pt x="181089" y="414756"/>
                  </a:lnTo>
                  <a:lnTo>
                    <a:pt x="208361" y="399436"/>
                  </a:lnTo>
                  <a:close/>
                </a:path>
                <a:path w="556260" h="550545">
                  <a:moveTo>
                    <a:pt x="426934" y="374659"/>
                  </a:moveTo>
                  <a:lnTo>
                    <a:pt x="302431" y="374659"/>
                  </a:lnTo>
                  <a:lnTo>
                    <a:pt x="313740" y="379450"/>
                  </a:lnTo>
                  <a:lnTo>
                    <a:pt x="377075" y="414756"/>
                  </a:lnTo>
                  <a:lnTo>
                    <a:pt x="379196" y="407877"/>
                  </a:lnTo>
                  <a:lnTo>
                    <a:pt x="384530" y="402547"/>
                  </a:lnTo>
                  <a:lnTo>
                    <a:pt x="393217" y="399752"/>
                  </a:lnTo>
                  <a:lnTo>
                    <a:pt x="437892" y="399752"/>
                  </a:lnTo>
                  <a:lnTo>
                    <a:pt x="432228" y="387054"/>
                  </a:lnTo>
                  <a:lnTo>
                    <a:pt x="429759" y="381385"/>
                  </a:lnTo>
                  <a:lnTo>
                    <a:pt x="427012" y="374942"/>
                  </a:lnTo>
                  <a:lnTo>
                    <a:pt x="426934" y="374659"/>
                  </a:lnTo>
                  <a:close/>
                </a:path>
                <a:path w="556260" h="550545">
                  <a:moveTo>
                    <a:pt x="141592" y="177330"/>
                  </a:moveTo>
                  <a:lnTo>
                    <a:pt x="140614" y="185651"/>
                  </a:lnTo>
                  <a:lnTo>
                    <a:pt x="137120" y="193762"/>
                  </a:lnTo>
                  <a:lnTo>
                    <a:pt x="130271" y="200041"/>
                  </a:lnTo>
                  <a:lnTo>
                    <a:pt x="119227" y="202869"/>
                  </a:lnTo>
                  <a:lnTo>
                    <a:pt x="69303" y="202869"/>
                  </a:lnTo>
                  <a:lnTo>
                    <a:pt x="80037" y="217505"/>
                  </a:lnTo>
                  <a:lnTo>
                    <a:pt x="85693" y="225326"/>
                  </a:lnTo>
                  <a:lnTo>
                    <a:pt x="90888" y="232780"/>
                  </a:lnTo>
                  <a:lnTo>
                    <a:pt x="97624" y="242697"/>
                  </a:lnTo>
                  <a:lnTo>
                    <a:pt x="102326" y="254674"/>
                  </a:lnTo>
                  <a:lnTo>
                    <a:pt x="101160" y="265241"/>
                  </a:lnTo>
                  <a:lnTo>
                    <a:pt x="96362" y="273552"/>
                  </a:lnTo>
                  <a:lnTo>
                    <a:pt x="90169" y="278765"/>
                  </a:lnTo>
                  <a:lnTo>
                    <a:pt x="116997" y="291060"/>
                  </a:lnTo>
                  <a:lnTo>
                    <a:pt x="126429" y="295133"/>
                  </a:lnTo>
                  <a:lnTo>
                    <a:pt x="139357" y="300545"/>
                  </a:lnTo>
                  <a:lnTo>
                    <a:pt x="149149" y="306406"/>
                  </a:lnTo>
                  <a:lnTo>
                    <a:pt x="153422" y="313604"/>
                  </a:lnTo>
                  <a:lnTo>
                    <a:pt x="151408" y="321787"/>
                  </a:lnTo>
                  <a:lnTo>
                    <a:pt x="142341" y="330606"/>
                  </a:lnTo>
                  <a:lnTo>
                    <a:pt x="134886" y="335864"/>
                  </a:lnTo>
                  <a:lnTo>
                    <a:pt x="122961" y="344131"/>
                  </a:lnTo>
                  <a:lnTo>
                    <a:pt x="128850" y="347574"/>
                  </a:lnTo>
                  <a:lnTo>
                    <a:pt x="133205" y="353621"/>
                  </a:lnTo>
                  <a:lnTo>
                    <a:pt x="134486" y="362627"/>
                  </a:lnTo>
                  <a:lnTo>
                    <a:pt x="131152" y="374942"/>
                  </a:lnTo>
                  <a:lnTo>
                    <a:pt x="126939" y="384660"/>
                  </a:lnTo>
                  <a:lnTo>
                    <a:pt x="116255" y="408749"/>
                  </a:lnTo>
                  <a:lnTo>
                    <a:pt x="152768" y="400481"/>
                  </a:lnTo>
                  <a:lnTo>
                    <a:pt x="164842" y="399436"/>
                  </a:lnTo>
                  <a:lnTo>
                    <a:pt x="208361" y="399436"/>
                  </a:lnTo>
                  <a:lnTo>
                    <a:pt x="244436" y="379450"/>
                  </a:lnTo>
                  <a:lnTo>
                    <a:pt x="255422" y="374659"/>
                  </a:lnTo>
                  <a:lnTo>
                    <a:pt x="426934" y="374659"/>
                  </a:lnTo>
                  <a:lnTo>
                    <a:pt x="423578" y="362521"/>
                  </a:lnTo>
                  <a:lnTo>
                    <a:pt x="424683" y="353340"/>
                  </a:lnTo>
                  <a:lnTo>
                    <a:pt x="428999" y="347258"/>
                  </a:lnTo>
                  <a:lnTo>
                    <a:pt x="435203" y="344131"/>
                  </a:lnTo>
                  <a:lnTo>
                    <a:pt x="423291" y="335864"/>
                  </a:lnTo>
                  <a:lnTo>
                    <a:pt x="415836" y="330606"/>
                  </a:lnTo>
                  <a:lnTo>
                    <a:pt x="407194" y="321787"/>
                  </a:lnTo>
                  <a:lnTo>
                    <a:pt x="405399" y="313604"/>
                  </a:lnTo>
                  <a:lnTo>
                    <a:pt x="409753" y="306406"/>
                  </a:lnTo>
                  <a:lnTo>
                    <a:pt x="419557" y="300545"/>
                  </a:lnTo>
                  <a:lnTo>
                    <a:pt x="469493" y="278765"/>
                  </a:lnTo>
                  <a:lnTo>
                    <a:pt x="462874" y="273236"/>
                  </a:lnTo>
                  <a:lnTo>
                    <a:pt x="457936" y="264960"/>
                  </a:lnTo>
                  <a:lnTo>
                    <a:pt x="456913" y="254569"/>
                  </a:lnTo>
                  <a:lnTo>
                    <a:pt x="462038" y="242697"/>
                  </a:lnTo>
                  <a:lnTo>
                    <a:pt x="471178" y="229503"/>
                  </a:lnTo>
                  <a:lnTo>
                    <a:pt x="479735" y="217505"/>
                  </a:lnTo>
                  <a:lnTo>
                    <a:pt x="205118" y="217505"/>
                  </a:lnTo>
                  <a:lnTo>
                    <a:pt x="192265" y="212648"/>
                  </a:lnTo>
                  <a:lnTo>
                    <a:pt x="159104" y="189636"/>
                  </a:lnTo>
                  <a:lnTo>
                    <a:pt x="141592" y="177330"/>
                  </a:lnTo>
                  <a:close/>
                </a:path>
                <a:path w="556260" h="550545">
                  <a:moveTo>
                    <a:pt x="437892" y="399752"/>
                  </a:moveTo>
                  <a:lnTo>
                    <a:pt x="393217" y="399752"/>
                  </a:lnTo>
                  <a:lnTo>
                    <a:pt x="405396" y="400481"/>
                  </a:lnTo>
                  <a:lnTo>
                    <a:pt x="418336" y="403675"/>
                  </a:lnTo>
                  <a:lnTo>
                    <a:pt x="430088" y="406306"/>
                  </a:lnTo>
                  <a:lnTo>
                    <a:pt x="441921" y="408749"/>
                  </a:lnTo>
                  <a:lnTo>
                    <a:pt x="437892" y="399752"/>
                  </a:lnTo>
                  <a:close/>
                </a:path>
                <a:path w="556260" h="550545">
                  <a:moveTo>
                    <a:pt x="215366" y="123977"/>
                  </a:moveTo>
                  <a:lnTo>
                    <a:pt x="217675" y="146050"/>
                  </a:lnTo>
                  <a:lnTo>
                    <a:pt x="219192" y="159575"/>
                  </a:lnTo>
                  <a:lnTo>
                    <a:pt x="221006" y="173683"/>
                  </a:lnTo>
                  <a:lnTo>
                    <a:pt x="223570" y="192354"/>
                  </a:lnTo>
                  <a:lnTo>
                    <a:pt x="222447" y="206092"/>
                  </a:lnTo>
                  <a:lnTo>
                    <a:pt x="215738" y="214898"/>
                  </a:lnTo>
                  <a:lnTo>
                    <a:pt x="205118" y="217505"/>
                  </a:lnTo>
                  <a:lnTo>
                    <a:pt x="479735" y="217505"/>
                  </a:lnTo>
                  <a:lnTo>
                    <a:pt x="354643" y="217400"/>
                  </a:lnTo>
                  <a:lnTo>
                    <a:pt x="344196" y="214617"/>
                  </a:lnTo>
                  <a:lnTo>
                    <a:pt x="337524" y="205776"/>
                  </a:lnTo>
                  <a:lnTo>
                    <a:pt x="336092" y="192354"/>
                  </a:lnTo>
                  <a:lnTo>
                    <a:pt x="339258" y="168040"/>
                  </a:lnTo>
                  <a:lnTo>
                    <a:pt x="341944" y="145334"/>
                  </a:lnTo>
                  <a:lnTo>
                    <a:pt x="343835" y="128208"/>
                  </a:lnTo>
                  <a:lnTo>
                    <a:pt x="324170" y="128208"/>
                  </a:lnTo>
                  <a:lnTo>
                    <a:pt x="322981" y="127646"/>
                  </a:lnTo>
                  <a:lnTo>
                    <a:pt x="235486" y="127646"/>
                  </a:lnTo>
                  <a:lnTo>
                    <a:pt x="224866" y="127609"/>
                  </a:lnTo>
                  <a:lnTo>
                    <a:pt x="215366" y="123977"/>
                  </a:lnTo>
                  <a:close/>
                </a:path>
                <a:path w="556260" h="550545">
                  <a:moveTo>
                    <a:pt x="418071" y="177330"/>
                  </a:moveTo>
                  <a:lnTo>
                    <a:pt x="400513" y="189719"/>
                  </a:lnTo>
                  <a:lnTo>
                    <a:pt x="389381" y="197527"/>
                  </a:lnTo>
                  <a:lnTo>
                    <a:pt x="367398" y="212648"/>
                  </a:lnTo>
                  <a:lnTo>
                    <a:pt x="354643" y="217400"/>
                  </a:lnTo>
                  <a:lnTo>
                    <a:pt x="479810" y="217400"/>
                  </a:lnTo>
                  <a:lnTo>
                    <a:pt x="487506" y="206769"/>
                  </a:lnTo>
                  <a:lnTo>
                    <a:pt x="490359" y="202869"/>
                  </a:lnTo>
                  <a:lnTo>
                    <a:pt x="440423" y="202869"/>
                  </a:lnTo>
                  <a:lnTo>
                    <a:pt x="429387" y="200357"/>
                  </a:lnTo>
                  <a:lnTo>
                    <a:pt x="422541" y="194043"/>
                  </a:lnTo>
                  <a:lnTo>
                    <a:pt x="419049" y="185756"/>
                  </a:lnTo>
                  <a:lnTo>
                    <a:pt x="418071" y="177330"/>
                  </a:lnTo>
                  <a:close/>
                </a:path>
                <a:path w="556260" h="550545">
                  <a:moveTo>
                    <a:pt x="344284" y="123977"/>
                  </a:moveTo>
                  <a:lnTo>
                    <a:pt x="334785" y="128030"/>
                  </a:lnTo>
                  <a:lnTo>
                    <a:pt x="324170" y="128208"/>
                  </a:lnTo>
                  <a:lnTo>
                    <a:pt x="343835" y="128208"/>
                  </a:lnTo>
                  <a:lnTo>
                    <a:pt x="344284" y="123977"/>
                  </a:lnTo>
                  <a:close/>
                </a:path>
                <a:path w="556260" h="550545">
                  <a:moveTo>
                    <a:pt x="279463" y="54851"/>
                  </a:moveTo>
                  <a:lnTo>
                    <a:pt x="265582" y="85753"/>
                  </a:lnTo>
                  <a:lnTo>
                    <a:pt x="253377" y="112712"/>
                  </a:lnTo>
                  <a:lnTo>
                    <a:pt x="245548" y="123032"/>
                  </a:lnTo>
                  <a:lnTo>
                    <a:pt x="235486" y="127646"/>
                  </a:lnTo>
                  <a:lnTo>
                    <a:pt x="322981" y="127646"/>
                  </a:lnTo>
                  <a:lnTo>
                    <a:pt x="314112" y="123454"/>
                  </a:lnTo>
                  <a:lnTo>
                    <a:pt x="306285" y="112712"/>
                  </a:lnTo>
                  <a:lnTo>
                    <a:pt x="297063" y="92259"/>
                  </a:lnTo>
                  <a:lnTo>
                    <a:pt x="288402" y="73637"/>
                  </a:lnTo>
                  <a:lnTo>
                    <a:pt x="281977" y="60088"/>
                  </a:lnTo>
                  <a:lnTo>
                    <a:pt x="279463" y="54851"/>
                  </a:lnTo>
                  <a:close/>
                </a:path>
              </a:pathLst>
            </a:custGeom>
            <a:solidFill>
              <a:srgbClr val="FF0011"/>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 name="object 12"/>
            <p:cNvSpPr/>
            <p:nvPr/>
          </p:nvSpPr>
          <p:spPr>
            <a:xfrm>
              <a:off x="83252" y="6028735"/>
              <a:ext cx="1302385" cy="212090"/>
            </a:xfrm>
            <a:custGeom>
              <a:avLst/>
              <a:gdLst/>
              <a:ahLst/>
              <a:cxnLst/>
              <a:rect l="l" t="t" r="r" b="b"/>
              <a:pathLst>
                <a:path w="1302385" h="212089">
                  <a:moveTo>
                    <a:pt x="246011" y="0"/>
                  </a:moveTo>
                  <a:lnTo>
                    <a:pt x="0" y="2400"/>
                  </a:lnTo>
                  <a:lnTo>
                    <a:pt x="322461" y="106173"/>
                  </a:lnTo>
                  <a:lnTo>
                    <a:pt x="406653" y="133489"/>
                  </a:lnTo>
                  <a:lnTo>
                    <a:pt x="483950" y="158246"/>
                  </a:lnTo>
                  <a:lnTo>
                    <a:pt x="654532" y="211797"/>
                  </a:lnTo>
                  <a:lnTo>
                    <a:pt x="1125461" y="211797"/>
                  </a:lnTo>
                  <a:lnTo>
                    <a:pt x="1200656" y="203975"/>
                  </a:lnTo>
                  <a:lnTo>
                    <a:pt x="1256153" y="186766"/>
                  </a:lnTo>
                  <a:lnTo>
                    <a:pt x="1290510" y="169556"/>
                  </a:lnTo>
                  <a:lnTo>
                    <a:pt x="1302283" y="161734"/>
                  </a:lnTo>
                  <a:lnTo>
                    <a:pt x="1220260" y="167954"/>
                  </a:lnTo>
                  <a:lnTo>
                    <a:pt x="1165024" y="168155"/>
                  </a:lnTo>
                  <a:lnTo>
                    <a:pt x="1111470" y="160654"/>
                  </a:lnTo>
                  <a:lnTo>
                    <a:pt x="1000832" y="136424"/>
                  </a:lnTo>
                  <a:lnTo>
                    <a:pt x="956670" y="127302"/>
                  </a:lnTo>
                  <a:lnTo>
                    <a:pt x="844947" y="105157"/>
                  </a:lnTo>
                  <a:lnTo>
                    <a:pt x="649274" y="67622"/>
                  </a:lnTo>
                  <a:lnTo>
                    <a:pt x="345478" y="10579"/>
                  </a:lnTo>
                  <a:lnTo>
                    <a:pt x="302326" y="3956"/>
                  </a:lnTo>
                  <a:lnTo>
                    <a:pt x="274112" y="1152"/>
                  </a:lnTo>
                  <a:lnTo>
                    <a:pt x="246011" y="0"/>
                  </a:lnTo>
                  <a:close/>
                </a:path>
              </a:pathLst>
            </a:custGeom>
            <a:solidFill>
              <a:srgbClr val="8F9AA5"/>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 name="object 13"/>
            <p:cNvSpPr/>
            <p:nvPr/>
          </p:nvSpPr>
          <p:spPr>
            <a:xfrm>
              <a:off x="0" y="12"/>
              <a:ext cx="6772275" cy="7288530"/>
            </a:xfrm>
            <a:custGeom>
              <a:avLst/>
              <a:gdLst/>
              <a:ahLst/>
              <a:cxnLst/>
              <a:rect l="l" t="t" r="r" b="b"/>
              <a:pathLst>
                <a:path w="6772275" h="7288530">
                  <a:moveTo>
                    <a:pt x="6771893" y="7287933"/>
                  </a:moveTo>
                  <a:lnTo>
                    <a:pt x="6771893" y="0"/>
                  </a:lnTo>
                  <a:lnTo>
                    <a:pt x="0" y="0"/>
                  </a:lnTo>
                  <a:lnTo>
                    <a:pt x="0" y="7287933"/>
                  </a:lnTo>
                  <a:lnTo>
                    <a:pt x="6771893" y="7287933"/>
                  </a:lnTo>
                  <a:close/>
                </a:path>
              </a:pathLst>
            </a:custGeom>
            <a:solidFill>
              <a:srgbClr val="FFFFFF">
                <a:alpha val="34999"/>
              </a:srgbClr>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 name="object 14"/>
            <p:cNvSpPr/>
            <p:nvPr/>
          </p:nvSpPr>
          <p:spPr>
            <a:xfrm>
              <a:off x="1300297" y="5102402"/>
              <a:ext cx="923925" cy="759460"/>
            </a:xfrm>
            <a:custGeom>
              <a:avLst/>
              <a:gdLst/>
              <a:ahLst/>
              <a:cxnLst/>
              <a:rect l="l" t="t" r="r" b="b"/>
              <a:pathLst>
                <a:path w="923925" h="759460">
                  <a:moveTo>
                    <a:pt x="923391" y="0"/>
                  </a:moveTo>
                  <a:lnTo>
                    <a:pt x="0" y="759206"/>
                  </a:lnTo>
                </a:path>
              </a:pathLst>
            </a:custGeom>
            <a:ln w="3886">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 name="object 15"/>
            <p:cNvSpPr/>
            <p:nvPr/>
          </p:nvSpPr>
          <p:spPr>
            <a:xfrm>
              <a:off x="1373760" y="5113070"/>
              <a:ext cx="923925" cy="759460"/>
            </a:xfrm>
            <a:custGeom>
              <a:avLst/>
              <a:gdLst/>
              <a:ahLst/>
              <a:cxnLst/>
              <a:rect l="l" t="t" r="r" b="b"/>
              <a:pathLst>
                <a:path w="923925" h="759460">
                  <a:moveTo>
                    <a:pt x="923391" y="0"/>
                  </a:moveTo>
                  <a:lnTo>
                    <a:pt x="0" y="759205"/>
                  </a:lnTo>
                </a:path>
              </a:pathLst>
            </a:custGeom>
            <a:ln w="3886">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 name="object 16"/>
            <p:cNvSpPr/>
            <p:nvPr/>
          </p:nvSpPr>
          <p:spPr>
            <a:xfrm>
              <a:off x="0" y="5278759"/>
              <a:ext cx="713105" cy="612140"/>
            </a:xfrm>
            <a:custGeom>
              <a:avLst/>
              <a:gdLst/>
              <a:ahLst/>
              <a:cxnLst/>
              <a:rect l="l" t="t" r="r" b="b"/>
              <a:pathLst>
                <a:path w="713105" h="612139">
                  <a:moveTo>
                    <a:pt x="713089" y="0"/>
                  </a:moveTo>
                  <a:lnTo>
                    <a:pt x="0" y="612126"/>
                  </a:lnTo>
                </a:path>
              </a:pathLst>
            </a:custGeom>
            <a:ln w="3886">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 name="object 17"/>
            <p:cNvSpPr/>
            <p:nvPr/>
          </p:nvSpPr>
          <p:spPr>
            <a:xfrm>
              <a:off x="0" y="5289429"/>
              <a:ext cx="786765" cy="675640"/>
            </a:xfrm>
            <a:custGeom>
              <a:avLst/>
              <a:gdLst/>
              <a:ahLst/>
              <a:cxnLst/>
              <a:rect l="l" t="t" r="r" b="b"/>
              <a:pathLst>
                <a:path w="786765" h="675639">
                  <a:moveTo>
                    <a:pt x="786552" y="0"/>
                  </a:moveTo>
                  <a:lnTo>
                    <a:pt x="0" y="675188"/>
                  </a:lnTo>
                </a:path>
              </a:pathLst>
            </a:custGeom>
            <a:ln w="3886">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 name="object 18"/>
            <p:cNvSpPr/>
            <p:nvPr/>
          </p:nvSpPr>
          <p:spPr>
            <a:xfrm>
              <a:off x="2003310" y="4795255"/>
              <a:ext cx="99060" cy="2885440"/>
            </a:xfrm>
            <a:custGeom>
              <a:avLst/>
              <a:gdLst/>
              <a:ahLst/>
              <a:cxnLst/>
              <a:rect l="l" t="t" r="r" b="b"/>
              <a:pathLst>
                <a:path w="99060" h="2885440">
                  <a:moveTo>
                    <a:pt x="98844" y="0"/>
                  </a:moveTo>
                  <a:lnTo>
                    <a:pt x="2882" y="0"/>
                  </a:lnTo>
                  <a:lnTo>
                    <a:pt x="0" y="2885262"/>
                  </a:lnTo>
                  <a:lnTo>
                    <a:pt x="95961" y="2885262"/>
                  </a:lnTo>
                  <a:lnTo>
                    <a:pt x="98844"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 name="object 19"/>
            <p:cNvSpPr/>
            <p:nvPr/>
          </p:nvSpPr>
          <p:spPr>
            <a:xfrm>
              <a:off x="2003317" y="4838621"/>
              <a:ext cx="41275" cy="2842260"/>
            </a:xfrm>
            <a:custGeom>
              <a:avLst/>
              <a:gdLst/>
              <a:ahLst/>
              <a:cxnLst/>
              <a:rect l="l" t="t" r="r" b="b"/>
              <a:pathLst>
                <a:path w="41275" h="2842259">
                  <a:moveTo>
                    <a:pt x="0" y="2841896"/>
                  </a:moveTo>
                  <a:lnTo>
                    <a:pt x="41262" y="2841896"/>
                  </a:lnTo>
                  <a:lnTo>
                    <a:pt x="41262" y="0"/>
                  </a:lnTo>
                  <a:lnTo>
                    <a:pt x="0" y="0"/>
                  </a:lnTo>
                  <a:lnTo>
                    <a:pt x="0" y="2841896"/>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 name="object 20"/>
            <p:cNvSpPr/>
            <p:nvPr/>
          </p:nvSpPr>
          <p:spPr>
            <a:xfrm>
              <a:off x="325291" y="4795255"/>
              <a:ext cx="99060" cy="2885440"/>
            </a:xfrm>
            <a:custGeom>
              <a:avLst/>
              <a:gdLst/>
              <a:ahLst/>
              <a:cxnLst/>
              <a:rect l="l" t="t" r="r" b="b"/>
              <a:pathLst>
                <a:path w="99059" h="2885440">
                  <a:moveTo>
                    <a:pt x="98844" y="0"/>
                  </a:moveTo>
                  <a:lnTo>
                    <a:pt x="2882" y="0"/>
                  </a:lnTo>
                  <a:lnTo>
                    <a:pt x="0" y="2885262"/>
                  </a:lnTo>
                  <a:lnTo>
                    <a:pt x="95961" y="2885262"/>
                  </a:lnTo>
                  <a:lnTo>
                    <a:pt x="98844"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 name="object 21"/>
            <p:cNvSpPr/>
            <p:nvPr/>
          </p:nvSpPr>
          <p:spPr>
            <a:xfrm>
              <a:off x="325297" y="4838621"/>
              <a:ext cx="41275" cy="2842260"/>
            </a:xfrm>
            <a:custGeom>
              <a:avLst/>
              <a:gdLst/>
              <a:ahLst/>
              <a:cxnLst/>
              <a:rect l="l" t="t" r="r" b="b"/>
              <a:pathLst>
                <a:path w="41275" h="2842259">
                  <a:moveTo>
                    <a:pt x="0" y="2841896"/>
                  </a:moveTo>
                  <a:lnTo>
                    <a:pt x="41262" y="2841896"/>
                  </a:lnTo>
                  <a:lnTo>
                    <a:pt x="41262" y="0"/>
                  </a:lnTo>
                  <a:lnTo>
                    <a:pt x="0" y="0"/>
                  </a:lnTo>
                  <a:lnTo>
                    <a:pt x="0" y="2841896"/>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 name="object 22"/>
            <p:cNvSpPr/>
            <p:nvPr/>
          </p:nvSpPr>
          <p:spPr>
            <a:xfrm>
              <a:off x="0" y="5975988"/>
              <a:ext cx="6772275" cy="48260"/>
            </a:xfrm>
            <a:custGeom>
              <a:avLst/>
              <a:gdLst/>
              <a:ahLst/>
              <a:cxnLst/>
              <a:rect l="l" t="t" r="r" b="b"/>
              <a:pathLst>
                <a:path w="6772275" h="48260">
                  <a:moveTo>
                    <a:pt x="0" y="0"/>
                  </a:moveTo>
                  <a:lnTo>
                    <a:pt x="0" y="46482"/>
                  </a:lnTo>
                  <a:lnTo>
                    <a:pt x="6771859" y="47758"/>
                  </a:lnTo>
                  <a:lnTo>
                    <a:pt x="6771859" y="1276"/>
                  </a:lnTo>
                  <a:lnTo>
                    <a:pt x="0"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p:nvPr/>
          </p:nvSpPr>
          <p:spPr>
            <a:xfrm>
              <a:off x="0" y="6003886"/>
              <a:ext cx="6772275" cy="20320"/>
            </a:xfrm>
            <a:custGeom>
              <a:avLst/>
              <a:gdLst/>
              <a:ahLst/>
              <a:cxnLst/>
              <a:rect l="l" t="t" r="r" b="b"/>
              <a:pathLst>
                <a:path w="6772275" h="20320">
                  <a:moveTo>
                    <a:pt x="3681323" y="0"/>
                  </a:moveTo>
                  <a:lnTo>
                    <a:pt x="0" y="0"/>
                  </a:lnTo>
                  <a:lnTo>
                    <a:pt x="0" y="19862"/>
                  </a:lnTo>
                  <a:lnTo>
                    <a:pt x="3681323" y="19862"/>
                  </a:lnTo>
                  <a:lnTo>
                    <a:pt x="3681323" y="0"/>
                  </a:lnTo>
                  <a:close/>
                </a:path>
                <a:path w="6772275" h="20320">
                  <a:moveTo>
                    <a:pt x="5357990" y="0"/>
                  </a:moveTo>
                  <a:lnTo>
                    <a:pt x="3780155" y="0"/>
                  </a:lnTo>
                  <a:lnTo>
                    <a:pt x="3780155" y="19862"/>
                  </a:lnTo>
                  <a:lnTo>
                    <a:pt x="5357990" y="19862"/>
                  </a:lnTo>
                  <a:lnTo>
                    <a:pt x="5357990" y="0"/>
                  </a:lnTo>
                  <a:close/>
                </a:path>
                <a:path w="6772275" h="20320">
                  <a:moveTo>
                    <a:pt x="6771856" y="0"/>
                  </a:moveTo>
                  <a:lnTo>
                    <a:pt x="5456821" y="0"/>
                  </a:lnTo>
                  <a:lnTo>
                    <a:pt x="5456821" y="19862"/>
                  </a:lnTo>
                  <a:lnTo>
                    <a:pt x="6771856" y="19862"/>
                  </a:lnTo>
                  <a:lnTo>
                    <a:pt x="6771856" y="0"/>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p:nvPr/>
          </p:nvSpPr>
          <p:spPr>
            <a:xfrm>
              <a:off x="3681331" y="4795255"/>
              <a:ext cx="99060" cy="2885440"/>
            </a:xfrm>
            <a:custGeom>
              <a:avLst/>
              <a:gdLst/>
              <a:ahLst/>
              <a:cxnLst/>
              <a:rect l="l" t="t" r="r" b="b"/>
              <a:pathLst>
                <a:path w="99060" h="2885440">
                  <a:moveTo>
                    <a:pt x="98831" y="0"/>
                  </a:moveTo>
                  <a:lnTo>
                    <a:pt x="2882" y="0"/>
                  </a:lnTo>
                  <a:lnTo>
                    <a:pt x="0" y="2885262"/>
                  </a:lnTo>
                  <a:lnTo>
                    <a:pt x="95961" y="2885262"/>
                  </a:lnTo>
                  <a:lnTo>
                    <a:pt x="98831"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object 25"/>
            <p:cNvSpPr/>
            <p:nvPr/>
          </p:nvSpPr>
          <p:spPr>
            <a:xfrm>
              <a:off x="3681337" y="4838621"/>
              <a:ext cx="41275" cy="2842260"/>
            </a:xfrm>
            <a:custGeom>
              <a:avLst/>
              <a:gdLst/>
              <a:ahLst/>
              <a:cxnLst/>
              <a:rect l="l" t="t" r="r" b="b"/>
              <a:pathLst>
                <a:path w="41275" h="2842259">
                  <a:moveTo>
                    <a:pt x="0" y="2841896"/>
                  </a:moveTo>
                  <a:lnTo>
                    <a:pt x="41249" y="2841896"/>
                  </a:lnTo>
                  <a:lnTo>
                    <a:pt x="41249" y="0"/>
                  </a:lnTo>
                  <a:lnTo>
                    <a:pt x="0" y="0"/>
                  </a:lnTo>
                  <a:lnTo>
                    <a:pt x="0" y="2841896"/>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6" name="object 26"/>
            <p:cNvSpPr/>
            <p:nvPr/>
          </p:nvSpPr>
          <p:spPr>
            <a:xfrm>
              <a:off x="5357995" y="4795255"/>
              <a:ext cx="99060" cy="2885440"/>
            </a:xfrm>
            <a:custGeom>
              <a:avLst/>
              <a:gdLst/>
              <a:ahLst/>
              <a:cxnLst/>
              <a:rect l="l" t="t" r="r" b="b"/>
              <a:pathLst>
                <a:path w="99060" h="2885440">
                  <a:moveTo>
                    <a:pt x="98831" y="0"/>
                  </a:moveTo>
                  <a:lnTo>
                    <a:pt x="2882" y="0"/>
                  </a:lnTo>
                  <a:lnTo>
                    <a:pt x="0" y="2885262"/>
                  </a:lnTo>
                  <a:lnTo>
                    <a:pt x="95961" y="2885262"/>
                  </a:lnTo>
                  <a:lnTo>
                    <a:pt x="98831"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object 27"/>
            <p:cNvSpPr/>
            <p:nvPr/>
          </p:nvSpPr>
          <p:spPr>
            <a:xfrm>
              <a:off x="5358001" y="4838621"/>
              <a:ext cx="41275" cy="2842260"/>
            </a:xfrm>
            <a:custGeom>
              <a:avLst/>
              <a:gdLst/>
              <a:ahLst/>
              <a:cxnLst/>
              <a:rect l="l" t="t" r="r" b="b"/>
              <a:pathLst>
                <a:path w="41275" h="2842259">
                  <a:moveTo>
                    <a:pt x="0" y="2841896"/>
                  </a:moveTo>
                  <a:lnTo>
                    <a:pt x="41262" y="2841896"/>
                  </a:lnTo>
                  <a:lnTo>
                    <a:pt x="41262" y="0"/>
                  </a:lnTo>
                  <a:lnTo>
                    <a:pt x="0" y="0"/>
                  </a:lnTo>
                  <a:lnTo>
                    <a:pt x="0" y="2841896"/>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8" name="object 28"/>
            <p:cNvSpPr/>
            <p:nvPr/>
          </p:nvSpPr>
          <p:spPr>
            <a:xfrm>
              <a:off x="2003310" y="1953359"/>
              <a:ext cx="99060" cy="2885440"/>
            </a:xfrm>
            <a:custGeom>
              <a:avLst/>
              <a:gdLst/>
              <a:ahLst/>
              <a:cxnLst/>
              <a:rect l="l" t="t" r="r" b="b"/>
              <a:pathLst>
                <a:path w="99060" h="2885440">
                  <a:moveTo>
                    <a:pt x="98844" y="0"/>
                  </a:moveTo>
                  <a:lnTo>
                    <a:pt x="2882" y="0"/>
                  </a:lnTo>
                  <a:lnTo>
                    <a:pt x="0" y="2885262"/>
                  </a:lnTo>
                  <a:lnTo>
                    <a:pt x="95961" y="2885262"/>
                  </a:lnTo>
                  <a:lnTo>
                    <a:pt x="98844"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9" name="object 29"/>
            <p:cNvSpPr/>
            <p:nvPr/>
          </p:nvSpPr>
          <p:spPr>
            <a:xfrm>
              <a:off x="2003317" y="1996724"/>
              <a:ext cx="41275" cy="2842260"/>
            </a:xfrm>
            <a:custGeom>
              <a:avLst/>
              <a:gdLst/>
              <a:ahLst/>
              <a:cxnLst/>
              <a:rect l="l" t="t" r="r" b="b"/>
              <a:pathLst>
                <a:path w="41275" h="2842260">
                  <a:moveTo>
                    <a:pt x="0" y="2841896"/>
                  </a:moveTo>
                  <a:lnTo>
                    <a:pt x="41262" y="2841896"/>
                  </a:lnTo>
                  <a:lnTo>
                    <a:pt x="41262" y="0"/>
                  </a:lnTo>
                  <a:lnTo>
                    <a:pt x="0" y="0"/>
                  </a:lnTo>
                  <a:lnTo>
                    <a:pt x="0" y="2841896"/>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0" name="object 30"/>
            <p:cNvSpPr/>
            <p:nvPr/>
          </p:nvSpPr>
          <p:spPr>
            <a:xfrm>
              <a:off x="325291" y="1953359"/>
              <a:ext cx="99060" cy="2885440"/>
            </a:xfrm>
            <a:custGeom>
              <a:avLst/>
              <a:gdLst/>
              <a:ahLst/>
              <a:cxnLst/>
              <a:rect l="l" t="t" r="r" b="b"/>
              <a:pathLst>
                <a:path w="99059" h="2885440">
                  <a:moveTo>
                    <a:pt x="98844" y="0"/>
                  </a:moveTo>
                  <a:lnTo>
                    <a:pt x="2882" y="0"/>
                  </a:lnTo>
                  <a:lnTo>
                    <a:pt x="0" y="2885262"/>
                  </a:lnTo>
                  <a:lnTo>
                    <a:pt x="95961" y="2885262"/>
                  </a:lnTo>
                  <a:lnTo>
                    <a:pt x="98844"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1" name="object 31"/>
            <p:cNvSpPr/>
            <p:nvPr/>
          </p:nvSpPr>
          <p:spPr>
            <a:xfrm>
              <a:off x="325297" y="1996724"/>
              <a:ext cx="41275" cy="2842260"/>
            </a:xfrm>
            <a:custGeom>
              <a:avLst/>
              <a:gdLst/>
              <a:ahLst/>
              <a:cxnLst/>
              <a:rect l="l" t="t" r="r" b="b"/>
              <a:pathLst>
                <a:path w="41275" h="2842260">
                  <a:moveTo>
                    <a:pt x="0" y="2841896"/>
                  </a:moveTo>
                  <a:lnTo>
                    <a:pt x="41262" y="2841896"/>
                  </a:lnTo>
                  <a:lnTo>
                    <a:pt x="41262" y="0"/>
                  </a:lnTo>
                  <a:lnTo>
                    <a:pt x="0" y="0"/>
                  </a:lnTo>
                  <a:lnTo>
                    <a:pt x="0" y="2841896"/>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2" name="object 32"/>
            <p:cNvSpPr/>
            <p:nvPr/>
          </p:nvSpPr>
          <p:spPr>
            <a:xfrm>
              <a:off x="0" y="3134091"/>
              <a:ext cx="6772275" cy="48260"/>
            </a:xfrm>
            <a:custGeom>
              <a:avLst/>
              <a:gdLst/>
              <a:ahLst/>
              <a:cxnLst/>
              <a:rect l="l" t="t" r="r" b="b"/>
              <a:pathLst>
                <a:path w="6772275" h="48260">
                  <a:moveTo>
                    <a:pt x="0" y="0"/>
                  </a:moveTo>
                  <a:lnTo>
                    <a:pt x="0" y="46481"/>
                  </a:lnTo>
                  <a:lnTo>
                    <a:pt x="6771859" y="47758"/>
                  </a:lnTo>
                  <a:lnTo>
                    <a:pt x="6771859" y="1276"/>
                  </a:lnTo>
                  <a:lnTo>
                    <a:pt x="0"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3" name="object 33"/>
            <p:cNvSpPr/>
            <p:nvPr/>
          </p:nvSpPr>
          <p:spPr>
            <a:xfrm>
              <a:off x="0" y="3161982"/>
              <a:ext cx="6772275" cy="20320"/>
            </a:xfrm>
            <a:custGeom>
              <a:avLst/>
              <a:gdLst/>
              <a:ahLst/>
              <a:cxnLst/>
              <a:rect l="l" t="t" r="r" b="b"/>
              <a:pathLst>
                <a:path w="6772275" h="20319">
                  <a:moveTo>
                    <a:pt x="3681323" y="0"/>
                  </a:moveTo>
                  <a:lnTo>
                    <a:pt x="0" y="0"/>
                  </a:lnTo>
                  <a:lnTo>
                    <a:pt x="0" y="19875"/>
                  </a:lnTo>
                  <a:lnTo>
                    <a:pt x="3681323" y="19875"/>
                  </a:lnTo>
                  <a:lnTo>
                    <a:pt x="3681323" y="0"/>
                  </a:lnTo>
                  <a:close/>
                </a:path>
                <a:path w="6772275" h="20319">
                  <a:moveTo>
                    <a:pt x="5357990" y="0"/>
                  </a:moveTo>
                  <a:lnTo>
                    <a:pt x="3780155" y="0"/>
                  </a:lnTo>
                  <a:lnTo>
                    <a:pt x="3780155" y="19875"/>
                  </a:lnTo>
                  <a:lnTo>
                    <a:pt x="5357990" y="19875"/>
                  </a:lnTo>
                  <a:lnTo>
                    <a:pt x="5357990" y="0"/>
                  </a:lnTo>
                  <a:close/>
                </a:path>
                <a:path w="6772275" h="20319">
                  <a:moveTo>
                    <a:pt x="6771856" y="0"/>
                  </a:moveTo>
                  <a:lnTo>
                    <a:pt x="5456821" y="0"/>
                  </a:lnTo>
                  <a:lnTo>
                    <a:pt x="5456821" y="19875"/>
                  </a:lnTo>
                  <a:lnTo>
                    <a:pt x="6771856" y="19875"/>
                  </a:lnTo>
                  <a:lnTo>
                    <a:pt x="6771856" y="0"/>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4" name="object 34"/>
            <p:cNvSpPr/>
            <p:nvPr/>
          </p:nvSpPr>
          <p:spPr>
            <a:xfrm>
              <a:off x="3681331" y="1953359"/>
              <a:ext cx="99060" cy="2885440"/>
            </a:xfrm>
            <a:custGeom>
              <a:avLst/>
              <a:gdLst/>
              <a:ahLst/>
              <a:cxnLst/>
              <a:rect l="l" t="t" r="r" b="b"/>
              <a:pathLst>
                <a:path w="99060" h="2885440">
                  <a:moveTo>
                    <a:pt x="98831" y="0"/>
                  </a:moveTo>
                  <a:lnTo>
                    <a:pt x="2882" y="0"/>
                  </a:lnTo>
                  <a:lnTo>
                    <a:pt x="0" y="2885262"/>
                  </a:lnTo>
                  <a:lnTo>
                    <a:pt x="95961" y="2885262"/>
                  </a:lnTo>
                  <a:lnTo>
                    <a:pt x="98831"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5" name="object 35"/>
            <p:cNvSpPr/>
            <p:nvPr/>
          </p:nvSpPr>
          <p:spPr>
            <a:xfrm>
              <a:off x="3681337" y="1996724"/>
              <a:ext cx="41275" cy="2842260"/>
            </a:xfrm>
            <a:custGeom>
              <a:avLst/>
              <a:gdLst/>
              <a:ahLst/>
              <a:cxnLst/>
              <a:rect l="l" t="t" r="r" b="b"/>
              <a:pathLst>
                <a:path w="41275" h="2842260">
                  <a:moveTo>
                    <a:pt x="0" y="2841896"/>
                  </a:moveTo>
                  <a:lnTo>
                    <a:pt x="41249" y="2841896"/>
                  </a:lnTo>
                  <a:lnTo>
                    <a:pt x="41249" y="0"/>
                  </a:lnTo>
                  <a:lnTo>
                    <a:pt x="0" y="0"/>
                  </a:lnTo>
                  <a:lnTo>
                    <a:pt x="0" y="2841896"/>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6" name="object 36"/>
            <p:cNvSpPr/>
            <p:nvPr/>
          </p:nvSpPr>
          <p:spPr>
            <a:xfrm>
              <a:off x="5357995" y="1953359"/>
              <a:ext cx="99060" cy="2885440"/>
            </a:xfrm>
            <a:custGeom>
              <a:avLst/>
              <a:gdLst/>
              <a:ahLst/>
              <a:cxnLst/>
              <a:rect l="l" t="t" r="r" b="b"/>
              <a:pathLst>
                <a:path w="99060" h="2885440">
                  <a:moveTo>
                    <a:pt x="98831" y="0"/>
                  </a:moveTo>
                  <a:lnTo>
                    <a:pt x="2882" y="0"/>
                  </a:lnTo>
                  <a:lnTo>
                    <a:pt x="0" y="2885262"/>
                  </a:lnTo>
                  <a:lnTo>
                    <a:pt x="95961" y="2885262"/>
                  </a:lnTo>
                  <a:lnTo>
                    <a:pt x="98831"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object 37"/>
            <p:cNvSpPr/>
            <p:nvPr/>
          </p:nvSpPr>
          <p:spPr>
            <a:xfrm>
              <a:off x="5358001" y="1996724"/>
              <a:ext cx="41275" cy="2842260"/>
            </a:xfrm>
            <a:custGeom>
              <a:avLst/>
              <a:gdLst/>
              <a:ahLst/>
              <a:cxnLst/>
              <a:rect l="l" t="t" r="r" b="b"/>
              <a:pathLst>
                <a:path w="41275" h="2842260">
                  <a:moveTo>
                    <a:pt x="0" y="2841896"/>
                  </a:moveTo>
                  <a:lnTo>
                    <a:pt x="41262" y="2841896"/>
                  </a:lnTo>
                  <a:lnTo>
                    <a:pt x="41262" y="0"/>
                  </a:lnTo>
                  <a:lnTo>
                    <a:pt x="0" y="0"/>
                  </a:lnTo>
                  <a:lnTo>
                    <a:pt x="0" y="2841896"/>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8" name="object 38"/>
            <p:cNvSpPr/>
            <p:nvPr/>
          </p:nvSpPr>
          <p:spPr>
            <a:xfrm>
              <a:off x="2003310" y="12"/>
              <a:ext cx="98425" cy="1997075"/>
            </a:xfrm>
            <a:custGeom>
              <a:avLst/>
              <a:gdLst/>
              <a:ahLst/>
              <a:cxnLst/>
              <a:rect l="l" t="t" r="r" b="b"/>
              <a:pathLst>
                <a:path w="98425" h="1997075">
                  <a:moveTo>
                    <a:pt x="97956" y="0"/>
                  </a:moveTo>
                  <a:lnTo>
                    <a:pt x="1995" y="0"/>
                  </a:lnTo>
                  <a:lnTo>
                    <a:pt x="0" y="1996711"/>
                  </a:lnTo>
                  <a:lnTo>
                    <a:pt x="95961" y="1996711"/>
                  </a:lnTo>
                  <a:lnTo>
                    <a:pt x="97956"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9" name="object 39"/>
            <p:cNvSpPr/>
            <p:nvPr/>
          </p:nvSpPr>
          <p:spPr>
            <a:xfrm>
              <a:off x="2003317" y="12"/>
              <a:ext cx="40640" cy="1997075"/>
            </a:xfrm>
            <a:custGeom>
              <a:avLst/>
              <a:gdLst/>
              <a:ahLst/>
              <a:cxnLst/>
              <a:rect l="l" t="t" r="r" b="b"/>
              <a:pathLst>
                <a:path w="40639" h="1997075">
                  <a:moveTo>
                    <a:pt x="40374" y="0"/>
                  </a:moveTo>
                  <a:lnTo>
                    <a:pt x="1986" y="0"/>
                  </a:lnTo>
                  <a:lnTo>
                    <a:pt x="0" y="1996711"/>
                  </a:lnTo>
                  <a:lnTo>
                    <a:pt x="38379" y="1996711"/>
                  </a:lnTo>
                  <a:lnTo>
                    <a:pt x="40374" y="0"/>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0" name="object 40"/>
            <p:cNvSpPr/>
            <p:nvPr/>
          </p:nvSpPr>
          <p:spPr>
            <a:xfrm>
              <a:off x="325291" y="12"/>
              <a:ext cx="98425" cy="1997075"/>
            </a:xfrm>
            <a:custGeom>
              <a:avLst/>
              <a:gdLst/>
              <a:ahLst/>
              <a:cxnLst/>
              <a:rect l="l" t="t" r="r" b="b"/>
              <a:pathLst>
                <a:path w="98425" h="1997075">
                  <a:moveTo>
                    <a:pt x="97956" y="0"/>
                  </a:moveTo>
                  <a:lnTo>
                    <a:pt x="1995" y="0"/>
                  </a:lnTo>
                  <a:lnTo>
                    <a:pt x="0" y="1996711"/>
                  </a:lnTo>
                  <a:lnTo>
                    <a:pt x="95961" y="1996711"/>
                  </a:lnTo>
                  <a:lnTo>
                    <a:pt x="97956"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1" name="object 41"/>
            <p:cNvSpPr/>
            <p:nvPr/>
          </p:nvSpPr>
          <p:spPr>
            <a:xfrm>
              <a:off x="325297" y="12"/>
              <a:ext cx="40640" cy="1997075"/>
            </a:xfrm>
            <a:custGeom>
              <a:avLst/>
              <a:gdLst/>
              <a:ahLst/>
              <a:cxnLst/>
              <a:rect l="l" t="t" r="r" b="b"/>
              <a:pathLst>
                <a:path w="40639" h="1997075">
                  <a:moveTo>
                    <a:pt x="40374" y="0"/>
                  </a:moveTo>
                  <a:lnTo>
                    <a:pt x="1986" y="0"/>
                  </a:lnTo>
                  <a:lnTo>
                    <a:pt x="0" y="1996711"/>
                  </a:lnTo>
                  <a:lnTo>
                    <a:pt x="38379" y="1996711"/>
                  </a:lnTo>
                  <a:lnTo>
                    <a:pt x="40374" y="0"/>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2" name="object 42"/>
            <p:cNvSpPr/>
            <p:nvPr/>
          </p:nvSpPr>
          <p:spPr>
            <a:xfrm>
              <a:off x="3681331" y="12"/>
              <a:ext cx="98425" cy="1997075"/>
            </a:xfrm>
            <a:custGeom>
              <a:avLst/>
              <a:gdLst/>
              <a:ahLst/>
              <a:cxnLst/>
              <a:rect l="l" t="t" r="r" b="b"/>
              <a:pathLst>
                <a:path w="98425" h="1997075">
                  <a:moveTo>
                    <a:pt x="97947" y="0"/>
                  </a:moveTo>
                  <a:lnTo>
                    <a:pt x="1995" y="0"/>
                  </a:lnTo>
                  <a:lnTo>
                    <a:pt x="0" y="1996711"/>
                  </a:lnTo>
                  <a:lnTo>
                    <a:pt x="95961" y="1996711"/>
                  </a:lnTo>
                  <a:lnTo>
                    <a:pt x="97947"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3" name="object 43"/>
            <p:cNvSpPr/>
            <p:nvPr/>
          </p:nvSpPr>
          <p:spPr>
            <a:xfrm>
              <a:off x="3681337" y="12"/>
              <a:ext cx="40640" cy="1997075"/>
            </a:xfrm>
            <a:custGeom>
              <a:avLst/>
              <a:gdLst/>
              <a:ahLst/>
              <a:cxnLst/>
              <a:rect l="l" t="t" r="r" b="b"/>
              <a:pathLst>
                <a:path w="40639" h="1997075">
                  <a:moveTo>
                    <a:pt x="40365" y="0"/>
                  </a:moveTo>
                  <a:lnTo>
                    <a:pt x="1986" y="0"/>
                  </a:lnTo>
                  <a:lnTo>
                    <a:pt x="0" y="1996711"/>
                  </a:lnTo>
                  <a:lnTo>
                    <a:pt x="38379" y="1996711"/>
                  </a:lnTo>
                  <a:lnTo>
                    <a:pt x="40365" y="0"/>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4" name="object 44"/>
            <p:cNvSpPr/>
            <p:nvPr/>
          </p:nvSpPr>
          <p:spPr>
            <a:xfrm>
              <a:off x="5357995" y="12"/>
              <a:ext cx="98425" cy="1997075"/>
            </a:xfrm>
            <a:custGeom>
              <a:avLst/>
              <a:gdLst/>
              <a:ahLst/>
              <a:cxnLst/>
              <a:rect l="l" t="t" r="r" b="b"/>
              <a:pathLst>
                <a:path w="98425" h="1997075">
                  <a:moveTo>
                    <a:pt x="97947" y="0"/>
                  </a:moveTo>
                  <a:lnTo>
                    <a:pt x="1995" y="0"/>
                  </a:lnTo>
                  <a:lnTo>
                    <a:pt x="0" y="1996711"/>
                  </a:lnTo>
                  <a:lnTo>
                    <a:pt x="95961" y="1996711"/>
                  </a:lnTo>
                  <a:lnTo>
                    <a:pt x="97947"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5" name="object 45"/>
            <p:cNvSpPr/>
            <p:nvPr/>
          </p:nvSpPr>
          <p:spPr>
            <a:xfrm>
              <a:off x="5358001" y="12"/>
              <a:ext cx="40640" cy="1997075"/>
            </a:xfrm>
            <a:custGeom>
              <a:avLst/>
              <a:gdLst/>
              <a:ahLst/>
              <a:cxnLst/>
              <a:rect l="l" t="t" r="r" b="b"/>
              <a:pathLst>
                <a:path w="40639" h="1997075">
                  <a:moveTo>
                    <a:pt x="40374" y="0"/>
                  </a:moveTo>
                  <a:lnTo>
                    <a:pt x="1986" y="0"/>
                  </a:lnTo>
                  <a:lnTo>
                    <a:pt x="0" y="1996711"/>
                  </a:lnTo>
                  <a:lnTo>
                    <a:pt x="38379" y="1996711"/>
                  </a:lnTo>
                  <a:lnTo>
                    <a:pt x="40374" y="0"/>
                  </a:lnTo>
                  <a:close/>
                </a:path>
              </a:pathLst>
            </a:custGeom>
            <a:solidFill>
              <a:srgbClr val="E0EEF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6" name="object 46"/>
            <p:cNvPicPr/>
            <p:nvPr/>
          </p:nvPicPr>
          <p:blipFill>
            <a:blip r:embed="rId4" cstate="print"/>
            <a:stretch>
              <a:fillRect/>
            </a:stretch>
          </p:blipFill>
          <p:spPr>
            <a:xfrm>
              <a:off x="0" y="7191260"/>
              <a:ext cx="6771855" cy="581139"/>
            </a:xfrm>
            <a:prstGeom prst="rect">
              <a:avLst/>
            </a:prstGeom>
          </p:spPr>
        </p:pic>
        <p:sp>
          <p:nvSpPr>
            <p:cNvPr id="47" name="object 47"/>
            <p:cNvSpPr/>
            <p:nvPr/>
          </p:nvSpPr>
          <p:spPr>
            <a:xfrm>
              <a:off x="1911515" y="7246605"/>
              <a:ext cx="266065" cy="24765"/>
            </a:xfrm>
            <a:custGeom>
              <a:avLst/>
              <a:gdLst/>
              <a:ahLst/>
              <a:cxnLst/>
              <a:rect l="l" t="t" r="r" b="b"/>
              <a:pathLst>
                <a:path w="266064" h="24765">
                  <a:moveTo>
                    <a:pt x="0" y="24282"/>
                  </a:moveTo>
                  <a:lnTo>
                    <a:pt x="265861" y="24282"/>
                  </a:lnTo>
                  <a:lnTo>
                    <a:pt x="265861" y="0"/>
                  </a:lnTo>
                  <a:lnTo>
                    <a:pt x="0" y="0"/>
                  </a:lnTo>
                  <a:lnTo>
                    <a:pt x="0" y="24282"/>
                  </a:lnTo>
                  <a:close/>
                </a:path>
              </a:pathLst>
            </a:custGeom>
            <a:solidFill>
              <a:srgbClr val="CBDDE8"/>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8" name="object 48"/>
            <p:cNvPicPr/>
            <p:nvPr/>
          </p:nvPicPr>
          <p:blipFill>
            <a:blip r:embed="rId5" cstate="print"/>
            <a:stretch>
              <a:fillRect/>
            </a:stretch>
          </p:blipFill>
          <p:spPr>
            <a:xfrm>
              <a:off x="2177377" y="12"/>
              <a:ext cx="7881023" cy="7772387"/>
            </a:xfrm>
            <a:prstGeom prst="rect">
              <a:avLst/>
            </a:prstGeom>
          </p:spPr>
        </p:pic>
        <p:sp>
          <p:nvSpPr>
            <p:cNvPr id="49" name="object 49"/>
            <p:cNvSpPr/>
            <p:nvPr/>
          </p:nvSpPr>
          <p:spPr>
            <a:xfrm>
              <a:off x="3512134" y="5398007"/>
              <a:ext cx="6546850" cy="2374900"/>
            </a:xfrm>
            <a:custGeom>
              <a:avLst/>
              <a:gdLst/>
              <a:ahLst/>
              <a:cxnLst/>
              <a:rect l="l" t="t" r="r" b="b"/>
              <a:pathLst>
                <a:path w="6546850" h="2374900">
                  <a:moveTo>
                    <a:pt x="2443175" y="0"/>
                  </a:moveTo>
                  <a:lnTo>
                    <a:pt x="0" y="0"/>
                  </a:lnTo>
                  <a:lnTo>
                    <a:pt x="0" y="1250581"/>
                  </a:lnTo>
                  <a:lnTo>
                    <a:pt x="0" y="1525079"/>
                  </a:lnTo>
                  <a:lnTo>
                    <a:pt x="2443175" y="1525079"/>
                  </a:lnTo>
                  <a:lnTo>
                    <a:pt x="2443175" y="1250581"/>
                  </a:lnTo>
                  <a:lnTo>
                    <a:pt x="2443175" y="0"/>
                  </a:lnTo>
                  <a:close/>
                </a:path>
                <a:path w="6546850" h="2374900">
                  <a:moveTo>
                    <a:pt x="3764965" y="141376"/>
                  </a:moveTo>
                  <a:lnTo>
                    <a:pt x="2693136" y="141376"/>
                  </a:lnTo>
                  <a:lnTo>
                    <a:pt x="2693136" y="2374392"/>
                  </a:lnTo>
                  <a:lnTo>
                    <a:pt x="3764965" y="2374392"/>
                  </a:lnTo>
                  <a:lnTo>
                    <a:pt x="3764965" y="141376"/>
                  </a:lnTo>
                  <a:close/>
                </a:path>
                <a:path w="6546850" h="2374900">
                  <a:moveTo>
                    <a:pt x="6546266" y="141376"/>
                  </a:moveTo>
                  <a:lnTo>
                    <a:pt x="6089066" y="141376"/>
                  </a:lnTo>
                  <a:lnTo>
                    <a:pt x="6089066" y="2374392"/>
                  </a:lnTo>
                  <a:lnTo>
                    <a:pt x="6546266" y="2374392"/>
                  </a:lnTo>
                  <a:lnTo>
                    <a:pt x="6546266" y="141376"/>
                  </a:lnTo>
                  <a:close/>
                </a:path>
              </a:pathLst>
            </a:custGeom>
            <a:solidFill>
              <a:srgbClr val="000000">
                <a:alpha val="9999"/>
              </a:srgbClr>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0" name="object 50"/>
            <p:cNvPicPr/>
            <p:nvPr/>
          </p:nvPicPr>
          <p:blipFill>
            <a:blip r:embed="rId6" cstate="print"/>
            <a:stretch>
              <a:fillRect/>
            </a:stretch>
          </p:blipFill>
          <p:spPr>
            <a:xfrm>
              <a:off x="4055669" y="6099046"/>
              <a:ext cx="95820" cy="191960"/>
            </a:xfrm>
            <a:prstGeom prst="rect">
              <a:avLst/>
            </a:prstGeom>
          </p:spPr>
        </p:pic>
        <p:pic>
          <p:nvPicPr>
            <p:cNvPr id="51" name="object 51"/>
            <p:cNvPicPr/>
            <p:nvPr/>
          </p:nvPicPr>
          <p:blipFill>
            <a:blip r:embed="rId7" cstate="print"/>
            <a:stretch>
              <a:fillRect/>
            </a:stretch>
          </p:blipFill>
          <p:spPr>
            <a:xfrm>
              <a:off x="4185742" y="6143518"/>
              <a:ext cx="312268" cy="146638"/>
            </a:xfrm>
            <a:prstGeom prst="rect">
              <a:avLst/>
            </a:prstGeom>
          </p:spPr>
        </p:pic>
        <p:pic>
          <p:nvPicPr>
            <p:cNvPr id="52" name="object 52"/>
            <p:cNvPicPr/>
            <p:nvPr/>
          </p:nvPicPr>
          <p:blipFill>
            <a:blip r:embed="rId8" cstate="print"/>
            <a:stretch>
              <a:fillRect/>
            </a:stretch>
          </p:blipFill>
          <p:spPr>
            <a:xfrm>
              <a:off x="3820537" y="6195315"/>
              <a:ext cx="208662" cy="99947"/>
            </a:xfrm>
            <a:prstGeom prst="rect">
              <a:avLst/>
            </a:prstGeom>
          </p:spPr>
        </p:pic>
        <p:pic>
          <p:nvPicPr>
            <p:cNvPr id="53" name="object 53"/>
            <p:cNvPicPr/>
            <p:nvPr/>
          </p:nvPicPr>
          <p:blipFill>
            <a:blip r:embed="rId9" cstate="print"/>
            <a:stretch>
              <a:fillRect/>
            </a:stretch>
          </p:blipFill>
          <p:spPr>
            <a:xfrm>
              <a:off x="3733571" y="6377910"/>
              <a:ext cx="838327" cy="363052"/>
            </a:xfrm>
            <a:prstGeom prst="rect">
              <a:avLst/>
            </a:prstGeom>
          </p:spPr>
        </p:pic>
        <p:pic>
          <p:nvPicPr>
            <p:cNvPr id="54" name="object 54"/>
            <p:cNvPicPr/>
            <p:nvPr/>
          </p:nvPicPr>
          <p:blipFill>
            <a:blip r:embed="rId10" cstate="print"/>
            <a:stretch>
              <a:fillRect/>
            </a:stretch>
          </p:blipFill>
          <p:spPr>
            <a:xfrm>
              <a:off x="3731906" y="5695889"/>
              <a:ext cx="846790" cy="299477"/>
            </a:xfrm>
            <a:prstGeom prst="rect">
              <a:avLst/>
            </a:prstGeom>
          </p:spPr>
        </p:pic>
        <p:sp>
          <p:nvSpPr>
            <p:cNvPr id="55" name="object 55"/>
            <p:cNvSpPr/>
            <p:nvPr/>
          </p:nvSpPr>
          <p:spPr>
            <a:xfrm>
              <a:off x="3732284" y="6282442"/>
              <a:ext cx="841375" cy="18415"/>
            </a:xfrm>
            <a:custGeom>
              <a:avLst/>
              <a:gdLst/>
              <a:ahLst/>
              <a:cxnLst/>
              <a:rect l="l" t="t" r="r" b="b"/>
              <a:pathLst>
                <a:path w="841375" h="18414">
                  <a:moveTo>
                    <a:pt x="840993" y="0"/>
                  </a:moveTo>
                  <a:lnTo>
                    <a:pt x="0" y="5067"/>
                  </a:lnTo>
                  <a:lnTo>
                    <a:pt x="88" y="18084"/>
                  </a:lnTo>
                  <a:lnTo>
                    <a:pt x="841070" y="13004"/>
                  </a:lnTo>
                  <a:lnTo>
                    <a:pt x="840993" y="0"/>
                  </a:lnTo>
                  <a:close/>
                </a:path>
              </a:pathLst>
            </a:custGeom>
            <a:solidFill>
              <a:srgbClr val="E0E0E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6" name="object 56"/>
            <p:cNvPicPr/>
            <p:nvPr/>
          </p:nvPicPr>
          <p:blipFill>
            <a:blip r:embed="rId11" cstate="print"/>
            <a:stretch>
              <a:fillRect/>
            </a:stretch>
          </p:blipFill>
          <p:spPr>
            <a:xfrm>
              <a:off x="5140332" y="6094673"/>
              <a:ext cx="95827" cy="191961"/>
            </a:xfrm>
            <a:prstGeom prst="rect">
              <a:avLst/>
            </a:prstGeom>
          </p:spPr>
        </p:pic>
        <p:pic>
          <p:nvPicPr>
            <p:cNvPr id="57" name="object 57"/>
            <p:cNvPicPr/>
            <p:nvPr/>
          </p:nvPicPr>
          <p:blipFill>
            <a:blip r:embed="rId12" cstate="print"/>
            <a:stretch>
              <a:fillRect/>
            </a:stretch>
          </p:blipFill>
          <p:spPr>
            <a:xfrm>
              <a:off x="5270408" y="6139141"/>
              <a:ext cx="312268" cy="146636"/>
            </a:xfrm>
            <a:prstGeom prst="rect">
              <a:avLst/>
            </a:prstGeom>
          </p:spPr>
        </p:pic>
        <p:pic>
          <p:nvPicPr>
            <p:cNvPr id="58" name="object 58"/>
            <p:cNvPicPr/>
            <p:nvPr/>
          </p:nvPicPr>
          <p:blipFill>
            <a:blip r:embed="rId13" cstate="print"/>
            <a:stretch>
              <a:fillRect/>
            </a:stretch>
          </p:blipFill>
          <p:spPr>
            <a:xfrm>
              <a:off x="4905203" y="6190937"/>
              <a:ext cx="208666" cy="99949"/>
            </a:xfrm>
            <a:prstGeom prst="rect">
              <a:avLst/>
            </a:prstGeom>
          </p:spPr>
        </p:pic>
        <p:pic>
          <p:nvPicPr>
            <p:cNvPr id="59" name="object 59"/>
            <p:cNvPicPr/>
            <p:nvPr/>
          </p:nvPicPr>
          <p:blipFill>
            <a:blip r:embed="rId14" cstate="print"/>
            <a:stretch>
              <a:fillRect/>
            </a:stretch>
          </p:blipFill>
          <p:spPr>
            <a:xfrm>
              <a:off x="4818240" y="6373536"/>
              <a:ext cx="838335" cy="352186"/>
            </a:xfrm>
            <a:prstGeom prst="rect">
              <a:avLst/>
            </a:prstGeom>
          </p:spPr>
        </p:pic>
        <p:pic>
          <p:nvPicPr>
            <p:cNvPr id="60" name="object 60"/>
            <p:cNvPicPr/>
            <p:nvPr/>
          </p:nvPicPr>
          <p:blipFill>
            <a:blip r:embed="rId15" cstate="print"/>
            <a:stretch>
              <a:fillRect/>
            </a:stretch>
          </p:blipFill>
          <p:spPr>
            <a:xfrm>
              <a:off x="4816574" y="5691512"/>
              <a:ext cx="846790" cy="299481"/>
            </a:xfrm>
            <a:prstGeom prst="rect">
              <a:avLst/>
            </a:prstGeom>
          </p:spPr>
        </p:pic>
        <p:sp>
          <p:nvSpPr>
            <p:cNvPr id="61" name="object 61"/>
            <p:cNvSpPr/>
            <p:nvPr/>
          </p:nvSpPr>
          <p:spPr>
            <a:xfrm>
              <a:off x="4816955" y="6278066"/>
              <a:ext cx="841375" cy="18415"/>
            </a:xfrm>
            <a:custGeom>
              <a:avLst/>
              <a:gdLst/>
              <a:ahLst/>
              <a:cxnLst/>
              <a:rect l="l" t="t" r="r" b="b"/>
              <a:pathLst>
                <a:path w="841375" h="18414">
                  <a:moveTo>
                    <a:pt x="840994" y="0"/>
                  </a:moveTo>
                  <a:lnTo>
                    <a:pt x="0" y="5067"/>
                  </a:lnTo>
                  <a:lnTo>
                    <a:pt x="88" y="18084"/>
                  </a:lnTo>
                  <a:lnTo>
                    <a:pt x="841057" y="13004"/>
                  </a:lnTo>
                  <a:lnTo>
                    <a:pt x="840994" y="0"/>
                  </a:lnTo>
                  <a:close/>
                </a:path>
              </a:pathLst>
            </a:custGeom>
            <a:solidFill>
              <a:srgbClr val="E0E0E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2" name="object 62"/>
            <p:cNvSpPr/>
            <p:nvPr/>
          </p:nvSpPr>
          <p:spPr>
            <a:xfrm>
              <a:off x="3475722" y="5361274"/>
              <a:ext cx="0" cy="1287780"/>
            </a:xfrm>
            <a:custGeom>
              <a:avLst/>
              <a:gdLst/>
              <a:ahLst/>
              <a:cxnLst/>
              <a:rect l="l" t="t" r="r" b="b"/>
              <a:pathLst>
                <a:path h="1287779">
                  <a:moveTo>
                    <a:pt x="0" y="1287310"/>
                  </a:moveTo>
                  <a:lnTo>
                    <a:pt x="0" y="0"/>
                  </a:lnTo>
                </a:path>
              </a:pathLst>
            </a:custGeom>
            <a:ln w="73456">
              <a:solidFill>
                <a:srgbClr val="D1D3D4"/>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3" name="object 63"/>
            <p:cNvSpPr/>
            <p:nvPr/>
          </p:nvSpPr>
          <p:spPr>
            <a:xfrm>
              <a:off x="3439688" y="5361273"/>
              <a:ext cx="2573020" cy="0"/>
            </a:xfrm>
            <a:custGeom>
              <a:avLst/>
              <a:gdLst/>
              <a:ahLst/>
              <a:cxnLst/>
              <a:rect l="l" t="t" r="r" b="b"/>
              <a:pathLst>
                <a:path w="2573020">
                  <a:moveTo>
                    <a:pt x="0" y="0"/>
                  </a:moveTo>
                  <a:lnTo>
                    <a:pt x="2573007" y="0"/>
                  </a:lnTo>
                </a:path>
              </a:pathLst>
            </a:custGeom>
            <a:ln w="73456">
              <a:solidFill>
                <a:srgbClr val="D1D3D4"/>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4" name="object 64"/>
            <p:cNvSpPr/>
            <p:nvPr/>
          </p:nvSpPr>
          <p:spPr>
            <a:xfrm>
              <a:off x="5975969" y="5361274"/>
              <a:ext cx="0" cy="1287780"/>
            </a:xfrm>
            <a:custGeom>
              <a:avLst/>
              <a:gdLst/>
              <a:ahLst/>
              <a:cxnLst/>
              <a:rect l="l" t="t" r="r" b="b"/>
              <a:pathLst>
                <a:path h="1287779">
                  <a:moveTo>
                    <a:pt x="0" y="1287310"/>
                  </a:moveTo>
                  <a:lnTo>
                    <a:pt x="0" y="0"/>
                  </a:lnTo>
                </a:path>
              </a:pathLst>
            </a:custGeom>
            <a:ln w="73456">
              <a:solidFill>
                <a:srgbClr val="D1D3D4"/>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65" name="object 65"/>
            <p:cNvPicPr/>
            <p:nvPr/>
          </p:nvPicPr>
          <p:blipFill>
            <a:blip r:embed="rId16" cstate="print"/>
            <a:stretch>
              <a:fillRect/>
            </a:stretch>
          </p:blipFill>
          <p:spPr>
            <a:xfrm>
              <a:off x="6468484" y="5812190"/>
              <a:ext cx="70065" cy="183741"/>
            </a:xfrm>
            <a:prstGeom prst="rect">
              <a:avLst/>
            </a:prstGeom>
          </p:spPr>
        </p:pic>
        <p:pic>
          <p:nvPicPr>
            <p:cNvPr id="66" name="object 66"/>
            <p:cNvPicPr/>
            <p:nvPr/>
          </p:nvPicPr>
          <p:blipFill>
            <a:blip r:embed="rId17" cstate="print"/>
            <a:stretch>
              <a:fillRect/>
            </a:stretch>
          </p:blipFill>
          <p:spPr>
            <a:xfrm>
              <a:off x="6596915" y="5812184"/>
              <a:ext cx="69976" cy="183828"/>
            </a:xfrm>
            <a:prstGeom prst="rect">
              <a:avLst/>
            </a:prstGeom>
          </p:spPr>
        </p:pic>
        <p:sp>
          <p:nvSpPr>
            <p:cNvPr id="67" name="object 67"/>
            <p:cNvSpPr/>
            <p:nvPr/>
          </p:nvSpPr>
          <p:spPr>
            <a:xfrm>
              <a:off x="6566770" y="5805601"/>
              <a:ext cx="0" cy="190500"/>
            </a:xfrm>
            <a:custGeom>
              <a:avLst/>
              <a:gdLst/>
              <a:ahLst/>
              <a:cxnLst/>
              <a:rect l="l" t="t" r="r" b="b"/>
              <a:pathLst>
                <a:path h="190500">
                  <a:moveTo>
                    <a:pt x="0" y="0"/>
                  </a:moveTo>
                  <a:lnTo>
                    <a:pt x="0" y="190334"/>
                  </a:lnTo>
                </a:path>
              </a:pathLst>
            </a:custGeom>
            <a:ln w="5461">
              <a:solidFill>
                <a:srgbClr val="A3A3A3"/>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8" name="object 68"/>
            <p:cNvSpPr/>
            <p:nvPr/>
          </p:nvSpPr>
          <p:spPr>
            <a:xfrm>
              <a:off x="0" y="6648589"/>
              <a:ext cx="1911985" cy="1123950"/>
            </a:xfrm>
            <a:custGeom>
              <a:avLst/>
              <a:gdLst/>
              <a:ahLst/>
              <a:cxnLst/>
              <a:rect l="l" t="t" r="r" b="b"/>
              <a:pathLst>
                <a:path w="1911985" h="1123950">
                  <a:moveTo>
                    <a:pt x="1911515" y="0"/>
                  </a:moveTo>
                  <a:lnTo>
                    <a:pt x="0" y="0"/>
                  </a:lnTo>
                  <a:lnTo>
                    <a:pt x="0" y="1123810"/>
                  </a:lnTo>
                  <a:lnTo>
                    <a:pt x="1911515" y="1123810"/>
                  </a:lnTo>
                  <a:lnTo>
                    <a:pt x="1911515" y="0"/>
                  </a:lnTo>
                  <a:close/>
                </a:path>
              </a:pathLst>
            </a:custGeom>
            <a:solidFill>
              <a:srgbClr val="DDCDB6"/>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69" name="object 69"/>
            <p:cNvPicPr/>
            <p:nvPr/>
          </p:nvPicPr>
          <p:blipFill>
            <a:blip r:embed="rId18" cstate="print"/>
            <a:stretch>
              <a:fillRect/>
            </a:stretch>
          </p:blipFill>
          <p:spPr>
            <a:xfrm>
              <a:off x="47218" y="6723874"/>
              <a:ext cx="1793189" cy="684618"/>
            </a:xfrm>
            <a:prstGeom prst="rect">
              <a:avLst/>
            </a:prstGeom>
          </p:spPr>
        </p:pic>
        <p:sp>
          <p:nvSpPr>
            <p:cNvPr id="70" name="object 70"/>
            <p:cNvSpPr/>
            <p:nvPr/>
          </p:nvSpPr>
          <p:spPr>
            <a:xfrm>
              <a:off x="47218" y="7045794"/>
              <a:ext cx="1793239" cy="381635"/>
            </a:xfrm>
            <a:custGeom>
              <a:avLst/>
              <a:gdLst/>
              <a:ahLst/>
              <a:cxnLst/>
              <a:rect l="l" t="t" r="r" b="b"/>
              <a:pathLst>
                <a:path w="1793239" h="381634">
                  <a:moveTo>
                    <a:pt x="1793176" y="348195"/>
                  </a:moveTo>
                  <a:lnTo>
                    <a:pt x="0" y="348195"/>
                  </a:lnTo>
                  <a:lnTo>
                    <a:pt x="0" y="381381"/>
                  </a:lnTo>
                  <a:lnTo>
                    <a:pt x="1793176" y="381381"/>
                  </a:lnTo>
                  <a:lnTo>
                    <a:pt x="1793176" y="348195"/>
                  </a:lnTo>
                  <a:close/>
                </a:path>
                <a:path w="1793239" h="381634">
                  <a:moveTo>
                    <a:pt x="1793176" y="0"/>
                  </a:moveTo>
                  <a:lnTo>
                    <a:pt x="0" y="0"/>
                  </a:lnTo>
                  <a:lnTo>
                    <a:pt x="0" y="1739"/>
                  </a:lnTo>
                  <a:lnTo>
                    <a:pt x="0" y="33185"/>
                  </a:lnTo>
                  <a:lnTo>
                    <a:pt x="1793176" y="33185"/>
                  </a:lnTo>
                  <a:lnTo>
                    <a:pt x="1793176" y="1739"/>
                  </a:lnTo>
                  <a:lnTo>
                    <a:pt x="1793176" y="0"/>
                  </a:lnTo>
                  <a:close/>
                </a:path>
              </a:pathLst>
            </a:custGeom>
            <a:solidFill>
              <a:srgbClr val="333333"/>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71" name="object 71"/>
            <p:cNvPicPr/>
            <p:nvPr/>
          </p:nvPicPr>
          <p:blipFill>
            <a:blip r:embed="rId19" cstate="print"/>
            <a:stretch>
              <a:fillRect/>
            </a:stretch>
          </p:blipFill>
          <p:spPr>
            <a:xfrm>
              <a:off x="235052" y="6746771"/>
              <a:ext cx="215671" cy="297199"/>
            </a:xfrm>
            <a:prstGeom prst="rect">
              <a:avLst/>
            </a:prstGeom>
          </p:spPr>
        </p:pic>
        <p:pic>
          <p:nvPicPr>
            <p:cNvPr id="72" name="object 72"/>
            <p:cNvPicPr/>
            <p:nvPr/>
          </p:nvPicPr>
          <p:blipFill>
            <a:blip r:embed="rId20" cstate="print"/>
            <a:stretch>
              <a:fillRect/>
            </a:stretch>
          </p:blipFill>
          <p:spPr>
            <a:xfrm>
              <a:off x="522251" y="6746771"/>
              <a:ext cx="215671" cy="297199"/>
            </a:xfrm>
            <a:prstGeom prst="rect">
              <a:avLst/>
            </a:prstGeom>
          </p:spPr>
        </p:pic>
        <p:pic>
          <p:nvPicPr>
            <p:cNvPr id="73" name="object 73"/>
            <p:cNvPicPr/>
            <p:nvPr/>
          </p:nvPicPr>
          <p:blipFill>
            <a:blip r:embed="rId20" cstate="print"/>
            <a:stretch>
              <a:fillRect/>
            </a:stretch>
          </p:blipFill>
          <p:spPr>
            <a:xfrm>
              <a:off x="805672" y="6746771"/>
              <a:ext cx="215671" cy="297199"/>
            </a:xfrm>
            <a:prstGeom prst="rect">
              <a:avLst/>
            </a:prstGeom>
          </p:spPr>
        </p:pic>
        <p:pic>
          <p:nvPicPr>
            <p:cNvPr id="74" name="object 74"/>
            <p:cNvPicPr/>
            <p:nvPr/>
          </p:nvPicPr>
          <p:blipFill>
            <a:blip r:embed="rId21" cstate="print"/>
            <a:stretch>
              <a:fillRect/>
            </a:stretch>
          </p:blipFill>
          <p:spPr>
            <a:xfrm>
              <a:off x="644241" y="7096945"/>
              <a:ext cx="215671" cy="297197"/>
            </a:xfrm>
            <a:prstGeom prst="rect">
              <a:avLst/>
            </a:prstGeom>
          </p:spPr>
        </p:pic>
        <p:pic>
          <p:nvPicPr>
            <p:cNvPr id="75" name="object 75"/>
            <p:cNvPicPr/>
            <p:nvPr/>
          </p:nvPicPr>
          <p:blipFill>
            <a:blip r:embed="rId22" cstate="print"/>
            <a:stretch>
              <a:fillRect/>
            </a:stretch>
          </p:blipFill>
          <p:spPr>
            <a:xfrm>
              <a:off x="121965" y="7096945"/>
              <a:ext cx="215671" cy="297197"/>
            </a:xfrm>
            <a:prstGeom prst="rect">
              <a:avLst/>
            </a:prstGeom>
          </p:spPr>
        </p:pic>
        <p:pic>
          <p:nvPicPr>
            <p:cNvPr id="76" name="object 76"/>
            <p:cNvPicPr/>
            <p:nvPr/>
          </p:nvPicPr>
          <p:blipFill>
            <a:blip r:embed="rId22" cstate="print"/>
            <a:stretch>
              <a:fillRect/>
            </a:stretch>
          </p:blipFill>
          <p:spPr>
            <a:xfrm>
              <a:off x="931440" y="7096945"/>
              <a:ext cx="215671" cy="297197"/>
            </a:xfrm>
            <a:prstGeom prst="rect">
              <a:avLst/>
            </a:prstGeom>
          </p:spPr>
        </p:pic>
        <p:pic>
          <p:nvPicPr>
            <p:cNvPr id="77" name="object 77"/>
            <p:cNvPicPr/>
            <p:nvPr/>
          </p:nvPicPr>
          <p:blipFill>
            <a:blip r:embed="rId22" cstate="print"/>
            <a:stretch>
              <a:fillRect/>
            </a:stretch>
          </p:blipFill>
          <p:spPr>
            <a:xfrm>
              <a:off x="1385535" y="6750326"/>
              <a:ext cx="215671" cy="297199"/>
            </a:xfrm>
            <a:prstGeom prst="rect">
              <a:avLst/>
            </a:prstGeom>
          </p:spPr>
        </p:pic>
        <p:sp>
          <p:nvSpPr>
            <p:cNvPr id="78" name="object 78"/>
            <p:cNvSpPr/>
            <p:nvPr/>
          </p:nvSpPr>
          <p:spPr>
            <a:xfrm>
              <a:off x="4020057" y="6072479"/>
              <a:ext cx="111760" cy="129539"/>
            </a:xfrm>
            <a:custGeom>
              <a:avLst/>
              <a:gdLst/>
              <a:ahLst/>
              <a:cxnLst/>
              <a:rect l="l" t="t" r="r" b="b"/>
              <a:pathLst>
                <a:path w="111760" h="129539">
                  <a:moveTo>
                    <a:pt x="111658" y="0"/>
                  </a:moveTo>
                  <a:lnTo>
                    <a:pt x="0" y="0"/>
                  </a:lnTo>
                  <a:lnTo>
                    <a:pt x="0" y="128943"/>
                  </a:lnTo>
                  <a:lnTo>
                    <a:pt x="111658" y="128943"/>
                  </a:lnTo>
                  <a:lnTo>
                    <a:pt x="111658"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9" name="object 79"/>
            <p:cNvSpPr/>
            <p:nvPr/>
          </p:nvSpPr>
          <p:spPr>
            <a:xfrm>
              <a:off x="3926504" y="6174371"/>
              <a:ext cx="299085" cy="212090"/>
            </a:xfrm>
            <a:custGeom>
              <a:avLst/>
              <a:gdLst/>
              <a:ahLst/>
              <a:cxnLst/>
              <a:rect l="l" t="t" r="r" b="b"/>
              <a:pathLst>
                <a:path w="299085" h="212089">
                  <a:moveTo>
                    <a:pt x="219049" y="0"/>
                  </a:moveTo>
                  <a:lnTo>
                    <a:pt x="149390" y="19164"/>
                  </a:lnTo>
                  <a:lnTo>
                    <a:pt x="79717" y="0"/>
                  </a:lnTo>
                  <a:lnTo>
                    <a:pt x="0" y="36131"/>
                  </a:lnTo>
                  <a:lnTo>
                    <a:pt x="3213" y="212077"/>
                  </a:lnTo>
                  <a:lnTo>
                    <a:pt x="295554" y="212077"/>
                  </a:lnTo>
                  <a:lnTo>
                    <a:pt x="298780" y="36131"/>
                  </a:lnTo>
                  <a:lnTo>
                    <a:pt x="219049"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80" name="object 80"/>
            <p:cNvPicPr/>
            <p:nvPr/>
          </p:nvPicPr>
          <p:blipFill>
            <a:blip r:embed="rId23" cstate="print"/>
            <a:stretch>
              <a:fillRect/>
            </a:stretch>
          </p:blipFill>
          <p:spPr>
            <a:xfrm>
              <a:off x="4006226" y="6136816"/>
              <a:ext cx="139331" cy="264325"/>
            </a:xfrm>
            <a:prstGeom prst="rect">
              <a:avLst/>
            </a:prstGeom>
          </p:spPr>
        </p:pic>
        <p:sp>
          <p:nvSpPr>
            <p:cNvPr id="81" name="object 81"/>
            <p:cNvSpPr/>
            <p:nvPr/>
          </p:nvSpPr>
          <p:spPr>
            <a:xfrm>
              <a:off x="4225284" y="6210503"/>
              <a:ext cx="263525" cy="421640"/>
            </a:xfrm>
            <a:custGeom>
              <a:avLst/>
              <a:gdLst/>
              <a:ahLst/>
              <a:cxnLst/>
              <a:rect l="l" t="t" r="r" b="b"/>
              <a:pathLst>
                <a:path w="263525" h="421640">
                  <a:moveTo>
                    <a:pt x="0" y="0"/>
                  </a:moveTo>
                  <a:lnTo>
                    <a:pt x="10541" y="173723"/>
                  </a:lnTo>
                  <a:lnTo>
                    <a:pt x="16846" y="176245"/>
                  </a:lnTo>
                  <a:lnTo>
                    <a:pt x="22961" y="183302"/>
                  </a:lnTo>
                  <a:lnTo>
                    <a:pt x="48147" y="226602"/>
                  </a:lnTo>
                  <a:lnTo>
                    <a:pt x="71539" y="270570"/>
                  </a:lnTo>
                  <a:lnTo>
                    <a:pt x="83134" y="294256"/>
                  </a:lnTo>
                  <a:lnTo>
                    <a:pt x="86937" y="299497"/>
                  </a:lnTo>
                  <a:lnTo>
                    <a:pt x="92731" y="303853"/>
                  </a:lnTo>
                  <a:lnTo>
                    <a:pt x="102730" y="309537"/>
                  </a:lnTo>
                  <a:lnTo>
                    <a:pt x="107697" y="315498"/>
                  </a:lnTo>
                  <a:lnTo>
                    <a:pt x="120024" y="330538"/>
                  </a:lnTo>
                  <a:lnTo>
                    <a:pt x="135852" y="350390"/>
                  </a:lnTo>
                  <a:lnTo>
                    <a:pt x="151320" y="370789"/>
                  </a:lnTo>
                  <a:lnTo>
                    <a:pt x="164651" y="388734"/>
                  </a:lnTo>
                  <a:lnTo>
                    <a:pt x="173816" y="398435"/>
                  </a:lnTo>
                  <a:lnTo>
                    <a:pt x="183065" y="403237"/>
                  </a:lnTo>
                  <a:lnTo>
                    <a:pt x="196646" y="406488"/>
                  </a:lnTo>
                  <a:lnTo>
                    <a:pt x="206794" y="421271"/>
                  </a:lnTo>
                  <a:lnTo>
                    <a:pt x="263486" y="410413"/>
                  </a:lnTo>
                  <a:lnTo>
                    <a:pt x="245148" y="386245"/>
                  </a:lnTo>
                  <a:lnTo>
                    <a:pt x="226377" y="326520"/>
                  </a:lnTo>
                  <a:lnTo>
                    <a:pt x="212239" y="292161"/>
                  </a:lnTo>
                  <a:lnTo>
                    <a:pt x="195638" y="270164"/>
                  </a:lnTo>
                  <a:lnTo>
                    <a:pt x="169481" y="247522"/>
                  </a:lnTo>
                  <a:lnTo>
                    <a:pt x="167316" y="237335"/>
                  </a:lnTo>
                  <a:lnTo>
                    <a:pt x="163212" y="228031"/>
                  </a:lnTo>
                  <a:lnTo>
                    <a:pt x="154124" y="214293"/>
                  </a:lnTo>
                  <a:lnTo>
                    <a:pt x="137007" y="190804"/>
                  </a:lnTo>
                  <a:lnTo>
                    <a:pt x="137007" y="181343"/>
                  </a:lnTo>
                  <a:lnTo>
                    <a:pt x="129311" y="174269"/>
                  </a:lnTo>
                  <a:lnTo>
                    <a:pt x="95059" y="93941"/>
                  </a:lnTo>
                  <a:lnTo>
                    <a:pt x="95059" y="87452"/>
                  </a:lnTo>
                  <a:lnTo>
                    <a:pt x="86791" y="78574"/>
                  </a:lnTo>
                  <a:lnTo>
                    <a:pt x="86791" y="67360"/>
                  </a:lnTo>
                  <a:lnTo>
                    <a:pt x="85632" y="64262"/>
                  </a:lnTo>
                  <a:lnTo>
                    <a:pt x="57835" y="26009"/>
                  </a:lnTo>
                  <a:lnTo>
                    <a:pt x="19984" y="1577"/>
                  </a:lnTo>
                  <a:lnTo>
                    <a:pt x="0"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2" name="object 82"/>
            <p:cNvSpPr/>
            <p:nvPr/>
          </p:nvSpPr>
          <p:spPr>
            <a:xfrm>
              <a:off x="4408606" y="6605831"/>
              <a:ext cx="162560" cy="57150"/>
            </a:xfrm>
            <a:custGeom>
              <a:avLst/>
              <a:gdLst/>
              <a:ahLst/>
              <a:cxnLst/>
              <a:rect l="l" t="t" r="r" b="b"/>
              <a:pathLst>
                <a:path w="162560" h="57150">
                  <a:moveTo>
                    <a:pt x="97510" y="0"/>
                  </a:moveTo>
                  <a:lnTo>
                    <a:pt x="91732" y="0"/>
                  </a:lnTo>
                  <a:lnTo>
                    <a:pt x="83315" y="224"/>
                  </a:lnTo>
                  <a:lnTo>
                    <a:pt x="30884" y="13635"/>
                  </a:lnTo>
                  <a:lnTo>
                    <a:pt x="0" y="37249"/>
                  </a:lnTo>
                  <a:lnTo>
                    <a:pt x="4737" y="46697"/>
                  </a:lnTo>
                  <a:lnTo>
                    <a:pt x="0" y="56908"/>
                  </a:lnTo>
                  <a:lnTo>
                    <a:pt x="162026" y="56908"/>
                  </a:lnTo>
                  <a:lnTo>
                    <a:pt x="147605" y="43682"/>
                  </a:lnTo>
                  <a:lnTo>
                    <a:pt x="139763" y="36058"/>
                  </a:lnTo>
                  <a:lnTo>
                    <a:pt x="135769" y="31144"/>
                  </a:lnTo>
                  <a:lnTo>
                    <a:pt x="132892" y="26047"/>
                  </a:lnTo>
                  <a:lnTo>
                    <a:pt x="129324" y="19240"/>
                  </a:lnTo>
                  <a:lnTo>
                    <a:pt x="128001" y="18834"/>
                  </a:lnTo>
                  <a:lnTo>
                    <a:pt x="118948" y="18834"/>
                  </a:lnTo>
                  <a:lnTo>
                    <a:pt x="115971" y="13347"/>
                  </a:lnTo>
                  <a:lnTo>
                    <a:pt x="103009" y="13347"/>
                  </a:lnTo>
                  <a:lnTo>
                    <a:pt x="103670" y="4000"/>
                  </a:lnTo>
                  <a:lnTo>
                    <a:pt x="97510" y="0"/>
                  </a:lnTo>
                  <a:close/>
                </a:path>
                <a:path w="162560" h="57150">
                  <a:moveTo>
                    <a:pt x="125272" y="17995"/>
                  </a:moveTo>
                  <a:lnTo>
                    <a:pt x="121196" y="18402"/>
                  </a:lnTo>
                  <a:lnTo>
                    <a:pt x="118948" y="18834"/>
                  </a:lnTo>
                  <a:lnTo>
                    <a:pt x="128001" y="18834"/>
                  </a:lnTo>
                  <a:lnTo>
                    <a:pt x="125272" y="17995"/>
                  </a:lnTo>
                  <a:close/>
                </a:path>
                <a:path w="162560" h="57150">
                  <a:moveTo>
                    <a:pt x="112394" y="12128"/>
                  </a:moveTo>
                  <a:lnTo>
                    <a:pt x="107213" y="12128"/>
                  </a:lnTo>
                  <a:lnTo>
                    <a:pt x="103009" y="13347"/>
                  </a:lnTo>
                  <a:lnTo>
                    <a:pt x="115971" y="13347"/>
                  </a:lnTo>
                  <a:lnTo>
                    <a:pt x="115392" y="12280"/>
                  </a:lnTo>
                  <a:lnTo>
                    <a:pt x="112394" y="12128"/>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3" name="object 83"/>
            <p:cNvSpPr/>
            <p:nvPr/>
          </p:nvSpPr>
          <p:spPr>
            <a:xfrm>
              <a:off x="3663016" y="6210503"/>
              <a:ext cx="263525" cy="421640"/>
            </a:xfrm>
            <a:custGeom>
              <a:avLst/>
              <a:gdLst/>
              <a:ahLst/>
              <a:cxnLst/>
              <a:rect l="l" t="t" r="r" b="b"/>
              <a:pathLst>
                <a:path w="263525" h="421640">
                  <a:moveTo>
                    <a:pt x="263486" y="0"/>
                  </a:moveTo>
                  <a:lnTo>
                    <a:pt x="220006" y="12144"/>
                  </a:lnTo>
                  <a:lnTo>
                    <a:pt x="191032" y="42559"/>
                  </a:lnTo>
                  <a:lnTo>
                    <a:pt x="176695" y="67360"/>
                  </a:lnTo>
                  <a:lnTo>
                    <a:pt x="176695" y="78574"/>
                  </a:lnTo>
                  <a:lnTo>
                    <a:pt x="168427" y="87452"/>
                  </a:lnTo>
                  <a:lnTo>
                    <a:pt x="168427" y="93941"/>
                  </a:lnTo>
                  <a:lnTo>
                    <a:pt x="134175" y="174269"/>
                  </a:lnTo>
                  <a:lnTo>
                    <a:pt x="126479" y="181343"/>
                  </a:lnTo>
                  <a:lnTo>
                    <a:pt x="126479" y="190804"/>
                  </a:lnTo>
                  <a:lnTo>
                    <a:pt x="109362" y="214293"/>
                  </a:lnTo>
                  <a:lnTo>
                    <a:pt x="100272" y="228031"/>
                  </a:lnTo>
                  <a:lnTo>
                    <a:pt x="96164" y="237335"/>
                  </a:lnTo>
                  <a:lnTo>
                    <a:pt x="93992" y="247522"/>
                  </a:lnTo>
                  <a:lnTo>
                    <a:pt x="67843" y="270164"/>
                  </a:lnTo>
                  <a:lnTo>
                    <a:pt x="51244" y="292161"/>
                  </a:lnTo>
                  <a:lnTo>
                    <a:pt x="37103" y="326520"/>
                  </a:lnTo>
                  <a:lnTo>
                    <a:pt x="18326" y="386245"/>
                  </a:lnTo>
                  <a:lnTo>
                    <a:pt x="0" y="410413"/>
                  </a:lnTo>
                  <a:lnTo>
                    <a:pt x="56667" y="421271"/>
                  </a:lnTo>
                  <a:lnTo>
                    <a:pt x="66840" y="406488"/>
                  </a:lnTo>
                  <a:lnTo>
                    <a:pt x="80421" y="403237"/>
                  </a:lnTo>
                  <a:lnTo>
                    <a:pt x="89669" y="398435"/>
                  </a:lnTo>
                  <a:lnTo>
                    <a:pt x="98835" y="388734"/>
                  </a:lnTo>
                  <a:lnTo>
                    <a:pt x="112166" y="370789"/>
                  </a:lnTo>
                  <a:lnTo>
                    <a:pt x="127634" y="350390"/>
                  </a:lnTo>
                  <a:lnTo>
                    <a:pt x="143462" y="330538"/>
                  </a:lnTo>
                  <a:lnTo>
                    <a:pt x="155789" y="315498"/>
                  </a:lnTo>
                  <a:lnTo>
                    <a:pt x="160756" y="309537"/>
                  </a:lnTo>
                  <a:lnTo>
                    <a:pt x="170755" y="303853"/>
                  </a:lnTo>
                  <a:lnTo>
                    <a:pt x="176547" y="299497"/>
                  </a:lnTo>
                  <a:lnTo>
                    <a:pt x="180346" y="294256"/>
                  </a:lnTo>
                  <a:lnTo>
                    <a:pt x="184365" y="285915"/>
                  </a:lnTo>
                  <a:lnTo>
                    <a:pt x="191937" y="270570"/>
                  </a:lnTo>
                  <a:lnTo>
                    <a:pt x="215337" y="226602"/>
                  </a:lnTo>
                  <a:lnTo>
                    <a:pt x="240525" y="183302"/>
                  </a:lnTo>
                  <a:lnTo>
                    <a:pt x="252945" y="173723"/>
                  </a:lnTo>
                  <a:lnTo>
                    <a:pt x="263486"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4" name="object 84"/>
            <p:cNvSpPr/>
            <p:nvPr/>
          </p:nvSpPr>
          <p:spPr>
            <a:xfrm>
              <a:off x="3581158" y="6179680"/>
              <a:ext cx="656590" cy="491490"/>
            </a:xfrm>
            <a:custGeom>
              <a:avLst/>
              <a:gdLst/>
              <a:ahLst/>
              <a:cxnLst/>
              <a:rect l="l" t="t" r="r" b="b"/>
              <a:pathLst>
                <a:path w="656589" h="491490">
                  <a:moveTo>
                    <a:pt x="162013" y="463410"/>
                  </a:moveTo>
                  <a:lnTo>
                    <a:pt x="155041" y="456438"/>
                  </a:lnTo>
                  <a:lnTo>
                    <a:pt x="149453" y="451078"/>
                  </a:lnTo>
                  <a:lnTo>
                    <a:pt x="142036" y="445503"/>
                  </a:lnTo>
                  <a:lnTo>
                    <a:pt x="141058" y="444995"/>
                  </a:lnTo>
                  <a:lnTo>
                    <a:pt x="131127" y="439788"/>
                  </a:lnTo>
                  <a:lnTo>
                    <a:pt x="130314" y="439508"/>
                  </a:lnTo>
                  <a:lnTo>
                    <a:pt x="115049" y="434035"/>
                  </a:lnTo>
                  <a:lnTo>
                    <a:pt x="99542" y="429780"/>
                  </a:lnTo>
                  <a:lnTo>
                    <a:pt x="87947" y="427418"/>
                  </a:lnTo>
                  <a:lnTo>
                    <a:pt x="78701" y="426377"/>
                  </a:lnTo>
                  <a:lnTo>
                    <a:pt x="70281" y="426161"/>
                  </a:lnTo>
                  <a:lnTo>
                    <a:pt x="64490" y="426161"/>
                  </a:lnTo>
                  <a:lnTo>
                    <a:pt x="58331" y="430161"/>
                  </a:lnTo>
                  <a:lnTo>
                    <a:pt x="59004" y="439508"/>
                  </a:lnTo>
                  <a:lnTo>
                    <a:pt x="54813" y="438289"/>
                  </a:lnTo>
                  <a:lnTo>
                    <a:pt x="49618" y="438289"/>
                  </a:lnTo>
                  <a:lnTo>
                    <a:pt x="46621" y="438442"/>
                  </a:lnTo>
                  <a:lnTo>
                    <a:pt x="43053" y="444995"/>
                  </a:lnTo>
                  <a:lnTo>
                    <a:pt x="40817" y="444563"/>
                  </a:lnTo>
                  <a:lnTo>
                    <a:pt x="36728" y="444157"/>
                  </a:lnTo>
                  <a:lnTo>
                    <a:pt x="32677" y="445401"/>
                  </a:lnTo>
                  <a:lnTo>
                    <a:pt x="29108" y="452208"/>
                  </a:lnTo>
                  <a:lnTo>
                    <a:pt x="26238" y="457301"/>
                  </a:lnTo>
                  <a:lnTo>
                    <a:pt x="22250" y="462216"/>
                  </a:lnTo>
                  <a:lnTo>
                    <a:pt x="14414" y="469836"/>
                  </a:lnTo>
                  <a:lnTo>
                    <a:pt x="0" y="483069"/>
                  </a:lnTo>
                  <a:lnTo>
                    <a:pt x="162013" y="483069"/>
                  </a:lnTo>
                  <a:lnTo>
                    <a:pt x="157289" y="472859"/>
                  </a:lnTo>
                  <a:lnTo>
                    <a:pt x="162013" y="463410"/>
                  </a:lnTo>
                  <a:close/>
                </a:path>
                <a:path w="656589" h="491490">
                  <a:moveTo>
                    <a:pt x="656145" y="204685"/>
                  </a:moveTo>
                  <a:lnTo>
                    <a:pt x="644118" y="30822"/>
                  </a:lnTo>
                  <a:lnTo>
                    <a:pt x="576110" y="0"/>
                  </a:lnTo>
                  <a:lnTo>
                    <a:pt x="574967" y="102489"/>
                  </a:lnTo>
                  <a:lnTo>
                    <a:pt x="573544" y="143090"/>
                  </a:lnTo>
                  <a:lnTo>
                    <a:pt x="564718" y="167271"/>
                  </a:lnTo>
                  <a:lnTo>
                    <a:pt x="540956" y="184619"/>
                  </a:lnTo>
                  <a:lnTo>
                    <a:pt x="494728" y="204698"/>
                  </a:lnTo>
                  <a:lnTo>
                    <a:pt x="448449" y="174866"/>
                  </a:lnTo>
                  <a:lnTo>
                    <a:pt x="424624" y="141274"/>
                  </a:lnTo>
                  <a:lnTo>
                    <a:pt x="415785" y="113842"/>
                  </a:lnTo>
                  <a:lnTo>
                    <a:pt x="414489" y="102489"/>
                  </a:lnTo>
                  <a:lnTo>
                    <a:pt x="413334" y="0"/>
                  </a:lnTo>
                  <a:lnTo>
                    <a:pt x="345338" y="30822"/>
                  </a:lnTo>
                  <a:lnTo>
                    <a:pt x="333286" y="204685"/>
                  </a:lnTo>
                  <a:lnTo>
                    <a:pt x="367626" y="444296"/>
                  </a:lnTo>
                  <a:lnTo>
                    <a:pt x="367626" y="490956"/>
                  </a:lnTo>
                  <a:lnTo>
                    <a:pt x="621830" y="490956"/>
                  </a:lnTo>
                  <a:lnTo>
                    <a:pt x="621830" y="444296"/>
                  </a:lnTo>
                  <a:lnTo>
                    <a:pt x="656145" y="204685"/>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5" name="object 85"/>
            <p:cNvSpPr/>
            <p:nvPr/>
          </p:nvSpPr>
          <p:spPr>
            <a:xfrm>
              <a:off x="3801240" y="6352881"/>
              <a:ext cx="80010" cy="311150"/>
            </a:xfrm>
            <a:custGeom>
              <a:avLst/>
              <a:gdLst/>
              <a:ahLst/>
              <a:cxnLst/>
              <a:rect l="l" t="t" r="r" b="b"/>
              <a:pathLst>
                <a:path w="80010" h="311150">
                  <a:moveTo>
                    <a:pt x="54825" y="0"/>
                  </a:moveTo>
                  <a:lnTo>
                    <a:pt x="25793" y="63"/>
                  </a:lnTo>
                  <a:lnTo>
                    <a:pt x="24561" y="63"/>
                  </a:lnTo>
                  <a:lnTo>
                    <a:pt x="23623" y="977"/>
                  </a:lnTo>
                  <a:lnTo>
                    <a:pt x="23571" y="12954"/>
                  </a:lnTo>
                  <a:lnTo>
                    <a:pt x="24561" y="13931"/>
                  </a:lnTo>
                  <a:lnTo>
                    <a:pt x="25704" y="13931"/>
                  </a:lnTo>
                  <a:lnTo>
                    <a:pt x="25704" y="81940"/>
                  </a:lnTo>
                  <a:lnTo>
                    <a:pt x="27" y="122174"/>
                  </a:lnTo>
                  <a:lnTo>
                    <a:pt x="0" y="302171"/>
                  </a:lnTo>
                  <a:lnTo>
                    <a:pt x="3563" y="306363"/>
                  </a:lnTo>
                  <a:lnTo>
                    <a:pt x="12811" y="309048"/>
                  </a:lnTo>
                  <a:lnTo>
                    <a:pt x="25578" y="310475"/>
                  </a:lnTo>
                  <a:lnTo>
                    <a:pt x="39700" y="310896"/>
                  </a:lnTo>
                  <a:lnTo>
                    <a:pt x="53113" y="310443"/>
                  </a:lnTo>
                  <a:lnTo>
                    <a:pt x="65955" y="308943"/>
                  </a:lnTo>
                  <a:lnTo>
                    <a:pt x="75595" y="306181"/>
                  </a:lnTo>
                  <a:lnTo>
                    <a:pt x="79400" y="301942"/>
                  </a:lnTo>
                  <a:lnTo>
                    <a:pt x="79400" y="122174"/>
                  </a:lnTo>
                  <a:lnTo>
                    <a:pt x="77495" y="108942"/>
                  </a:lnTo>
                  <a:lnTo>
                    <a:pt x="72178" y="97391"/>
                  </a:lnTo>
                  <a:lnTo>
                    <a:pt x="64050" y="88157"/>
                  </a:lnTo>
                  <a:lnTo>
                    <a:pt x="53812" y="81940"/>
                  </a:lnTo>
                  <a:lnTo>
                    <a:pt x="53721" y="13855"/>
                  </a:lnTo>
                  <a:lnTo>
                    <a:pt x="54825" y="13843"/>
                  </a:lnTo>
                  <a:lnTo>
                    <a:pt x="55774" y="12954"/>
                  </a:lnTo>
                  <a:lnTo>
                    <a:pt x="55841" y="977"/>
                  </a:lnTo>
                  <a:lnTo>
                    <a:pt x="54825" y="0"/>
                  </a:lnTo>
                  <a:close/>
                </a:path>
              </a:pathLst>
            </a:custGeom>
            <a:solidFill>
              <a:srgbClr val="880B0D"/>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6" name="object 86"/>
            <p:cNvSpPr/>
            <p:nvPr/>
          </p:nvSpPr>
          <p:spPr>
            <a:xfrm>
              <a:off x="3806507" y="6355270"/>
              <a:ext cx="42545" cy="299720"/>
            </a:xfrm>
            <a:custGeom>
              <a:avLst/>
              <a:gdLst/>
              <a:ahLst/>
              <a:cxnLst/>
              <a:rect l="l" t="t" r="r" b="b"/>
              <a:pathLst>
                <a:path w="42545" h="299720">
                  <a:moveTo>
                    <a:pt x="25844" y="88557"/>
                  </a:moveTo>
                  <a:lnTo>
                    <a:pt x="10693" y="88988"/>
                  </a:lnTo>
                  <a:lnTo>
                    <a:pt x="2946" y="92011"/>
                  </a:lnTo>
                  <a:lnTo>
                    <a:pt x="190" y="100215"/>
                  </a:lnTo>
                  <a:lnTo>
                    <a:pt x="0" y="116192"/>
                  </a:lnTo>
                  <a:lnTo>
                    <a:pt x="0" y="299554"/>
                  </a:lnTo>
                  <a:lnTo>
                    <a:pt x="9690" y="299554"/>
                  </a:lnTo>
                  <a:lnTo>
                    <a:pt x="9690" y="116192"/>
                  </a:lnTo>
                  <a:lnTo>
                    <a:pt x="9944" y="102044"/>
                  </a:lnTo>
                  <a:lnTo>
                    <a:pt x="11709" y="94449"/>
                  </a:lnTo>
                  <a:lnTo>
                    <a:pt x="16497" y="90817"/>
                  </a:lnTo>
                  <a:lnTo>
                    <a:pt x="25844" y="88557"/>
                  </a:lnTo>
                  <a:close/>
                </a:path>
                <a:path w="42545" h="299720">
                  <a:moveTo>
                    <a:pt x="42468" y="0"/>
                  </a:moveTo>
                  <a:lnTo>
                    <a:pt x="20066" y="0"/>
                  </a:lnTo>
                  <a:lnTo>
                    <a:pt x="20066" y="3073"/>
                  </a:lnTo>
                  <a:lnTo>
                    <a:pt x="42468" y="0"/>
                  </a:lnTo>
                  <a:close/>
                </a:path>
              </a:pathLst>
            </a:custGeom>
            <a:solidFill>
              <a:srgbClr val="B41A1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7" name="object 87"/>
            <p:cNvSpPr/>
            <p:nvPr/>
          </p:nvSpPr>
          <p:spPr>
            <a:xfrm>
              <a:off x="3897919" y="6366103"/>
              <a:ext cx="94615" cy="297815"/>
            </a:xfrm>
            <a:custGeom>
              <a:avLst/>
              <a:gdLst/>
              <a:ahLst/>
              <a:cxnLst/>
              <a:rect l="l" t="t" r="r" b="b"/>
              <a:pathLst>
                <a:path w="94614" h="297815">
                  <a:moveTo>
                    <a:pt x="60960" y="0"/>
                  </a:moveTo>
                  <a:lnTo>
                    <a:pt x="33159" y="76"/>
                  </a:lnTo>
                  <a:lnTo>
                    <a:pt x="31914" y="76"/>
                  </a:lnTo>
                  <a:lnTo>
                    <a:pt x="30988" y="990"/>
                  </a:lnTo>
                  <a:lnTo>
                    <a:pt x="30937" y="12966"/>
                  </a:lnTo>
                  <a:lnTo>
                    <a:pt x="31927" y="13919"/>
                  </a:lnTo>
                  <a:lnTo>
                    <a:pt x="33070" y="13919"/>
                  </a:lnTo>
                  <a:lnTo>
                    <a:pt x="33083" y="81940"/>
                  </a:lnTo>
                  <a:lnTo>
                    <a:pt x="21581" y="88280"/>
                  </a:lnTo>
                  <a:lnTo>
                    <a:pt x="10912" y="97558"/>
                  </a:lnTo>
                  <a:lnTo>
                    <a:pt x="3058" y="109136"/>
                  </a:lnTo>
                  <a:lnTo>
                    <a:pt x="0" y="122377"/>
                  </a:lnTo>
                  <a:lnTo>
                    <a:pt x="7365" y="288937"/>
                  </a:lnTo>
                  <a:lnTo>
                    <a:pt x="10929" y="293137"/>
                  </a:lnTo>
                  <a:lnTo>
                    <a:pt x="20178" y="295825"/>
                  </a:lnTo>
                  <a:lnTo>
                    <a:pt x="32949" y="297254"/>
                  </a:lnTo>
                  <a:lnTo>
                    <a:pt x="47078" y="297675"/>
                  </a:lnTo>
                  <a:lnTo>
                    <a:pt x="60497" y="297222"/>
                  </a:lnTo>
                  <a:lnTo>
                    <a:pt x="73339" y="295722"/>
                  </a:lnTo>
                  <a:lnTo>
                    <a:pt x="82976" y="292960"/>
                  </a:lnTo>
                  <a:lnTo>
                    <a:pt x="86779" y="288721"/>
                  </a:lnTo>
                  <a:lnTo>
                    <a:pt x="94145" y="122173"/>
                  </a:lnTo>
                  <a:lnTo>
                    <a:pt x="91088" y="108942"/>
                  </a:lnTo>
                  <a:lnTo>
                    <a:pt x="83238" y="97393"/>
                  </a:lnTo>
                  <a:lnTo>
                    <a:pt x="72574" y="88162"/>
                  </a:lnTo>
                  <a:lnTo>
                    <a:pt x="61167" y="81940"/>
                  </a:lnTo>
                  <a:lnTo>
                    <a:pt x="61087" y="13855"/>
                  </a:lnTo>
                  <a:lnTo>
                    <a:pt x="62204" y="13855"/>
                  </a:lnTo>
                  <a:lnTo>
                    <a:pt x="63116" y="12966"/>
                  </a:lnTo>
                  <a:lnTo>
                    <a:pt x="63207" y="990"/>
                  </a:lnTo>
                  <a:lnTo>
                    <a:pt x="62269" y="76"/>
                  </a:lnTo>
                  <a:lnTo>
                    <a:pt x="31927" y="63"/>
                  </a:lnTo>
                  <a:lnTo>
                    <a:pt x="62256" y="63"/>
                  </a:lnTo>
                  <a:lnTo>
                    <a:pt x="60960" y="0"/>
                  </a:lnTo>
                  <a:close/>
                </a:path>
              </a:pathLst>
            </a:custGeom>
            <a:solidFill>
              <a:srgbClr val="A7A9AC"/>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8" name="object 88"/>
            <p:cNvSpPr/>
            <p:nvPr/>
          </p:nvSpPr>
          <p:spPr>
            <a:xfrm>
              <a:off x="3904673" y="6453055"/>
              <a:ext cx="33655" cy="200025"/>
            </a:xfrm>
            <a:custGeom>
              <a:avLst/>
              <a:gdLst/>
              <a:ahLst/>
              <a:cxnLst/>
              <a:rect l="l" t="t" r="r" b="b"/>
              <a:pathLst>
                <a:path w="33654" h="200025">
                  <a:moveTo>
                    <a:pt x="33445" y="0"/>
                  </a:moveTo>
                  <a:lnTo>
                    <a:pt x="13089" y="3882"/>
                  </a:lnTo>
                  <a:lnTo>
                    <a:pt x="2947" y="8963"/>
                  </a:lnTo>
                  <a:lnTo>
                    <a:pt x="0" y="18648"/>
                  </a:lnTo>
                  <a:lnTo>
                    <a:pt x="1225" y="36347"/>
                  </a:lnTo>
                  <a:lnTo>
                    <a:pt x="8946" y="199644"/>
                  </a:lnTo>
                  <a:lnTo>
                    <a:pt x="14446" y="199644"/>
                  </a:lnTo>
                  <a:lnTo>
                    <a:pt x="14446" y="39128"/>
                  </a:lnTo>
                  <a:lnTo>
                    <a:pt x="14742" y="22143"/>
                  </a:lnTo>
                  <a:lnTo>
                    <a:pt x="16820" y="12406"/>
                  </a:lnTo>
                  <a:lnTo>
                    <a:pt x="22461" y="6247"/>
                  </a:lnTo>
                  <a:lnTo>
                    <a:pt x="33445" y="0"/>
                  </a:lnTo>
                  <a:close/>
                </a:path>
              </a:pathLst>
            </a:custGeom>
            <a:solidFill>
              <a:srgbClr val="D1D3D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9" name="object 89"/>
            <p:cNvSpPr/>
            <p:nvPr/>
          </p:nvSpPr>
          <p:spPr>
            <a:xfrm>
              <a:off x="3930633" y="6368489"/>
              <a:ext cx="22860" cy="3175"/>
            </a:xfrm>
            <a:custGeom>
              <a:avLst/>
              <a:gdLst/>
              <a:ahLst/>
              <a:cxnLst/>
              <a:rect l="l" t="t" r="r" b="b"/>
              <a:pathLst>
                <a:path w="22860" h="3175">
                  <a:moveTo>
                    <a:pt x="22402" y="0"/>
                  </a:moveTo>
                  <a:lnTo>
                    <a:pt x="0" y="0"/>
                  </a:lnTo>
                  <a:lnTo>
                    <a:pt x="0" y="3073"/>
                  </a:lnTo>
                  <a:lnTo>
                    <a:pt x="22402" y="0"/>
                  </a:lnTo>
                  <a:close/>
                </a:path>
              </a:pathLst>
            </a:custGeom>
            <a:solidFill>
              <a:srgbClr val="A7A9AC"/>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0" name="object 90"/>
            <p:cNvSpPr/>
            <p:nvPr/>
          </p:nvSpPr>
          <p:spPr>
            <a:xfrm>
              <a:off x="3984516" y="5900407"/>
              <a:ext cx="185420" cy="267335"/>
            </a:xfrm>
            <a:custGeom>
              <a:avLst/>
              <a:gdLst/>
              <a:ahLst/>
              <a:cxnLst/>
              <a:rect l="l" t="t" r="r" b="b"/>
              <a:pathLst>
                <a:path w="185420" h="267335">
                  <a:moveTo>
                    <a:pt x="167610" y="183348"/>
                  </a:moveTo>
                  <a:lnTo>
                    <a:pt x="23923" y="183348"/>
                  </a:lnTo>
                  <a:lnTo>
                    <a:pt x="25544" y="194208"/>
                  </a:lnTo>
                  <a:lnTo>
                    <a:pt x="44100" y="233524"/>
                  </a:lnTo>
                  <a:lnTo>
                    <a:pt x="74481" y="261279"/>
                  </a:lnTo>
                  <a:lnTo>
                    <a:pt x="83435" y="267015"/>
                  </a:lnTo>
                  <a:lnTo>
                    <a:pt x="99501" y="267015"/>
                  </a:lnTo>
                  <a:lnTo>
                    <a:pt x="138825" y="233524"/>
                  </a:lnTo>
                  <a:lnTo>
                    <a:pt x="157400" y="194089"/>
                  </a:lnTo>
                  <a:lnTo>
                    <a:pt x="158988" y="183475"/>
                  </a:lnTo>
                  <a:lnTo>
                    <a:pt x="167543" y="183475"/>
                  </a:lnTo>
                  <a:lnTo>
                    <a:pt x="167610" y="183348"/>
                  </a:lnTo>
                  <a:close/>
                </a:path>
                <a:path w="185420" h="267335">
                  <a:moveTo>
                    <a:pt x="90147" y="0"/>
                  </a:moveTo>
                  <a:lnTo>
                    <a:pt x="60405" y="6693"/>
                  </a:lnTo>
                  <a:lnTo>
                    <a:pt x="31429" y="23633"/>
                  </a:lnTo>
                  <a:lnTo>
                    <a:pt x="12677" y="44336"/>
                  </a:lnTo>
                  <a:lnTo>
                    <a:pt x="6653" y="61279"/>
                  </a:lnTo>
                  <a:lnTo>
                    <a:pt x="7403" y="72721"/>
                  </a:lnTo>
                  <a:lnTo>
                    <a:pt x="8975" y="76922"/>
                  </a:lnTo>
                  <a:lnTo>
                    <a:pt x="8975" y="116978"/>
                  </a:lnTo>
                  <a:lnTo>
                    <a:pt x="1937" y="123622"/>
                  </a:lnTo>
                  <a:lnTo>
                    <a:pt x="0" y="132199"/>
                  </a:lnTo>
                  <a:lnTo>
                    <a:pt x="667" y="139613"/>
                  </a:lnTo>
                  <a:lnTo>
                    <a:pt x="13090" y="179436"/>
                  </a:lnTo>
                  <a:lnTo>
                    <a:pt x="17738" y="188314"/>
                  </a:lnTo>
                  <a:lnTo>
                    <a:pt x="23923" y="183361"/>
                  </a:lnTo>
                  <a:lnTo>
                    <a:pt x="167610" y="183348"/>
                  </a:lnTo>
                  <a:lnTo>
                    <a:pt x="180125" y="147246"/>
                  </a:lnTo>
                  <a:lnTo>
                    <a:pt x="181289" y="142771"/>
                  </a:lnTo>
                  <a:lnTo>
                    <a:pt x="184832" y="131157"/>
                  </a:lnTo>
                  <a:lnTo>
                    <a:pt x="185200" y="124579"/>
                  </a:lnTo>
                  <a:lnTo>
                    <a:pt x="181664" y="120601"/>
                  </a:lnTo>
                  <a:lnTo>
                    <a:pt x="173491" y="116787"/>
                  </a:lnTo>
                  <a:lnTo>
                    <a:pt x="173408" y="72721"/>
                  </a:lnTo>
                  <a:lnTo>
                    <a:pt x="172879" y="45997"/>
                  </a:lnTo>
                  <a:lnTo>
                    <a:pt x="158730" y="28135"/>
                  </a:lnTo>
                  <a:lnTo>
                    <a:pt x="142119" y="19922"/>
                  </a:lnTo>
                  <a:lnTo>
                    <a:pt x="134121" y="17943"/>
                  </a:lnTo>
                  <a:lnTo>
                    <a:pt x="116204" y="3700"/>
                  </a:lnTo>
                  <a:lnTo>
                    <a:pt x="90147" y="0"/>
                  </a:lnTo>
                  <a:close/>
                </a:path>
                <a:path w="185420" h="267335">
                  <a:moveTo>
                    <a:pt x="167543" y="183475"/>
                  </a:moveTo>
                  <a:lnTo>
                    <a:pt x="158988" y="183475"/>
                  </a:lnTo>
                  <a:lnTo>
                    <a:pt x="159775" y="184046"/>
                  </a:lnTo>
                  <a:lnTo>
                    <a:pt x="165338" y="187666"/>
                  </a:lnTo>
                  <a:lnTo>
                    <a:pt x="167543" y="183475"/>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91" name="object 91"/>
            <p:cNvPicPr/>
            <p:nvPr/>
          </p:nvPicPr>
          <p:blipFill>
            <a:blip r:embed="rId24" cstate="print"/>
            <a:stretch>
              <a:fillRect/>
            </a:stretch>
          </p:blipFill>
          <p:spPr>
            <a:xfrm>
              <a:off x="3981149" y="6018429"/>
              <a:ext cx="187984" cy="143843"/>
            </a:xfrm>
            <a:prstGeom prst="rect">
              <a:avLst/>
            </a:prstGeom>
          </p:spPr>
        </p:pic>
        <p:pic>
          <p:nvPicPr>
            <p:cNvPr id="92" name="object 92"/>
            <p:cNvPicPr/>
            <p:nvPr/>
          </p:nvPicPr>
          <p:blipFill>
            <a:blip r:embed="rId25" cstate="print"/>
            <a:stretch>
              <a:fillRect/>
            </a:stretch>
          </p:blipFill>
          <p:spPr>
            <a:xfrm>
              <a:off x="3340735" y="6699084"/>
              <a:ext cx="2736303" cy="1073315"/>
            </a:xfrm>
            <a:prstGeom prst="rect">
              <a:avLst/>
            </a:prstGeom>
          </p:spPr>
        </p:pic>
        <p:sp>
          <p:nvSpPr>
            <p:cNvPr id="93" name="object 93"/>
            <p:cNvSpPr/>
            <p:nvPr/>
          </p:nvSpPr>
          <p:spPr>
            <a:xfrm>
              <a:off x="3170580" y="6648856"/>
              <a:ext cx="3063875" cy="56515"/>
            </a:xfrm>
            <a:custGeom>
              <a:avLst/>
              <a:gdLst/>
              <a:ahLst/>
              <a:cxnLst/>
              <a:rect l="l" t="t" r="r" b="b"/>
              <a:pathLst>
                <a:path w="3063875" h="56515">
                  <a:moveTo>
                    <a:pt x="3063684" y="0"/>
                  </a:moveTo>
                  <a:lnTo>
                    <a:pt x="0" y="0"/>
                  </a:lnTo>
                  <a:lnTo>
                    <a:pt x="0" y="56095"/>
                  </a:lnTo>
                  <a:lnTo>
                    <a:pt x="3063684" y="56095"/>
                  </a:lnTo>
                  <a:lnTo>
                    <a:pt x="3063684" y="0"/>
                  </a:lnTo>
                  <a:close/>
                </a:path>
              </a:pathLst>
            </a:custGeom>
            <a:solidFill>
              <a:srgbClr val="414042"/>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94" name="object 94"/>
            <p:cNvPicPr/>
            <p:nvPr/>
          </p:nvPicPr>
          <p:blipFill>
            <a:blip r:embed="rId26" cstate="print"/>
            <a:stretch>
              <a:fillRect/>
            </a:stretch>
          </p:blipFill>
          <p:spPr>
            <a:xfrm>
              <a:off x="3284731" y="6422085"/>
              <a:ext cx="104336" cy="226479"/>
            </a:xfrm>
            <a:prstGeom prst="rect">
              <a:avLst/>
            </a:prstGeom>
          </p:spPr>
        </p:pic>
        <p:sp>
          <p:nvSpPr>
            <p:cNvPr id="95" name="object 95"/>
            <p:cNvSpPr/>
            <p:nvPr/>
          </p:nvSpPr>
          <p:spPr>
            <a:xfrm>
              <a:off x="6084608" y="6475780"/>
              <a:ext cx="31115" cy="18415"/>
            </a:xfrm>
            <a:custGeom>
              <a:avLst/>
              <a:gdLst/>
              <a:ahLst/>
              <a:cxnLst/>
              <a:rect l="l" t="t" r="r" b="b"/>
              <a:pathLst>
                <a:path w="31114" h="18414">
                  <a:moveTo>
                    <a:pt x="30683" y="0"/>
                  </a:moveTo>
                  <a:lnTo>
                    <a:pt x="0" y="0"/>
                  </a:lnTo>
                  <a:lnTo>
                    <a:pt x="0" y="18313"/>
                  </a:lnTo>
                  <a:lnTo>
                    <a:pt x="30683" y="18313"/>
                  </a:lnTo>
                  <a:lnTo>
                    <a:pt x="30683" y="0"/>
                  </a:lnTo>
                  <a:close/>
                </a:path>
              </a:pathLst>
            </a:custGeom>
            <a:solidFill>
              <a:srgbClr val="414141"/>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6" name="object 96"/>
            <p:cNvSpPr/>
            <p:nvPr/>
          </p:nvSpPr>
          <p:spPr>
            <a:xfrm>
              <a:off x="6081471" y="6454000"/>
              <a:ext cx="37465" cy="31115"/>
            </a:xfrm>
            <a:custGeom>
              <a:avLst/>
              <a:gdLst/>
              <a:ahLst/>
              <a:cxnLst/>
              <a:rect l="l" t="t" r="r" b="b"/>
              <a:pathLst>
                <a:path w="37464" h="31114">
                  <a:moveTo>
                    <a:pt x="36944" y="9842"/>
                  </a:moveTo>
                  <a:lnTo>
                    <a:pt x="36029" y="8928"/>
                  </a:lnTo>
                  <a:lnTo>
                    <a:pt x="32918" y="8928"/>
                  </a:lnTo>
                  <a:lnTo>
                    <a:pt x="32918" y="2641"/>
                  </a:lnTo>
                  <a:lnTo>
                    <a:pt x="32918" y="1181"/>
                  </a:lnTo>
                  <a:lnTo>
                    <a:pt x="31737" y="0"/>
                  </a:lnTo>
                  <a:lnTo>
                    <a:pt x="5194" y="0"/>
                  </a:lnTo>
                  <a:lnTo>
                    <a:pt x="4013" y="1181"/>
                  </a:lnTo>
                  <a:lnTo>
                    <a:pt x="4013" y="8928"/>
                  </a:lnTo>
                  <a:lnTo>
                    <a:pt x="927" y="8928"/>
                  </a:lnTo>
                  <a:lnTo>
                    <a:pt x="0" y="9842"/>
                  </a:lnTo>
                  <a:lnTo>
                    <a:pt x="0" y="30035"/>
                  </a:lnTo>
                  <a:lnTo>
                    <a:pt x="914" y="30949"/>
                  </a:lnTo>
                  <a:lnTo>
                    <a:pt x="34886" y="30949"/>
                  </a:lnTo>
                  <a:lnTo>
                    <a:pt x="36017" y="30949"/>
                  </a:lnTo>
                  <a:lnTo>
                    <a:pt x="36931" y="30035"/>
                  </a:lnTo>
                  <a:lnTo>
                    <a:pt x="36944" y="10972"/>
                  </a:lnTo>
                  <a:lnTo>
                    <a:pt x="36944" y="9842"/>
                  </a:lnTo>
                  <a:close/>
                </a:path>
              </a:pathLst>
            </a:custGeom>
            <a:solidFill>
              <a:srgbClr val="4D4D4D"/>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7" name="object 97"/>
            <p:cNvSpPr/>
            <p:nvPr/>
          </p:nvSpPr>
          <p:spPr>
            <a:xfrm>
              <a:off x="6094641" y="6439484"/>
              <a:ext cx="10795" cy="14604"/>
            </a:xfrm>
            <a:custGeom>
              <a:avLst/>
              <a:gdLst/>
              <a:ahLst/>
              <a:cxnLst/>
              <a:rect l="l" t="t" r="r" b="b"/>
              <a:pathLst>
                <a:path w="10795" h="14604">
                  <a:moveTo>
                    <a:pt x="10604" y="0"/>
                  </a:moveTo>
                  <a:lnTo>
                    <a:pt x="0" y="0"/>
                  </a:lnTo>
                  <a:lnTo>
                    <a:pt x="0" y="14503"/>
                  </a:lnTo>
                  <a:lnTo>
                    <a:pt x="10604" y="14503"/>
                  </a:lnTo>
                  <a:lnTo>
                    <a:pt x="10604" y="0"/>
                  </a:lnTo>
                  <a:close/>
                </a:path>
              </a:pathLst>
            </a:custGeom>
            <a:solidFill>
              <a:srgbClr val="CCCCCC"/>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8" name="object 98"/>
            <p:cNvSpPr/>
            <p:nvPr/>
          </p:nvSpPr>
          <p:spPr>
            <a:xfrm>
              <a:off x="6081464" y="6422085"/>
              <a:ext cx="66040" cy="17780"/>
            </a:xfrm>
            <a:custGeom>
              <a:avLst/>
              <a:gdLst/>
              <a:ahLst/>
              <a:cxnLst/>
              <a:rect l="l" t="t" r="r" b="b"/>
              <a:pathLst>
                <a:path w="66039" h="17779">
                  <a:moveTo>
                    <a:pt x="65646" y="0"/>
                  </a:moveTo>
                  <a:lnTo>
                    <a:pt x="9525" y="0"/>
                  </a:lnTo>
                  <a:lnTo>
                    <a:pt x="5842" y="1816"/>
                  </a:lnTo>
                  <a:lnTo>
                    <a:pt x="3352" y="4686"/>
                  </a:lnTo>
                  <a:lnTo>
                    <a:pt x="1270" y="7086"/>
                  </a:lnTo>
                  <a:lnTo>
                    <a:pt x="0" y="10223"/>
                  </a:lnTo>
                  <a:lnTo>
                    <a:pt x="25" y="15722"/>
                  </a:lnTo>
                  <a:lnTo>
                    <a:pt x="1701" y="17399"/>
                  </a:lnTo>
                  <a:lnTo>
                    <a:pt x="35991" y="17399"/>
                  </a:lnTo>
                  <a:lnTo>
                    <a:pt x="36957" y="16433"/>
                  </a:lnTo>
                  <a:lnTo>
                    <a:pt x="36995" y="14058"/>
                  </a:lnTo>
                  <a:lnTo>
                    <a:pt x="37350" y="11036"/>
                  </a:lnTo>
                  <a:lnTo>
                    <a:pt x="39916" y="8699"/>
                  </a:lnTo>
                  <a:lnTo>
                    <a:pt x="64033" y="8699"/>
                  </a:lnTo>
                  <a:lnTo>
                    <a:pt x="65925" y="6807"/>
                  </a:lnTo>
                  <a:lnTo>
                    <a:pt x="65925" y="279"/>
                  </a:lnTo>
                  <a:lnTo>
                    <a:pt x="65646" y="0"/>
                  </a:lnTo>
                  <a:close/>
                </a:path>
              </a:pathLst>
            </a:custGeom>
            <a:solidFill>
              <a:srgbClr val="4D4D4D"/>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9" name="object 99"/>
            <p:cNvSpPr/>
            <p:nvPr/>
          </p:nvSpPr>
          <p:spPr>
            <a:xfrm>
              <a:off x="6099952" y="6484945"/>
              <a:ext cx="15875" cy="6985"/>
            </a:xfrm>
            <a:custGeom>
              <a:avLst/>
              <a:gdLst/>
              <a:ahLst/>
              <a:cxnLst/>
              <a:rect l="l" t="t" r="r" b="b"/>
              <a:pathLst>
                <a:path w="15875" h="6985">
                  <a:moveTo>
                    <a:pt x="15341" y="0"/>
                  </a:moveTo>
                  <a:lnTo>
                    <a:pt x="0" y="0"/>
                  </a:lnTo>
                  <a:lnTo>
                    <a:pt x="0" y="6007"/>
                  </a:lnTo>
                  <a:lnTo>
                    <a:pt x="10096" y="6007"/>
                  </a:lnTo>
                  <a:lnTo>
                    <a:pt x="12763" y="6299"/>
                  </a:lnTo>
                  <a:lnTo>
                    <a:pt x="15341" y="6845"/>
                  </a:lnTo>
                  <a:lnTo>
                    <a:pt x="15341" y="0"/>
                  </a:lnTo>
                  <a:close/>
                </a:path>
              </a:pathLst>
            </a:custGeom>
            <a:solidFill>
              <a:srgbClr val="34343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0" name="object 100"/>
            <p:cNvSpPr/>
            <p:nvPr/>
          </p:nvSpPr>
          <p:spPr>
            <a:xfrm>
              <a:off x="6102595" y="6439486"/>
              <a:ext cx="3175" cy="14604"/>
            </a:xfrm>
            <a:custGeom>
              <a:avLst/>
              <a:gdLst/>
              <a:ahLst/>
              <a:cxnLst/>
              <a:rect l="l" t="t" r="r" b="b"/>
              <a:pathLst>
                <a:path w="3175" h="14604">
                  <a:moveTo>
                    <a:pt x="2654" y="0"/>
                  </a:moveTo>
                  <a:lnTo>
                    <a:pt x="0" y="0"/>
                  </a:lnTo>
                  <a:lnTo>
                    <a:pt x="0" y="14503"/>
                  </a:lnTo>
                  <a:lnTo>
                    <a:pt x="2654" y="14503"/>
                  </a:lnTo>
                  <a:lnTo>
                    <a:pt x="2654" y="0"/>
                  </a:lnTo>
                  <a:close/>
                </a:path>
              </a:pathLst>
            </a:custGeom>
            <a:solidFill>
              <a:srgbClr val="A2A2A2"/>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1" name="object 101"/>
            <p:cNvSpPr/>
            <p:nvPr/>
          </p:nvSpPr>
          <p:spPr>
            <a:xfrm>
              <a:off x="6047785" y="6490952"/>
              <a:ext cx="104775" cy="158115"/>
            </a:xfrm>
            <a:custGeom>
              <a:avLst/>
              <a:gdLst/>
              <a:ahLst/>
              <a:cxnLst/>
              <a:rect l="l" t="t" r="r" b="b"/>
              <a:pathLst>
                <a:path w="104775" h="158115">
                  <a:moveTo>
                    <a:pt x="59537" y="0"/>
                  </a:moveTo>
                  <a:lnTo>
                    <a:pt x="44780" y="0"/>
                  </a:lnTo>
                  <a:lnTo>
                    <a:pt x="30257" y="2845"/>
                  </a:lnTo>
                  <a:lnTo>
                    <a:pt x="1816" y="37960"/>
                  </a:lnTo>
                  <a:lnTo>
                    <a:pt x="0" y="49148"/>
                  </a:lnTo>
                  <a:lnTo>
                    <a:pt x="0" y="152869"/>
                  </a:lnTo>
                  <a:lnTo>
                    <a:pt x="4000" y="157606"/>
                  </a:lnTo>
                  <a:lnTo>
                    <a:pt x="100317" y="157606"/>
                  </a:lnTo>
                  <a:lnTo>
                    <a:pt x="104330" y="152869"/>
                  </a:lnTo>
                  <a:lnTo>
                    <a:pt x="104330" y="52958"/>
                  </a:lnTo>
                  <a:lnTo>
                    <a:pt x="104330" y="49148"/>
                  </a:lnTo>
                  <a:lnTo>
                    <a:pt x="87502" y="11582"/>
                  </a:lnTo>
                  <a:lnTo>
                    <a:pt x="67293" y="791"/>
                  </a:lnTo>
                  <a:lnTo>
                    <a:pt x="59537" y="0"/>
                  </a:lnTo>
                  <a:close/>
                </a:path>
              </a:pathLst>
            </a:custGeom>
            <a:solidFill>
              <a:srgbClr val="F1F1F1"/>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2" name="object 102"/>
            <p:cNvSpPr/>
            <p:nvPr/>
          </p:nvSpPr>
          <p:spPr>
            <a:xfrm>
              <a:off x="6084608" y="6484937"/>
              <a:ext cx="15875" cy="1905"/>
            </a:xfrm>
            <a:custGeom>
              <a:avLst/>
              <a:gdLst/>
              <a:ahLst/>
              <a:cxnLst/>
              <a:rect l="l" t="t" r="r" b="b"/>
              <a:pathLst>
                <a:path w="15875" h="1904">
                  <a:moveTo>
                    <a:pt x="15341" y="0"/>
                  </a:moveTo>
                  <a:lnTo>
                    <a:pt x="0" y="0"/>
                  </a:lnTo>
                  <a:lnTo>
                    <a:pt x="0" y="1866"/>
                  </a:lnTo>
                  <a:lnTo>
                    <a:pt x="15341" y="1866"/>
                  </a:lnTo>
                  <a:lnTo>
                    <a:pt x="15341" y="0"/>
                  </a:lnTo>
                  <a:close/>
                </a:path>
              </a:pathLst>
            </a:custGeom>
            <a:solidFill>
              <a:srgbClr val="34343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3" name="object 103"/>
            <p:cNvSpPr/>
            <p:nvPr/>
          </p:nvSpPr>
          <p:spPr>
            <a:xfrm>
              <a:off x="6085496" y="6461658"/>
              <a:ext cx="29209" cy="1270"/>
            </a:xfrm>
            <a:custGeom>
              <a:avLst/>
              <a:gdLst/>
              <a:ahLst/>
              <a:cxnLst/>
              <a:rect l="l" t="t" r="r" b="b"/>
              <a:pathLst>
                <a:path w="29210" h="1270">
                  <a:moveTo>
                    <a:pt x="28905" y="0"/>
                  </a:moveTo>
                  <a:lnTo>
                    <a:pt x="0" y="0"/>
                  </a:lnTo>
                  <a:lnTo>
                    <a:pt x="0" y="1257"/>
                  </a:lnTo>
                  <a:lnTo>
                    <a:pt x="28905" y="1257"/>
                  </a:lnTo>
                  <a:lnTo>
                    <a:pt x="28905" y="0"/>
                  </a:lnTo>
                  <a:close/>
                </a:path>
              </a:pathLst>
            </a:custGeom>
            <a:solidFill>
              <a:srgbClr val="3D3D3D"/>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4" name="object 104"/>
            <p:cNvSpPr/>
            <p:nvPr/>
          </p:nvSpPr>
          <p:spPr>
            <a:xfrm>
              <a:off x="6094653" y="6439484"/>
              <a:ext cx="8255" cy="1270"/>
            </a:xfrm>
            <a:custGeom>
              <a:avLst/>
              <a:gdLst/>
              <a:ahLst/>
              <a:cxnLst/>
              <a:rect l="l" t="t" r="r" b="b"/>
              <a:pathLst>
                <a:path w="8254" h="1270">
                  <a:moveTo>
                    <a:pt x="7950" y="0"/>
                  </a:moveTo>
                  <a:lnTo>
                    <a:pt x="0" y="0"/>
                  </a:lnTo>
                  <a:lnTo>
                    <a:pt x="0" y="1003"/>
                  </a:lnTo>
                  <a:lnTo>
                    <a:pt x="7950" y="1003"/>
                  </a:lnTo>
                  <a:lnTo>
                    <a:pt x="7950" y="0"/>
                  </a:lnTo>
                  <a:close/>
                </a:path>
              </a:pathLst>
            </a:custGeom>
            <a:solidFill>
              <a:srgbClr val="A2A2A2"/>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5" name="object 105"/>
            <p:cNvSpPr/>
            <p:nvPr/>
          </p:nvSpPr>
          <p:spPr>
            <a:xfrm>
              <a:off x="6081477" y="6429165"/>
              <a:ext cx="1270" cy="6985"/>
            </a:xfrm>
            <a:custGeom>
              <a:avLst/>
              <a:gdLst/>
              <a:ahLst/>
              <a:cxnLst/>
              <a:rect l="l" t="t" r="r" b="b"/>
              <a:pathLst>
                <a:path w="1270" h="6985">
                  <a:moveTo>
                    <a:pt x="1259" y="0"/>
                  </a:moveTo>
                  <a:lnTo>
                    <a:pt x="0" y="3111"/>
                  </a:lnTo>
                  <a:lnTo>
                    <a:pt x="2" y="6565"/>
                  </a:lnTo>
                  <a:lnTo>
                    <a:pt x="2" y="3111"/>
                  </a:lnTo>
                  <a:lnTo>
                    <a:pt x="1259" y="0"/>
                  </a:lnTo>
                  <a:close/>
                </a:path>
              </a:pathLst>
            </a:custGeom>
            <a:solidFill>
              <a:srgbClr val="E7E7E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6" name="object 106"/>
            <p:cNvSpPr/>
            <p:nvPr/>
          </p:nvSpPr>
          <p:spPr>
            <a:xfrm>
              <a:off x="6081458" y="6422085"/>
              <a:ext cx="37465" cy="17780"/>
            </a:xfrm>
            <a:custGeom>
              <a:avLst/>
              <a:gdLst/>
              <a:ahLst/>
              <a:cxnLst/>
              <a:rect l="l" t="t" r="r" b="b"/>
              <a:pathLst>
                <a:path w="37464" h="17779">
                  <a:moveTo>
                    <a:pt x="36995" y="14058"/>
                  </a:moveTo>
                  <a:lnTo>
                    <a:pt x="18478" y="14058"/>
                  </a:lnTo>
                  <a:lnTo>
                    <a:pt x="18478" y="0"/>
                  </a:lnTo>
                  <a:lnTo>
                    <a:pt x="9525" y="0"/>
                  </a:lnTo>
                  <a:lnTo>
                    <a:pt x="5842" y="1816"/>
                  </a:lnTo>
                  <a:lnTo>
                    <a:pt x="1257" y="7086"/>
                  </a:lnTo>
                  <a:lnTo>
                    <a:pt x="0" y="10223"/>
                  </a:lnTo>
                  <a:lnTo>
                    <a:pt x="25" y="15722"/>
                  </a:lnTo>
                  <a:lnTo>
                    <a:pt x="1714" y="17399"/>
                  </a:lnTo>
                  <a:lnTo>
                    <a:pt x="3797" y="17399"/>
                  </a:lnTo>
                  <a:lnTo>
                    <a:pt x="18478" y="17399"/>
                  </a:lnTo>
                  <a:lnTo>
                    <a:pt x="35890" y="17399"/>
                  </a:lnTo>
                  <a:lnTo>
                    <a:pt x="36944" y="16344"/>
                  </a:lnTo>
                  <a:lnTo>
                    <a:pt x="36944" y="14541"/>
                  </a:lnTo>
                  <a:lnTo>
                    <a:pt x="36995" y="14058"/>
                  </a:lnTo>
                  <a:close/>
                </a:path>
              </a:pathLst>
            </a:custGeom>
            <a:solidFill>
              <a:srgbClr val="464646"/>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7" name="object 107"/>
            <p:cNvSpPr/>
            <p:nvPr/>
          </p:nvSpPr>
          <p:spPr>
            <a:xfrm>
              <a:off x="6047785" y="6528912"/>
              <a:ext cx="104775" cy="120014"/>
            </a:xfrm>
            <a:custGeom>
              <a:avLst/>
              <a:gdLst/>
              <a:ahLst/>
              <a:cxnLst/>
              <a:rect l="l" t="t" r="r" b="b"/>
              <a:pathLst>
                <a:path w="104775" h="120015">
                  <a:moveTo>
                    <a:pt x="102514" y="0"/>
                  </a:moveTo>
                  <a:lnTo>
                    <a:pt x="1816" y="0"/>
                  </a:lnTo>
                  <a:lnTo>
                    <a:pt x="330" y="7454"/>
                  </a:lnTo>
                  <a:lnTo>
                    <a:pt x="0" y="11188"/>
                  </a:lnTo>
                  <a:lnTo>
                    <a:pt x="0" y="111594"/>
                  </a:lnTo>
                  <a:lnTo>
                    <a:pt x="749" y="113918"/>
                  </a:lnTo>
                  <a:lnTo>
                    <a:pt x="3632" y="118122"/>
                  </a:lnTo>
                  <a:lnTo>
                    <a:pt x="6146" y="119646"/>
                  </a:lnTo>
                  <a:lnTo>
                    <a:pt x="98183" y="119646"/>
                  </a:lnTo>
                  <a:lnTo>
                    <a:pt x="100685" y="118122"/>
                  </a:lnTo>
                  <a:lnTo>
                    <a:pt x="103581" y="113918"/>
                  </a:lnTo>
                  <a:lnTo>
                    <a:pt x="104330" y="111594"/>
                  </a:lnTo>
                  <a:lnTo>
                    <a:pt x="104330" y="14998"/>
                  </a:lnTo>
                  <a:lnTo>
                    <a:pt x="104330" y="11188"/>
                  </a:lnTo>
                  <a:lnTo>
                    <a:pt x="103987" y="7454"/>
                  </a:lnTo>
                  <a:lnTo>
                    <a:pt x="102514" y="0"/>
                  </a:lnTo>
                  <a:close/>
                </a:path>
              </a:pathLst>
            </a:custGeom>
            <a:solidFill>
              <a:srgbClr val="E8E8E8"/>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8" name="object 108"/>
            <p:cNvSpPr/>
            <p:nvPr/>
          </p:nvSpPr>
          <p:spPr>
            <a:xfrm>
              <a:off x="6097054" y="6490957"/>
              <a:ext cx="6350" cy="38100"/>
            </a:xfrm>
            <a:custGeom>
              <a:avLst/>
              <a:gdLst/>
              <a:ahLst/>
              <a:cxnLst/>
              <a:rect l="l" t="t" r="r" b="b"/>
              <a:pathLst>
                <a:path w="6350" h="38100">
                  <a:moveTo>
                    <a:pt x="5778" y="0"/>
                  </a:moveTo>
                  <a:lnTo>
                    <a:pt x="0" y="0"/>
                  </a:lnTo>
                  <a:lnTo>
                    <a:pt x="0" y="37960"/>
                  </a:lnTo>
                  <a:lnTo>
                    <a:pt x="5778" y="37960"/>
                  </a:lnTo>
                  <a:lnTo>
                    <a:pt x="5778" y="0"/>
                  </a:lnTo>
                  <a:close/>
                </a:path>
              </a:pathLst>
            </a:custGeom>
            <a:solidFill>
              <a:srgbClr val="FFFFFF">
                <a:alpha val="39999"/>
              </a:srgbClr>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9" name="object 109"/>
            <p:cNvSpPr/>
            <p:nvPr/>
          </p:nvSpPr>
          <p:spPr>
            <a:xfrm>
              <a:off x="6097065" y="6528917"/>
              <a:ext cx="3175" cy="117475"/>
            </a:xfrm>
            <a:custGeom>
              <a:avLst/>
              <a:gdLst/>
              <a:ahLst/>
              <a:cxnLst/>
              <a:rect l="l" t="t" r="r" b="b"/>
              <a:pathLst>
                <a:path w="3175" h="117475">
                  <a:moveTo>
                    <a:pt x="0" y="116890"/>
                  </a:moveTo>
                  <a:lnTo>
                    <a:pt x="2879" y="116890"/>
                  </a:lnTo>
                  <a:lnTo>
                    <a:pt x="2879" y="0"/>
                  </a:lnTo>
                  <a:lnTo>
                    <a:pt x="0" y="0"/>
                  </a:lnTo>
                  <a:lnTo>
                    <a:pt x="0" y="116890"/>
                  </a:lnTo>
                  <a:close/>
                </a:path>
              </a:pathLst>
            </a:custGeom>
            <a:solidFill>
              <a:srgbClr val="FFFFFF">
                <a:alpha val="29998"/>
              </a:srgbClr>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0" name="object 110"/>
            <p:cNvSpPr/>
            <p:nvPr/>
          </p:nvSpPr>
          <p:spPr>
            <a:xfrm>
              <a:off x="6147888" y="6521410"/>
              <a:ext cx="3175" cy="8890"/>
            </a:xfrm>
            <a:custGeom>
              <a:avLst/>
              <a:gdLst/>
              <a:ahLst/>
              <a:cxnLst/>
              <a:rect l="l" t="t" r="r" b="b"/>
              <a:pathLst>
                <a:path w="3175" h="8890">
                  <a:moveTo>
                    <a:pt x="1775" y="4956"/>
                  </a:moveTo>
                  <a:lnTo>
                    <a:pt x="2717" y="8801"/>
                  </a:lnTo>
                  <a:lnTo>
                    <a:pt x="2019" y="5753"/>
                  </a:lnTo>
                  <a:lnTo>
                    <a:pt x="1775" y="4956"/>
                  </a:lnTo>
                  <a:close/>
                </a:path>
                <a:path w="3175" h="8890">
                  <a:moveTo>
                    <a:pt x="0" y="0"/>
                  </a:moveTo>
                  <a:lnTo>
                    <a:pt x="952" y="2413"/>
                  </a:lnTo>
                  <a:lnTo>
                    <a:pt x="1721" y="4781"/>
                  </a:lnTo>
                  <a:lnTo>
                    <a:pt x="1117" y="2806"/>
                  </a:lnTo>
                  <a:lnTo>
                    <a:pt x="0" y="0"/>
                  </a:lnTo>
                  <a:close/>
                </a:path>
              </a:pathLst>
            </a:custGeom>
            <a:solidFill>
              <a:srgbClr val="F3F3F3"/>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1" name="object 111"/>
            <p:cNvSpPr/>
            <p:nvPr/>
          </p:nvSpPr>
          <p:spPr>
            <a:xfrm>
              <a:off x="6102835" y="6490956"/>
              <a:ext cx="48260" cy="39370"/>
            </a:xfrm>
            <a:custGeom>
              <a:avLst/>
              <a:gdLst/>
              <a:ahLst/>
              <a:cxnLst/>
              <a:rect l="l" t="t" r="r" b="b"/>
              <a:pathLst>
                <a:path w="48260" h="39370">
                  <a:moveTo>
                    <a:pt x="47459" y="37960"/>
                  </a:moveTo>
                  <a:lnTo>
                    <a:pt x="47729" y="39076"/>
                  </a:lnTo>
                  <a:lnTo>
                    <a:pt x="47459" y="37960"/>
                  </a:lnTo>
                  <a:close/>
                </a:path>
                <a:path w="48260" h="39370">
                  <a:moveTo>
                    <a:pt x="4495" y="0"/>
                  </a:moveTo>
                  <a:lnTo>
                    <a:pt x="0" y="0"/>
                  </a:lnTo>
                  <a:lnTo>
                    <a:pt x="0" y="37960"/>
                  </a:lnTo>
                  <a:lnTo>
                    <a:pt x="47453" y="37960"/>
                  </a:lnTo>
                  <a:lnTo>
                    <a:pt x="46812" y="35369"/>
                  </a:lnTo>
                  <a:lnTo>
                    <a:pt x="19567" y="3071"/>
                  </a:lnTo>
                  <a:lnTo>
                    <a:pt x="4495" y="0"/>
                  </a:lnTo>
                  <a:close/>
                </a:path>
              </a:pathLst>
            </a:custGeom>
            <a:solidFill>
              <a:srgbClr val="E6E6E6"/>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2" name="object 112"/>
            <p:cNvSpPr/>
            <p:nvPr/>
          </p:nvSpPr>
          <p:spPr>
            <a:xfrm>
              <a:off x="6099944" y="6528917"/>
              <a:ext cx="52705" cy="120014"/>
            </a:xfrm>
            <a:custGeom>
              <a:avLst/>
              <a:gdLst/>
              <a:ahLst/>
              <a:cxnLst/>
              <a:rect l="l" t="t" r="r" b="b"/>
              <a:pathLst>
                <a:path w="52704" h="120015">
                  <a:moveTo>
                    <a:pt x="50355" y="0"/>
                  </a:moveTo>
                  <a:lnTo>
                    <a:pt x="2895" y="0"/>
                  </a:lnTo>
                  <a:lnTo>
                    <a:pt x="2565" y="116890"/>
                  </a:lnTo>
                  <a:lnTo>
                    <a:pt x="0" y="116890"/>
                  </a:lnTo>
                  <a:lnTo>
                    <a:pt x="0" y="119646"/>
                  </a:lnTo>
                  <a:lnTo>
                    <a:pt x="45275" y="119646"/>
                  </a:lnTo>
                  <a:lnTo>
                    <a:pt x="52171" y="11176"/>
                  </a:lnTo>
                  <a:lnTo>
                    <a:pt x="51828" y="7454"/>
                  </a:lnTo>
                  <a:lnTo>
                    <a:pt x="51092" y="3378"/>
                  </a:lnTo>
                  <a:lnTo>
                    <a:pt x="50355" y="0"/>
                  </a:lnTo>
                  <a:close/>
                </a:path>
              </a:pathLst>
            </a:custGeom>
            <a:solidFill>
              <a:srgbClr val="DBDBDB"/>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3" name="object 113"/>
            <p:cNvSpPr/>
            <p:nvPr/>
          </p:nvSpPr>
          <p:spPr>
            <a:xfrm>
              <a:off x="6069561" y="6557709"/>
              <a:ext cx="60960" cy="60960"/>
            </a:xfrm>
            <a:custGeom>
              <a:avLst/>
              <a:gdLst/>
              <a:ahLst/>
              <a:cxnLst/>
              <a:rect l="l" t="t" r="r" b="b"/>
              <a:pathLst>
                <a:path w="60960" h="60959">
                  <a:moveTo>
                    <a:pt x="30391" y="0"/>
                  </a:moveTo>
                  <a:lnTo>
                    <a:pt x="18559" y="2387"/>
                  </a:lnTo>
                  <a:lnTo>
                    <a:pt x="8899" y="8897"/>
                  </a:lnTo>
                  <a:lnTo>
                    <a:pt x="2387" y="18554"/>
                  </a:lnTo>
                  <a:lnTo>
                    <a:pt x="0" y="30378"/>
                  </a:lnTo>
                  <a:lnTo>
                    <a:pt x="2387" y="42202"/>
                  </a:lnTo>
                  <a:lnTo>
                    <a:pt x="8899" y="51858"/>
                  </a:lnTo>
                  <a:lnTo>
                    <a:pt x="18559" y="58369"/>
                  </a:lnTo>
                  <a:lnTo>
                    <a:pt x="30391" y="60756"/>
                  </a:lnTo>
                  <a:lnTo>
                    <a:pt x="42215" y="58369"/>
                  </a:lnTo>
                  <a:lnTo>
                    <a:pt x="51871" y="51858"/>
                  </a:lnTo>
                  <a:lnTo>
                    <a:pt x="58382" y="42202"/>
                  </a:lnTo>
                  <a:lnTo>
                    <a:pt x="60769" y="30378"/>
                  </a:lnTo>
                  <a:lnTo>
                    <a:pt x="58382" y="18554"/>
                  </a:lnTo>
                  <a:lnTo>
                    <a:pt x="51871" y="8897"/>
                  </a:lnTo>
                  <a:lnTo>
                    <a:pt x="42215" y="2387"/>
                  </a:lnTo>
                  <a:lnTo>
                    <a:pt x="30391"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4" name="object 114"/>
            <p:cNvSpPr/>
            <p:nvPr/>
          </p:nvSpPr>
          <p:spPr>
            <a:xfrm>
              <a:off x="6081284" y="6569716"/>
              <a:ext cx="37465" cy="37465"/>
            </a:xfrm>
            <a:custGeom>
              <a:avLst/>
              <a:gdLst/>
              <a:ahLst/>
              <a:cxnLst/>
              <a:rect l="l" t="t" r="r" b="b"/>
              <a:pathLst>
                <a:path w="37464" h="37465">
                  <a:moveTo>
                    <a:pt x="22974" y="0"/>
                  </a:moveTo>
                  <a:lnTo>
                    <a:pt x="14351" y="0"/>
                  </a:lnTo>
                  <a:lnTo>
                    <a:pt x="14351" y="14350"/>
                  </a:lnTo>
                  <a:lnTo>
                    <a:pt x="0" y="14350"/>
                  </a:lnTo>
                  <a:lnTo>
                    <a:pt x="0" y="22961"/>
                  </a:lnTo>
                  <a:lnTo>
                    <a:pt x="14351" y="22961"/>
                  </a:lnTo>
                  <a:lnTo>
                    <a:pt x="14351" y="37325"/>
                  </a:lnTo>
                  <a:lnTo>
                    <a:pt x="22974" y="37325"/>
                  </a:lnTo>
                  <a:lnTo>
                    <a:pt x="22974" y="22961"/>
                  </a:lnTo>
                  <a:lnTo>
                    <a:pt x="37325" y="22961"/>
                  </a:lnTo>
                  <a:lnTo>
                    <a:pt x="37325" y="14350"/>
                  </a:lnTo>
                  <a:lnTo>
                    <a:pt x="22974" y="14350"/>
                  </a:lnTo>
                  <a:lnTo>
                    <a:pt x="22974" y="0"/>
                  </a:lnTo>
                  <a:close/>
                </a:path>
              </a:pathLst>
            </a:custGeom>
            <a:solidFill>
              <a:srgbClr val="E6E6E6"/>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15" name="object 115"/>
            <p:cNvPicPr/>
            <p:nvPr/>
          </p:nvPicPr>
          <p:blipFill>
            <a:blip r:embed="rId27" cstate="print"/>
            <a:stretch>
              <a:fillRect/>
            </a:stretch>
          </p:blipFill>
          <p:spPr>
            <a:xfrm>
              <a:off x="2268562" y="7105574"/>
              <a:ext cx="59410" cy="666826"/>
            </a:xfrm>
            <a:prstGeom prst="rect">
              <a:avLst/>
            </a:prstGeom>
          </p:spPr>
        </p:pic>
        <p:pic>
          <p:nvPicPr>
            <p:cNvPr id="116" name="object 116"/>
            <p:cNvPicPr/>
            <p:nvPr/>
          </p:nvPicPr>
          <p:blipFill>
            <a:blip r:embed="rId28" cstate="print"/>
            <a:stretch>
              <a:fillRect/>
            </a:stretch>
          </p:blipFill>
          <p:spPr>
            <a:xfrm>
              <a:off x="1451407" y="6479103"/>
              <a:ext cx="1835773" cy="1305025"/>
            </a:xfrm>
            <a:prstGeom prst="rect">
              <a:avLst/>
            </a:prstGeom>
          </p:spPr>
        </p:pic>
        <p:pic>
          <p:nvPicPr>
            <p:cNvPr id="117" name="object 117"/>
            <p:cNvPicPr/>
            <p:nvPr/>
          </p:nvPicPr>
          <p:blipFill>
            <a:blip r:embed="rId29" cstate="print"/>
            <a:stretch>
              <a:fillRect/>
            </a:stretch>
          </p:blipFill>
          <p:spPr>
            <a:xfrm>
              <a:off x="5007305" y="7105574"/>
              <a:ext cx="59423" cy="666826"/>
            </a:xfrm>
            <a:prstGeom prst="rect">
              <a:avLst/>
            </a:prstGeom>
          </p:spPr>
        </p:pic>
        <p:pic>
          <p:nvPicPr>
            <p:cNvPr id="118" name="object 118"/>
            <p:cNvPicPr/>
            <p:nvPr/>
          </p:nvPicPr>
          <p:blipFill>
            <a:blip r:embed="rId30" cstate="print"/>
            <a:stretch>
              <a:fillRect/>
            </a:stretch>
          </p:blipFill>
          <p:spPr>
            <a:xfrm>
              <a:off x="4170827" y="6432746"/>
              <a:ext cx="1855106" cy="1351381"/>
            </a:xfrm>
            <a:prstGeom prst="rect">
              <a:avLst/>
            </a:prstGeom>
          </p:spPr>
        </p:pic>
      </p:grpSp>
      <p:sp>
        <p:nvSpPr>
          <p:cNvPr id="119" name="object 119"/>
          <p:cNvSpPr txBox="1"/>
          <p:nvPr/>
        </p:nvSpPr>
        <p:spPr>
          <a:xfrm>
            <a:off x="3817111" y="438821"/>
            <a:ext cx="1841126" cy="228619"/>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412" b="1" i="0" u="none" strike="noStrike" kern="0" cap="none" spc="0" normalizeH="0" baseline="0" noProof="0">
                <a:ln>
                  <a:noFill/>
                </a:ln>
                <a:solidFill>
                  <a:sysClr val="windowText" lastClr="000000"/>
                </a:solidFill>
                <a:effectLst/>
                <a:uLnTx/>
                <a:uFillTx/>
                <a:latin typeface="Calibri"/>
                <a:ea typeface="+mn-ea"/>
                <a:cs typeface="Calibri"/>
              </a:rPr>
              <a:t>Air</a:t>
            </a:r>
            <a:r>
              <a:rPr kumimoji="0" sz="1412" b="1" i="0" u="none" strike="noStrike" kern="0" cap="none" spc="163" normalizeH="0" baseline="0" noProof="0">
                <a:ln>
                  <a:noFill/>
                </a:ln>
                <a:solidFill>
                  <a:sysClr val="windowText" lastClr="000000"/>
                </a:solidFill>
                <a:effectLst/>
                <a:uLnTx/>
                <a:uFillTx/>
                <a:latin typeface="Calibri"/>
                <a:ea typeface="+mn-ea"/>
                <a:cs typeface="Calibri"/>
              </a:rPr>
              <a:t> </a:t>
            </a:r>
            <a:r>
              <a:rPr kumimoji="0" sz="1412" b="1" i="0" u="none" strike="noStrike" kern="0" cap="none" spc="0" normalizeH="0" baseline="0" noProof="0">
                <a:ln>
                  <a:noFill/>
                </a:ln>
                <a:solidFill>
                  <a:sysClr val="windowText" lastClr="000000"/>
                </a:solidFill>
                <a:effectLst/>
                <a:uLnTx/>
                <a:uFillTx/>
                <a:latin typeface="Calibri"/>
                <a:ea typeface="+mn-ea"/>
                <a:cs typeface="Calibri"/>
              </a:rPr>
              <a:t>Canada</a:t>
            </a:r>
            <a:r>
              <a:rPr kumimoji="0" sz="1412" b="1" i="0" u="none" strike="noStrike" kern="0" cap="none" spc="168" normalizeH="0" baseline="0" noProof="0">
                <a:ln>
                  <a:noFill/>
                </a:ln>
                <a:solidFill>
                  <a:sysClr val="windowText" lastClr="000000"/>
                </a:solidFill>
                <a:effectLst/>
                <a:uLnTx/>
                <a:uFillTx/>
                <a:latin typeface="Calibri"/>
                <a:ea typeface="+mn-ea"/>
                <a:cs typeface="Calibri"/>
              </a:rPr>
              <a:t> </a:t>
            </a:r>
            <a:r>
              <a:rPr kumimoji="0" sz="1412" b="1" i="0" u="none" strike="noStrike" kern="0" cap="none" spc="44" normalizeH="0" baseline="0" noProof="0">
                <a:ln>
                  <a:noFill/>
                </a:ln>
                <a:solidFill>
                  <a:sysClr val="windowText" lastClr="000000"/>
                </a:solidFill>
                <a:effectLst/>
                <a:uLnTx/>
                <a:uFillTx/>
                <a:latin typeface="Calibri"/>
                <a:ea typeface="+mn-ea"/>
                <a:cs typeface="Calibri"/>
              </a:rPr>
              <a:t>CleanCare+</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20" name="object 120"/>
          <p:cNvSpPr txBox="1"/>
          <p:nvPr/>
        </p:nvSpPr>
        <p:spPr>
          <a:xfrm>
            <a:off x="3817111" y="707762"/>
            <a:ext cx="3597088" cy="201367"/>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235" b="0" i="0" u="none" strike="noStrike" kern="0" cap="none" spc="0" normalizeH="0" baseline="0" noProof="0">
                <a:ln>
                  <a:noFill/>
                </a:ln>
                <a:solidFill>
                  <a:sysClr val="windowText" lastClr="000000"/>
                </a:solidFill>
                <a:effectLst/>
                <a:uLnTx/>
                <a:uFillTx/>
                <a:latin typeface="Calibri"/>
                <a:ea typeface="+mn-ea"/>
                <a:cs typeface="Calibri"/>
              </a:rPr>
              <a:t>Air</a:t>
            </a:r>
            <a:r>
              <a:rPr kumimoji="0" sz="1235" b="0" i="0" u="none" strike="noStrike" kern="0" cap="none" spc="-35"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Canada</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is</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9" normalizeH="0" baseline="0" noProof="0">
                <a:ln>
                  <a:noFill/>
                </a:ln>
                <a:solidFill>
                  <a:sysClr val="windowText" lastClr="000000"/>
                </a:solidFill>
                <a:effectLst/>
                <a:uLnTx/>
                <a:uFillTx/>
                <a:latin typeface="Calibri"/>
                <a:ea typeface="+mn-ea"/>
                <a:cs typeface="Calibri"/>
              </a:rPr>
              <a:t>committed</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to</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18" normalizeH="0" baseline="0" noProof="0">
                <a:ln>
                  <a:noFill/>
                </a:ln>
                <a:solidFill>
                  <a:sysClr val="windowText" lastClr="000000"/>
                </a:solidFill>
                <a:effectLst/>
                <a:uLnTx/>
                <a:uFillTx/>
                <a:latin typeface="Calibri"/>
                <a:ea typeface="+mn-ea"/>
                <a:cs typeface="Calibri"/>
              </a:rPr>
              <a:t>end-</a:t>
            </a:r>
            <a:r>
              <a:rPr kumimoji="0" sz="1235" b="0" i="0" u="none" strike="noStrike" kern="0" cap="none" spc="0" normalizeH="0" baseline="0" noProof="0">
                <a:ln>
                  <a:noFill/>
                </a:ln>
                <a:solidFill>
                  <a:sysClr val="windowText" lastClr="000000"/>
                </a:solidFill>
                <a:effectLst/>
                <a:uLnTx/>
                <a:uFillTx/>
                <a:latin typeface="Calibri"/>
                <a:ea typeface="+mn-ea"/>
                <a:cs typeface="Calibri"/>
              </a:rPr>
              <a:t>to-</a:t>
            </a:r>
            <a:r>
              <a:rPr kumimoji="0" sz="1235" b="0" i="0" u="none" strike="noStrike" kern="0" cap="none" spc="-9" normalizeH="0" baseline="0" noProof="0">
                <a:ln>
                  <a:noFill/>
                </a:ln>
                <a:solidFill>
                  <a:sysClr val="windowText" lastClr="000000"/>
                </a:solidFill>
                <a:effectLst/>
                <a:uLnTx/>
                <a:uFillTx/>
                <a:latin typeface="Calibri"/>
                <a:ea typeface="+mn-ea"/>
                <a:cs typeface="Calibri"/>
              </a:rPr>
              <a:t>end</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18" normalizeH="0" baseline="0" noProof="0">
                <a:ln>
                  <a:noFill/>
                </a:ln>
                <a:solidFill>
                  <a:sysClr val="windowText" lastClr="000000"/>
                </a:solidFill>
                <a:effectLst/>
                <a:uLnTx/>
                <a:uFillTx/>
                <a:latin typeface="Calibri"/>
                <a:ea typeface="+mn-ea"/>
                <a:cs typeface="Calibri"/>
              </a:rPr>
              <a:t>health</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and</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9" normalizeH="0" baseline="0" noProof="0">
                <a:ln>
                  <a:noFill/>
                </a:ln>
                <a:solidFill>
                  <a:sysClr val="windowText" lastClr="000000"/>
                </a:solidFill>
                <a:effectLst/>
                <a:uLnTx/>
                <a:uFillTx/>
                <a:latin typeface="Calibri"/>
                <a:ea typeface="+mn-ea"/>
                <a:cs typeface="Calibri"/>
              </a:rPr>
              <a:t>safety</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21" name="object 121"/>
          <p:cNvSpPr txBox="1"/>
          <p:nvPr/>
        </p:nvSpPr>
        <p:spPr>
          <a:xfrm>
            <a:off x="3817111" y="896021"/>
            <a:ext cx="4030196" cy="408988"/>
          </a:xfrm>
          <a:prstGeom prst="rect">
            <a:avLst/>
          </a:prstGeom>
        </p:spPr>
        <p:txBody>
          <a:bodyPr vert="horz" wrap="square" lIns="0" tIns="11206" rIns="0" bIns="0" rtlCol="0">
            <a:spAutoFit/>
          </a:bodyPr>
          <a:lstStyle/>
          <a:p>
            <a:pPr marL="11206" marR="4483" lvl="0" indent="0" algn="l" defTabSz="806867" rtl="0" eaLnBrk="1" fontAlgn="auto" latinLnBrk="0" hangingPunct="1">
              <a:lnSpc>
                <a:spcPct val="107100"/>
              </a:lnSpc>
              <a:spcBef>
                <a:spcPts val="88"/>
              </a:spcBef>
              <a:spcAft>
                <a:spcPts val="0"/>
              </a:spcAft>
              <a:buClrTx/>
              <a:buSzTx/>
              <a:buFontTx/>
              <a:buNone/>
              <a:tabLst/>
              <a:defRPr/>
            </a:pPr>
            <a:r>
              <a:rPr kumimoji="0" sz="1235" b="0" i="0" u="none" strike="noStrike" kern="0" cap="none" spc="-22" normalizeH="0" baseline="0" noProof="0">
                <a:ln>
                  <a:noFill/>
                </a:ln>
                <a:solidFill>
                  <a:sysClr val="windowText" lastClr="000000"/>
                </a:solidFill>
                <a:effectLst/>
                <a:uLnTx/>
                <a:uFillTx/>
                <a:latin typeface="Calibri"/>
                <a:ea typeface="+mn-ea"/>
                <a:cs typeface="Calibri"/>
              </a:rPr>
              <a:t>protocols.</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9" normalizeH="0" baseline="0" noProof="0">
                <a:ln>
                  <a:noFill/>
                </a:ln>
                <a:solidFill>
                  <a:sysClr val="windowText" lastClr="000000"/>
                </a:solidFill>
                <a:effectLst/>
                <a:uLnTx/>
                <a:uFillTx/>
                <a:latin typeface="Calibri"/>
                <a:ea typeface="+mn-ea"/>
                <a:cs typeface="Calibri"/>
              </a:rPr>
              <a:t>Using</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18" normalizeH="0" baseline="0" noProof="0">
                <a:ln>
                  <a:noFill/>
                </a:ln>
                <a:solidFill>
                  <a:sysClr val="windowText" lastClr="000000"/>
                </a:solidFill>
                <a:effectLst/>
                <a:uLnTx/>
                <a:uFillTx/>
                <a:latin typeface="Calibri"/>
                <a:ea typeface="+mn-ea"/>
                <a:cs typeface="Calibri"/>
              </a:rPr>
              <a:t>leading</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18" normalizeH="0" baseline="0" noProof="0">
                <a:ln>
                  <a:noFill/>
                </a:ln>
                <a:solidFill>
                  <a:sysClr val="windowText" lastClr="000000"/>
                </a:solidFill>
                <a:effectLst/>
                <a:uLnTx/>
                <a:uFillTx/>
                <a:latin typeface="Calibri"/>
                <a:ea typeface="+mn-ea"/>
                <a:cs typeface="Calibri"/>
              </a:rPr>
              <a:t>biosafety</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22" normalizeH="0" baseline="0" noProof="0">
                <a:ln>
                  <a:noFill/>
                </a:ln>
                <a:solidFill>
                  <a:sysClr val="windowText" lastClr="000000"/>
                </a:solidFill>
                <a:effectLst/>
                <a:uLnTx/>
                <a:uFillTx/>
                <a:latin typeface="Calibri"/>
                <a:ea typeface="+mn-ea"/>
                <a:cs typeface="Calibri"/>
              </a:rPr>
              <a:t>standards</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and</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9" normalizeH="0" baseline="0" noProof="0">
                <a:ln>
                  <a:noFill/>
                </a:ln>
                <a:solidFill>
                  <a:sysClr val="windowText" lastClr="000000"/>
                </a:solidFill>
                <a:effectLst/>
                <a:uLnTx/>
                <a:uFillTx/>
                <a:latin typeface="Calibri"/>
                <a:ea typeface="+mn-ea"/>
                <a:cs typeface="Calibri"/>
              </a:rPr>
              <a:t>enhanced </a:t>
            </a:r>
            <a:r>
              <a:rPr kumimoji="0" sz="1235" b="0" i="0" u="none" strike="noStrike" kern="0" cap="none" spc="-31" normalizeH="0" baseline="0" noProof="0">
                <a:ln>
                  <a:noFill/>
                </a:ln>
                <a:solidFill>
                  <a:sysClr val="windowText" lastClr="000000"/>
                </a:solidFill>
                <a:effectLst/>
                <a:uLnTx/>
                <a:uFillTx/>
                <a:latin typeface="Calibri"/>
                <a:ea typeface="+mn-ea"/>
                <a:cs typeface="Calibri"/>
              </a:rPr>
              <a:t>preventive</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31" normalizeH="0" baseline="0" noProof="0">
                <a:ln>
                  <a:noFill/>
                </a:ln>
                <a:solidFill>
                  <a:sysClr val="windowText" lastClr="000000"/>
                </a:solidFill>
                <a:effectLst/>
                <a:uLnTx/>
                <a:uFillTx/>
                <a:latin typeface="Calibri"/>
                <a:ea typeface="+mn-ea"/>
                <a:cs typeface="Calibri"/>
              </a:rPr>
              <a:t>measures,</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the</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18" normalizeH="0" baseline="0" noProof="0">
                <a:ln>
                  <a:noFill/>
                </a:ln>
                <a:solidFill>
                  <a:sysClr val="windowText" lastClr="000000"/>
                </a:solidFill>
                <a:effectLst/>
                <a:uLnTx/>
                <a:uFillTx/>
                <a:latin typeface="Calibri"/>
                <a:ea typeface="+mn-ea"/>
                <a:cs typeface="Calibri"/>
              </a:rPr>
              <a:t>airline</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has</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26" normalizeH="0" baseline="0" noProof="0">
                <a:ln>
                  <a:noFill/>
                </a:ln>
                <a:solidFill>
                  <a:sysClr val="windowText" lastClr="000000"/>
                </a:solidFill>
                <a:effectLst/>
                <a:uLnTx/>
                <a:uFillTx/>
                <a:latin typeface="Calibri"/>
                <a:ea typeface="+mn-ea"/>
                <a:cs typeface="Calibri"/>
              </a:rPr>
              <a:t>refined</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its</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26" normalizeH="0" baseline="0" noProof="0">
                <a:ln>
                  <a:noFill/>
                </a:ln>
                <a:solidFill>
                  <a:sysClr val="windowText" lastClr="000000"/>
                </a:solidFill>
                <a:effectLst/>
                <a:uLnTx/>
                <a:uFillTx/>
                <a:latin typeface="Calibri"/>
                <a:ea typeface="+mn-ea"/>
                <a:cs typeface="Calibri"/>
              </a:rPr>
              <a:t>processes</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to</a:t>
            </a:r>
            <a:r>
              <a:rPr kumimoji="0" sz="1235" b="0" i="0" u="none" strike="noStrike" kern="0" cap="none" spc="-22" normalizeH="0" baseline="0" noProof="0">
                <a:ln>
                  <a:noFill/>
                </a:ln>
                <a:solidFill>
                  <a:sysClr val="windowText" lastClr="000000"/>
                </a:solidFill>
                <a:effectLst/>
                <a:uLnTx/>
                <a:uFillTx/>
                <a:latin typeface="Calibri"/>
                <a:ea typeface="+mn-ea"/>
                <a:cs typeface="Calibri"/>
              </a:rPr>
              <a:t> </a:t>
            </a:r>
            <a:r>
              <a:rPr kumimoji="0" sz="1235" b="0" i="0" u="none" strike="noStrike" kern="0" cap="none" spc="-18" normalizeH="0" baseline="0" noProof="0">
                <a:ln>
                  <a:noFill/>
                </a:ln>
                <a:solidFill>
                  <a:sysClr val="windowText" lastClr="000000"/>
                </a:solidFill>
                <a:effectLst/>
                <a:uLnTx/>
                <a:uFillTx/>
                <a:latin typeface="Calibri"/>
                <a:ea typeface="+mn-ea"/>
                <a:cs typeface="Calibri"/>
              </a:rPr>
              <a:t>keep</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22" name="object 122"/>
          <p:cNvSpPr txBox="1"/>
          <p:nvPr/>
        </p:nvSpPr>
        <p:spPr>
          <a:xfrm>
            <a:off x="3817111" y="1312880"/>
            <a:ext cx="4055969" cy="201367"/>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235" b="0" i="0" u="none" strike="noStrike" kern="0" cap="none" spc="-18" normalizeH="0" baseline="0" noProof="0">
                <a:ln>
                  <a:noFill/>
                </a:ln>
                <a:solidFill>
                  <a:sysClr val="windowText" lastClr="000000"/>
                </a:solidFill>
                <a:effectLst/>
                <a:uLnTx/>
                <a:uFillTx/>
                <a:latin typeface="Calibri"/>
                <a:ea typeface="+mn-ea"/>
                <a:cs typeface="Calibri"/>
              </a:rPr>
              <a:t>customers</a:t>
            </a:r>
            <a:r>
              <a:rPr kumimoji="0" sz="1235" b="0" i="0" u="none" strike="noStrike" kern="0" cap="none" spc="-9" normalizeH="0" baseline="0" noProof="0">
                <a:ln>
                  <a:noFill/>
                </a:ln>
                <a:solidFill>
                  <a:sysClr val="windowText" lastClr="000000"/>
                </a:solidFill>
                <a:effectLst/>
                <a:uLnTx/>
                <a:uFillTx/>
                <a:latin typeface="Calibri"/>
                <a:ea typeface="+mn-ea"/>
                <a:cs typeface="Calibri"/>
              </a:rPr>
              <a:t> </a:t>
            </a:r>
            <a:r>
              <a:rPr kumimoji="0" sz="1235" b="0" i="0" u="none" strike="noStrike" kern="0" cap="none" spc="-18" normalizeH="0" baseline="0" noProof="0">
                <a:ln>
                  <a:noFill/>
                </a:ln>
                <a:solidFill>
                  <a:sysClr val="windowText" lastClr="000000"/>
                </a:solidFill>
                <a:effectLst/>
                <a:uLnTx/>
                <a:uFillTx/>
                <a:latin typeface="Calibri"/>
                <a:ea typeface="+mn-ea"/>
                <a:cs typeface="Calibri"/>
              </a:rPr>
              <a:t>safe</a:t>
            </a:r>
            <a:r>
              <a:rPr kumimoji="0" sz="1235" b="0" i="0" u="none" strike="noStrike" kern="0" cap="none" spc="-9" normalizeH="0" baseline="0" noProof="0">
                <a:ln>
                  <a:noFill/>
                </a:ln>
                <a:solidFill>
                  <a:sysClr val="windowText" lastClr="000000"/>
                </a:solidFill>
                <a:effectLst/>
                <a:uLnTx/>
                <a:uFillTx/>
                <a:latin typeface="Calibri"/>
                <a:ea typeface="+mn-ea"/>
                <a:cs typeface="Calibri"/>
              </a:rPr>
              <a:t> </a:t>
            </a:r>
            <a:r>
              <a:rPr kumimoji="0" sz="1235" b="0" i="0" u="none" strike="noStrike" kern="0" cap="none" spc="-18" normalizeH="0" baseline="0" noProof="0">
                <a:ln>
                  <a:noFill/>
                </a:ln>
                <a:solidFill>
                  <a:sysClr val="windowText" lastClr="000000"/>
                </a:solidFill>
                <a:effectLst/>
                <a:uLnTx/>
                <a:uFillTx/>
                <a:latin typeface="Calibri"/>
                <a:ea typeface="+mn-ea"/>
                <a:cs typeface="Calibri"/>
              </a:rPr>
              <a:t>throughout</a:t>
            </a:r>
            <a:r>
              <a:rPr kumimoji="0" sz="1235" b="0" i="0" u="none" strike="noStrike" kern="0" cap="none" spc="-4"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the</a:t>
            </a:r>
            <a:r>
              <a:rPr kumimoji="0" sz="1235" b="0" i="0" u="none" strike="noStrike" kern="0" cap="none" spc="-9" normalizeH="0" baseline="0" noProof="0">
                <a:ln>
                  <a:noFill/>
                </a:ln>
                <a:solidFill>
                  <a:sysClr val="windowText" lastClr="000000"/>
                </a:solidFill>
                <a:effectLst/>
                <a:uLnTx/>
                <a:uFillTx/>
                <a:latin typeface="Calibri"/>
                <a:ea typeface="+mn-ea"/>
                <a:cs typeface="Calibri"/>
              </a:rPr>
              <a:t> travel </a:t>
            </a:r>
            <a:r>
              <a:rPr kumimoji="0" sz="1235" b="0" i="0" u="none" strike="noStrike" kern="0" cap="none" spc="-31" normalizeH="0" baseline="0" noProof="0">
                <a:ln>
                  <a:noFill/>
                </a:ln>
                <a:solidFill>
                  <a:sysClr val="windowText" lastClr="000000"/>
                </a:solidFill>
                <a:effectLst/>
                <a:uLnTx/>
                <a:uFillTx/>
                <a:latin typeface="Calibri"/>
                <a:ea typeface="+mn-ea"/>
                <a:cs typeface="Calibri"/>
              </a:rPr>
              <a:t>experience,</a:t>
            </a:r>
            <a:r>
              <a:rPr kumimoji="0" sz="1235" b="0" i="0" u="none" strike="noStrike" kern="0" cap="none" spc="-9" normalizeH="0" baseline="0" noProof="0">
                <a:ln>
                  <a:noFill/>
                </a:ln>
                <a:solidFill>
                  <a:sysClr val="windowText" lastClr="000000"/>
                </a:solidFill>
                <a:effectLst/>
                <a:uLnTx/>
                <a:uFillTx/>
                <a:latin typeface="Calibri"/>
                <a:ea typeface="+mn-ea"/>
                <a:cs typeface="Calibri"/>
              </a:rPr>
              <a:t> </a:t>
            </a:r>
            <a:r>
              <a:rPr kumimoji="0" sz="1235" b="1" i="0" u="none" strike="noStrike" kern="0" cap="none" spc="0" normalizeH="0" baseline="0" noProof="0">
                <a:ln>
                  <a:noFill/>
                </a:ln>
                <a:solidFill>
                  <a:sysClr val="windowText" lastClr="000000"/>
                </a:solidFill>
                <a:effectLst/>
                <a:uLnTx/>
                <a:uFillTx/>
                <a:latin typeface="Calibri"/>
                <a:ea typeface="+mn-ea"/>
                <a:cs typeface="Calibri"/>
              </a:rPr>
              <a:t>putting</a:t>
            </a:r>
            <a:r>
              <a:rPr kumimoji="0" sz="1235" b="1" i="0" u="none" strike="noStrike" kern="0" cap="none" spc="-18" normalizeH="0" baseline="0" noProof="0">
                <a:ln>
                  <a:noFill/>
                </a:ln>
                <a:solidFill>
                  <a:sysClr val="windowText" lastClr="000000"/>
                </a:solidFill>
                <a:effectLst/>
                <a:uLnTx/>
                <a:uFillTx/>
                <a:latin typeface="Calibri"/>
                <a:ea typeface="+mn-ea"/>
                <a:cs typeface="Calibri"/>
              </a:rPr>
              <a:t> </a:t>
            </a:r>
            <a:r>
              <a:rPr kumimoji="0" sz="1235" b="1" i="0" u="none" strike="noStrike" kern="0" cap="none" spc="-9" normalizeH="0" baseline="0" noProof="0">
                <a:ln>
                  <a:noFill/>
                </a:ln>
                <a:solidFill>
                  <a:sysClr val="windowText" lastClr="000000"/>
                </a:solidFill>
                <a:effectLst/>
                <a:uLnTx/>
                <a:uFillTx/>
                <a:latin typeface="Calibri"/>
                <a:ea typeface="+mn-ea"/>
                <a:cs typeface="Calibri"/>
              </a:rPr>
              <a:t>safety</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23" name="object 123"/>
          <p:cNvSpPr txBox="1"/>
          <p:nvPr/>
        </p:nvSpPr>
        <p:spPr>
          <a:xfrm>
            <a:off x="3817111" y="1420456"/>
            <a:ext cx="872377" cy="536353"/>
          </a:xfrm>
          <a:prstGeom prst="rect">
            <a:avLst/>
          </a:prstGeom>
        </p:spPr>
        <p:txBody>
          <a:bodyPr vert="horz" wrap="square" lIns="0" tIns="105335" rIns="0" bIns="0" rtlCol="0">
            <a:spAutoFit/>
          </a:bodyPr>
          <a:lstStyle/>
          <a:p>
            <a:pPr marL="11206" marR="0" lvl="0" indent="0" algn="l" defTabSz="806867" rtl="0" eaLnBrk="1" fontAlgn="auto" latinLnBrk="0" hangingPunct="1">
              <a:lnSpc>
                <a:spcPct val="100000"/>
              </a:lnSpc>
              <a:spcBef>
                <a:spcPts val="829"/>
              </a:spcBef>
              <a:spcAft>
                <a:spcPts val="0"/>
              </a:spcAft>
              <a:buClrTx/>
              <a:buSzTx/>
              <a:buFontTx/>
              <a:buNone/>
              <a:tabLst/>
              <a:defRPr/>
            </a:pPr>
            <a:r>
              <a:rPr kumimoji="0" sz="1235" b="1" i="0" u="none" strike="noStrike" kern="0" cap="none" spc="0" normalizeH="0" baseline="0" noProof="0">
                <a:ln>
                  <a:noFill/>
                </a:ln>
                <a:solidFill>
                  <a:sysClr val="windowText" lastClr="000000"/>
                </a:solidFill>
                <a:effectLst/>
                <a:uLnTx/>
                <a:uFillTx/>
                <a:latin typeface="Calibri"/>
                <a:ea typeface="+mn-ea"/>
                <a:cs typeface="Calibri"/>
              </a:rPr>
              <a:t>first,</a:t>
            </a:r>
            <a:r>
              <a:rPr kumimoji="0" sz="1235" b="1" i="0" u="none" strike="noStrike" kern="0" cap="none" spc="110" normalizeH="0" baseline="0" noProof="0">
                <a:ln>
                  <a:noFill/>
                </a:ln>
                <a:solidFill>
                  <a:sysClr val="windowText" lastClr="000000"/>
                </a:solidFill>
                <a:effectLst/>
                <a:uLnTx/>
                <a:uFillTx/>
                <a:latin typeface="Calibri"/>
                <a:ea typeface="+mn-ea"/>
                <a:cs typeface="Calibri"/>
              </a:rPr>
              <a:t> </a:t>
            </a:r>
            <a:r>
              <a:rPr kumimoji="0" sz="1235" b="1" i="0" u="none" strike="noStrike" kern="0" cap="none" spc="-9" normalizeH="0" baseline="0" noProof="0">
                <a:ln>
                  <a:noFill/>
                </a:ln>
                <a:solidFill>
                  <a:sysClr val="windowText" lastClr="000000"/>
                </a:solidFill>
                <a:effectLst/>
                <a:uLnTx/>
                <a:uFillTx/>
                <a:latin typeface="Calibri"/>
                <a:ea typeface="+mn-ea"/>
                <a:cs typeface="Calibri"/>
              </a:rPr>
              <a:t>always.</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ct val="100000"/>
              </a:lnSpc>
              <a:spcBef>
                <a:spcPts val="635"/>
              </a:spcBef>
              <a:spcAft>
                <a:spcPts val="0"/>
              </a:spcAft>
              <a:buClrTx/>
              <a:buSzTx/>
              <a:buFontTx/>
              <a:buNone/>
              <a:tabLst/>
              <a:defRPr/>
            </a:pPr>
            <a:r>
              <a:rPr kumimoji="0" sz="1059" b="1" i="0" u="none" strike="noStrike" kern="0" cap="none" spc="44" normalizeH="0" baseline="0" noProof="0">
                <a:ln>
                  <a:noFill/>
                </a:ln>
                <a:solidFill>
                  <a:sysClr val="windowText" lastClr="000000"/>
                </a:solidFill>
                <a:effectLst/>
                <a:uLnTx/>
                <a:uFillTx/>
                <a:latin typeface="Calibri"/>
                <a:ea typeface="+mn-ea"/>
                <a:cs typeface="Calibri"/>
              </a:rPr>
              <a:t>Check-</a:t>
            </a:r>
            <a:r>
              <a:rPr kumimoji="0" sz="1059" b="1" i="0" u="none" strike="noStrike" kern="0" cap="none" spc="-22" normalizeH="0" baseline="0" noProof="0">
                <a:ln>
                  <a:noFill/>
                </a:ln>
                <a:solidFill>
                  <a:sysClr val="windowText" lastClr="000000"/>
                </a:solidFill>
                <a:effectLst/>
                <a:uLnTx/>
                <a:uFillTx/>
                <a:latin typeface="Calibri"/>
                <a:ea typeface="+mn-ea"/>
                <a:cs typeface="Calibri"/>
              </a:rPr>
              <a:t>in</a:t>
            </a:r>
            <a:endParaRPr kumimoji="0" sz="1059"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24" name="object 124"/>
          <p:cNvSpPr txBox="1"/>
          <p:nvPr/>
        </p:nvSpPr>
        <p:spPr>
          <a:xfrm>
            <a:off x="3817111" y="1957218"/>
            <a:ext cx="4061572"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Health screening</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question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uch-fre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heck-i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rocess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 validatio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f</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health-</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25" name="object 125"/>
          <p:cNvSpPr txBox="1"/>
          <p:nvPr/>
        </p:nvSpPr>
        <p:spPr>
          <a:xfrm>
            <a:off x="3817111" y="2091688"/>
            <a:ext cx="4031316"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related trave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documentatio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re-trave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elect </a:t>
            </a:r>
            <a:r>
              <a:rPr kumimoji="0" sz="927" b="0" i="0" u="none" strike="noStrike" kern="0" cap="none" spc="-9" normalizeH="0" baseline="0" noProof="0">
                <a:ln>
                  <a:noFill/>
                </a:ln>
                <a:solidFill>
                  <a:sysClr val="windowText" lastClr="000000"/>
                </a:solidFill>
                <a:effectLst/>
                <a:uLnTx/>
                <a:uFillTx/>
                <a:latin typeface="Calibri"/>
                <a:ea typeface="+mn-ea"/>
                <a:cs typeface="Calibri"/>
              </a:rPr>
              <a:t>rout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el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disinfection</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26" name="object 126"/>
          <p:cNvSpPr txBox="1"/>
          <p:nvPr/>
        </p:nvSpPr>
        <p:spPr>
          <a:xfrm>
            <a:off x="3817111" y="2226159"/>
            <a:ext cx="3966322"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of</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requentl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uche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rea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uch</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heck-i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unter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kiosk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r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jus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om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of</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27" name="object 127"/>
          <p:cNvSpPr txBox="1"/>
          <p:nvPr/>
        </p:nvSpPr>
        <p:spPr>
          <a:xfrm>
            <a:off x="3817111" y="2360629"/>
            <a:ext cx="2335306"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measures </a:t>
            </a:r>
            <a:r>
              <a:rPr kumimoji="0" sz="927" b="0" i="0" u="none" strike="noStrike" kern="0" cap="none" spc="0" normalizeH="0" baseline="0" noProof="0">
                <a:ln>
                  <a:noFill/>
                </a:ln>
                <a:solidFill>
                  <a:sysClr val="windowText" lastClr="000000"/>
                </a:solidFill>
                <a:effectLst/>
                <a:uLnTx/>
                <a:uFillTx/>
                <a:latin typeface="Calibri"/>
                <a:ea typeface="+mn-ea"/>
                <a:cs typeface="Calibri"/>
              </a:rPr>
              <a:t>implemente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o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ustomer</a:t>
            </a:r>
            <a:r>
              <a:rPr kumimoji="0" sz="927" b="0" i="0" u="none" strike="noStrike" kern="0" cap="none" spc="-9" normalizeH="0" baseline="0" noProof="0">
                <a:ln>
                  <a:noFill/>
                </a:ln>
                <a:solidFill>
                  <a:sysClr val="windowText" lastClr="000000"/>
                </a:solidFill>
                <a:effectLst/>
                <a:uLnTx/>
                <a:uFillTx/>
                <a:latin typeface="Calibri"/>
                <a:ea typeface="+mn-ea"/>
                <a:cs typeface="Calibri"/>
              </a:rPr>
              <a:t> safety.</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28" name="object 128"/>
          <p:cNvSpPr txBox="1"/>
          <p:nvPr/>
        </p:nvSpPr>
        <p:spPr>
          <a:xfrm>
            <a:off x="3817111" y="2590350"/>
            <a:ext cx="549649" cy="174309"/>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059" b="1" i="0" u="none" strike="noStrike" kern="0" cap="none" spc="-9" normalizeH="0" baseline="0" noProof="0">
                <a:ln>
                  <a:noFill/>
                </a:ln>
                <a:solidFill>
                  <a:sysClr val="windowText" lastClr="000000"/>
                </a:solidFill>
                <a:effectLst/>
                <a:uLnTx/>
                <a:uFillTx/>
                <a:latin typeface="Calibri"/>
                <a:ea typeface="+mn-ea"/>
                <a:cs typeface="Calibri"/>
              </a:rPr>
              <a:t>Boarding</a:t>
            </a:r>
            <a:endParaRPr kumimoji="0" sz="1059"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29" name="object 129"/>
          <p:cNvSpPr txBox="1"/>
          <p:nvPr/>
        </p:nvSpPr>
        <p:spPr>
          <a:xfrm>
            <a:off x="3817111" y="2764041"/>
            <a:ext cx="3524250"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Ongoing</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leaning</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gat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rea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regula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ealth</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creening</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question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o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ll</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30" name="object 130"/>
          <p:cNvSpPr txBox="1"/>
          <p:nvPr/>
        </p:nvSpPr>
        <p:spPr>
          <a:xfrm>
            <a:off x="3817111" y="2898512"/>
            <a:ext cx="3623422"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customers, adjusted</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boarding</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rocess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acilitating</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hysica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distancing</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nd</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31" name="object 131"/>
          <p:cNvSpPr txBox="1"/>
          <p:nvPr/>
        </p:nvSpPr>
        <p:spPr>
          <a:xfrm>
            <a:off x="3817111" y="3032982"/>
            <a:ext cx="3771340"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mandatory</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ac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vering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o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ll</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mployee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ustomer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r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teps</a:t>
            </a:r>
            <a:r>
              <a:rPr kumimoji="0" sz="927" b="0" i="0" u="none" strike="noStrike" kern="0" cap="none" spc="-9" normalizeH="0" baseline="0" noProof="0">
                <a:ln>
                  <a:noFill/>
                </a:ln>
                <a:solidFill>
                  <a:sysClr val="windowText" lastClr="000000"/>
                </a:solidFill>
                <a:effectLst/>
                <a:uLnTx/>
                <a:uFillTx/>
                <a:latin typeface="Calibri"/>
                <a:ea typeface="+mn-ea"/>
                <a:cs typeface="Calibri"/>
              </a:rPr>
              <a:t> designed</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32" name="object 132"/>
          <p:cNvSpPr txBox="1"/>
          <p:nvPr/>
        </p:nvSpPr>
        <p:spPr>
          <a:xfrm>
            <a:off x="3817111" y="3167453"/>
            <a:ext cx="1465729"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rotec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veryon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a:t>
            </a:r>
            <a:r>
              <a:rPr kumimoji="0" sz="927" b="0" i="0" u="none" strike="noStrike" kern="0" cap="none" spc="-9" normalizeH="0" baseline="0" noProof="0">
                <a:ln>
                  <a:noFill/>
                </a:ln>
                <a:solidFill>
                  <a:sysClr val="windowText" lastClr="000000"/>
                </a:solidFill>
                <a:effectLst/>
                <a:uLnTx/>
                <a:uFillTx/>
                <a:latin typeface="Calibri"/>
                <a:ea typeface="+mn-ea"/>
                <a:cs typeface="Calibri"/>
              </a:rPr>
              <a:t> board.</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33" name="object 133"/>
          <p:cNvSpPr txBox="1"/>
          <p:nvPr/>
        </p:nvSpPr>
        <p:spPr>
          <a:xfrm>
            <a:off x="3817111" y="3397174"/>
            <a:ext cx="574862" cy="174309"/>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059" b="1" i="0" u="none" strike="noStrike" kern="0" cap="none" spc="62" normalizeH="0" baseline="0" noProof="0">
                <a:ln>
                  <a:noFill/>
                </a:ln>
                <a:solidFill>
                  <a:sysClr val="windowText" lastClr="000000"/>
                </a:solidFill>
                <a:effectLst/>
                <a:uLnTx/>
                <a:uFillTx/>
                <a:latin typeface="Calibri"/>
                <a:ea typeface="+mn-ea"/>
                <a:cs typeface="Calibri"/>
              </a:rPr>
              <a:t>On</a:t>
            </a:r>
            <a:r>
              <a:rPr kumimoji="0" sz="1059" b="1" i="0" u="none" strike="noStrike" kern="0" cap="none" spc="-13" normalizeH="0" baseline="0" noProof="0">
                <a:ln>
                  <a:noFill/>
                </a:ln>
                <a:solidFill>
                  <a:sysClr val="windowText" lastClr="000000"/>
                </a:solidFill>
                <a:effectLst/>
                <a:uLnTx/>
                <a:uFillTx/>
                <a:latin typeface="Calibri"/>
                <a:ea typeface="+mn-ea"/>
                <a:cs typeface="Calibri"/>
              </a:rPr>
              <a:t> </a:t>
            </a:r>
            <a:r>
              <a:rPr kumimoji="0" sz="1059" b="1" i="0" u="none" strike="noStrike" kern="0" cap="none" spc="-9" normalizeH="0" baseline="0" noProof="0">
                <a:ln>
                  <a:noFill/>
                </a:ln>
                <a:solidFill>
                  <a:sysClr val="windowText" lastClr="000000"/>
                </a:solidFill>
                <a:effectLst/>
                <a:uLnTx/>
                <a:uFillTx/>
                <a:latin typeface="Calibri"/>
                <a:ea typeface="+mn-ea"/>
                <a:cs typeface="Calibri"/>
              </a:rPr>
              <a:t>board</a:t>
            </a:r>
            <a:endParaRPr kumimoji="0" sz="1059"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34" name="object 134"/>
          <p:cNvSpPr txBox="1"/>
          <p:nvPr/>
        </p:nvSpPr>
        <p:spPr>
          <a:xfrm>
            <a:off x="3817111" y="3570865"/>
            <a:ext cx="3612776"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ll</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igh-touch</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rea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r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anitize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ith</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ospital-grad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disinfectan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befor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35" name="object 135"/>
          <p:cNvSpPr txBox="1"/>
          <p:nvPr/>
        </p:nvSpPr>
        <p:spPr>
          <a:xfrm>
            <a:off x="3817111" y="3705335"/>
            <a:ext cx="3894044"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ever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ligh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ach</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im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craf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vernight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ceiv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orough</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leaning.</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36" name="object 136"/>
          <p:cNvSpPr txBox="1"/>
          <p:nvPr/>
        </p:nvSpPr>
        <p:spPr>
          <a:xfrm>
            <a:off x="3817112" y="3839806"/>
            <a:ext cx="3704104"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dditiona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reventiv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measur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lik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andator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ac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overing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ersona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car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37" name="object 137"/>
          <p:cNvSpPr txBox="1"/>
          <p:nvPr/>
        </p:nvSpPr>
        <p:spPr>
          <a:xfrm>
            <a:off x="3817111" y="3974276"/>
            <a:ext cx="3852582"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kit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djusted</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nboard</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ervice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re</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lso</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in</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place</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o</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better</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protect</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customer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38" name="object 138"/>
          <p:cNvSpPr txBox="1"/>
          <p:nvPr/>
        </p:nvSpPr>
        <p:spPr>
          <a:xfrm>
            <a:off x="3817112" y="4108747"/>
            <a:ext cx="776007" cy="153983"/>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927" b="0" i="0" u="none" strike="noStrike" kern="0" cap="none" spc="0" normalizeH="0" baseline="0" noProof="0">
                <a:ln>
                  <a:noFill/>
                </a:ln>
                <a:solidFill>
                  <a:srgbClr val="2A2A2A"/>
                </a:solidFill>
                <a:effectLst/>
                <a:uLnTx/>
                <a:uFillTx/>
                <a:latin typeface="Calibri"/>
                <a:ea typeface="+mn-ea"/>
                <a:cs typeface="Calibri"/>
              </a:rPr>
              <a:t>and</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employee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139" name="object 139"/>
          <p:cNvGrpSpPr/>
          <p:nvPr/>
        </p:nvGrpSpPr>
        <p:grpSpPr>
          <a:xfrm>
            <a:off x="7938470" y="0"/>
            <a:ext cx="2191871" cy="6858000"/>
            <a:chOff x="7117333" y="0"/>
            <a:chExt cx="2484120" cy="7772400"/>
          </a:xfrm>
        </p:grpSpPr>
        <p:sp>
          <p:nvSpPr>
            <p:cNvPr id="140" name="object 140"/>
            <p:cNvSpPr/>
            <p:nvPr/>
          </p:nvSpPr>
          <p:spPr>
            <a:xfrm>
              <a:off x="7117333" y="0"/>
              <a:ext cx="160020" cy="7772400"/>
            </a:xfrm>
            <a:custGeom>
              <a:avLst/>
              <a:gdLst/>
              <a:ahLst/>
              <a:cxnLst/>
              <a:rect l="l" t="t" r="r" b="b"/>
              <a:pathLst>
                <a:path w="160020" h="7772400">
                  <a:moveTo>
                    <a:pt x="0" y="7772400"/>
                  </a:moveTo>
                  <a:lnTo>
                    <a:pt x="159766" y="7772400"/>
                  </a:lnTo>
                  <a:lnTo>
                    <a:pt x="159766" y="0"/>
                  </a:lnTo>
                  <a:lnTo>
                    <a:pt x="0" y="0"/>
                  </a:lnTo>
                  <a:lnTo>
                    <a:pt x="0" y="7772400"/>
                  </a:lnTo>
                  <a:close/>
                </a:path>
              </a:pathLst>
            </a:custGeom>
            <a:solidFill>
              <a:srgbClr val="000000">
                <a:alpha val="14999"/>
              </a:srgbClr>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1" name="object 141"/>
            <p:cNvSpPr/>
            <p:nvPr/>
          </p:nvSpPr>
          <p:spPr>
            <a:xfrm>
              <a:off x="7277099" y="0"/>
              <a:ext cx="2324100" cy="7772400"/>
            </a:xfrm>
            <a:custGeom>
              <a:avLst/>
              <a:gdLst/>
              <a:ahLst/>
              <a:cxnLst/>
              <a:rect l="l" t="t" r="r" b="b"/>
              <a:pathLst>
                <a:path w="2324100" h="7772400">
                  <a:moveTo>
                    <a:pt x="2324100" y="0"/>
                  </a:moveTo>
                  <a:lnTo>
                    <a:pt x="0" y="0"/>
                  </a:lnTo>
                  <a:lnTo>
                    <a:pt x="0" y="7772400"/>
                  </a:lnTo>
                  <a:lnTo>
                    <a:pt x="2324100" y="7772400"/>
                  </a:lnTo>
                  <a:lnTo>
                    <a:pt x="2324100"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42" name="object 142"/>
          <p:cNvSpPr txBox="1"/>
          <p:nvPr/>
        </p:nvSpPr>
        <p:spPr>
          <a:xfrm>
            <a:off x="8247530" y="438821"/>
            <a:ext cx="893669" cy="445922"/>
          </a:xfrm>
          <a:prstGeom prst="rect">
            <a:avLst/>
          </a:prstGeom>
        </p:spPr>
        <p:txBody>
          <a:bodyPr vert="horz" wrap="square" lIns="0" tIns="11206" rIns="0" bIns="0" rtlCol="0">
            <a:spAutoFit/>
          </a:bodyPr>
          <a:lstStyle/>
          <a:p>
            <a:pPr marL="11206" marR="4483" lvl="0" indent="0" algn="l" defTabSz="806867" rtl="0" eaLnBrk="1" fontAlgn="auto" latinLnBrk="0" hangingPunct="1">
              <a:lnSpc>
                <a:spcPct val="100000"/>
              </a:lnSpc>
              <a:spcBef>
                <a:spcPts val="88"/>
              </a:spcBef>
              <a:spcAft>
                <a:spcPts val="0"/>
              </a:spcAft>
              <a:buClrTx/>
              <a:buSzTx/>
              <a:buFontTx/>
              <a:buNone/>
              <a:tabLst/>
              <a:defRPr/>
            </a:pPr>
            <a:r>
              <a:rPr kumimoji="0" sz="1412" b="1" i="0" u="none" strike="noStrike" kern="0" cap="none" spc="31" normalizeH="0" baseline="0" noProof="0">
                <a:ln>
                  <a:noFill/>
                </a:ln>
                <a:solidFill>
                  <a:sysClr val="windowText" lastClr="000000"/>
                </a:solidFill>
                <a:effectLst/>
                <a:uLnTx/>
                <a:uFillTx/>
                <a:latin typeface="Calibri"/>
                <a:ea typeface="+mn-ea"/>
                <a:cs typeface="Calibri"/>
              </a:rPr>
              <a:t>Corporate </a:t>
            </a:r>
            <a:r>
              <a:rPr kumimoji="0" sz="1412" b="1" i="0" u="none" strike="noStrike" kern="0" cap="none" spc="-9" normalizeH="0" baseline="0" noProof="0">
                <a:ln>
                  <a:noFill/>
                </a:ln>
                <a:solidFill>
                  <a:sysClr val="windowText" lastClr="000000"/>
                </a:solidFill>
                <a:effectLst/>
                <a:uLnTx/>
                <a:uFillTx/>
                <a:latin typeface="Calibri"/>
                <a:ea typeface="+mn-ea"/>
                <a:cs typeface="Calibri"/>
              </a:rPr>
              <a:t>Citizenship</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143" name="object 143"/>
          <p:cNvGrpSpPr/>
          <p:nvPr/>
        </p:nvGrpSpPr>
        <p:grpSpPr>
          <a:xfrm>
            <a:off x="8750758" y="4817379"/>
            <a:ext cx="628650" cy="1327897"/>
            <a:chOff x="8037926" y="5459696"/>
            <a:chExt cx="712470" cy="1504950"/>
          </a:xfrm>
        </p:grpSpPr>
        <p:pic>
          <p:nvPicPr>
            <p:cNvPr id="144" name="object 144"/>
            <p:cNvPicPr/>
            <p:nvPr/>
          </p:nvPicPr>
          <p:blipFill>
            <a:blip r:embed="rId31" cstate="print"/>
            <a:stretch>
              <a:fillRect/>
            </a:stretch>
          </p:blipFill>
          <p:spPr>
            <a:xfrm>
              <a:off x="8037926" y="5459696"/>
              <a:ext cx="132867" cy="132867"/>
            </a:xfrm>
            <a:prstGeom prst="rect">
              <a:avLst/>
            </a:prstGeom>
          </p:spPr>
        </p:pic>
        <p:pic>
          <p:nvPicPr>
            <p:cNvPr id="145" name="object 145"/>
            <p:cNvPicPr/>
            <p:nvPr/>
          </p:nvPicPr>
          <p:blipFill>
            <a:blip r:embed="rId31" cstate="print"/>
            <a:stretch>
              <a:fillRect/>
            </a:stretch>
          </p:blipFill>
          <p:spPr>
            <a:xfrm>
              <a:off x="8617198" y="6831296"/>
              <a:ext cx="132867" cy="132867"/>
            </a:xfrm>
            <a:prstGeom prst="rect">
              <a:avLst/>
            </a:prstGeom>
          </p:spPr>
        </p:pic>
      </p:grpSp>
      <p:sp>
        <p:nvSpPr>
          <p:cNvPr id="146" name="object 146"/>
          <p:cNvSpPr txBox="1"/>
          <p:nvPr/>
        </p:nvSpPr>
        <p:spPr>
          <a:xfrm>
            <a:off x="8247529" y="2161165"/>
            <a:ext cx="1697130" cy="4152438"/>
          </a:xfrm>
          <a:prstGeom prst="rect">
            <a:avLst/>
          </a:prstGeom>
        </p:spPr>
        <p:txBody>
          <a:bodyPr vert="horz" wrap="square" lIns="0" tIns="21291" rIns="0" bIns="0" rtlCol="0">
            <a:spAutoFit/>
          </a:bodyPr>
          <a:lstStyle/>
          <a:p>
            <a:pPr marL="11206" marR="54351" lvl="0" indent="0" algn="l" defTabSz="806867" rtl="0" eaLnBrk="1" fontAlgn="auto" latinLnBrk="0" hangingPunct="1">
              <a:lnSpc>
                <a:spcPts val="1059"/>
              </a:lnSpc>
              <a:spcBef>
                <a:spcPts val="168"/>
              </a:spcBef>
              <a:spcAft>
                <a:spcPts val="0"/>
              </a:spcAft>
              <a:buClrTx/>
              <a:buSzTx/>
              <a:buFontTx/>
              <a:buNone/>
              <a:tabLst/>
              <a:defRPr/>
            </a:pPr>
            <a:r>
              <a:rPr kumimoji="0" sz="927" b="0" i="1" u="none" strike="noStrike" kern="0" cap="none" spc="0" normalizeH="0" baseline="0" noProof="0">
                <a:ln>
                  <a:noFill/>
                </a:ln>
                <a:solidFill>
                  <a:sysClr val="windowText" lastClr="000000"/>
                </a:solidFill>
                <a:effectLst/>
                <a:uLnTx/>
                <a:uFillTx/>
                <a:latin typeface="Calibri"/>
                <a:ea typeface="+mn-ea"/>
                <a:cs typeface="Calibri"/>
              </a:rPr>
              <a:t>“I</a:t>
            </a:r>
            <a:r>
              <a:rPr kumimoji="0" sz="927" b="0" i="1" u="none" strike="noStrike" kern="0" cap="none" spc="-26" normalizeH="0" baseline="0" noProof="0">
                <a:ln>
                  <a:noFill/>
                </a:ln>
                <a:solidFill>
                  <a:sysClr val="windowText" lastClr="000000"/>
                </a:solidFill>
                <a:effectLst/>
                <a:uLnTx/>
                <a:uFillTx/>
                <a:latin typeface="Calibri"/>
                <a:ea typeface="+mn-ea"/>
                <a:cs typeface="Calibri"/>
              </a:rPr>
              <a:t> </a:t>
            </a:r>
            <a:r>
              <a:rPr kumimoji="0" sz="927" b="0" i="1" u="none" strike="noStrike" kern="0" cap="none" spc="0" normalizeH="0" baseline="0" noProof="0">
                <a:ln>
                  <a:noFill/>
                </a:ln>
                <a:solidFill>
                  <a:sysClr val="windowText" lastClr="000000"/>
                </a:solidFill>
                <a:effectLst/>
                <a:uLnTx/>
                <a:uFillTx/>
                <a:latin typeface="Calibri"/>
                <a:ea typeface="+mn-ea"/>
                <a:cs typeface="Calibri"/>
              </a:rPr>
              <a:t>feel</a:t>
            </a:r>
            <a:r>
              <a:rPr kumimoji="0" sz="927" b="0" i="1" u="none" strike="noStrike" kern="0" cap="none" spc="-26" normalizeH="0" baseline="0" noProof="0">
                <a:ln>
                  <a:noFill/>
                </a:ln>
                <a:solidFill>
                  <a:sysClr val="windowText" lastClr="000000"/>
                </a:solidFill>
                <a:effectLst/>
                <a:uLnTx/>
                <a:uFillTx/>
                <a:latin typeface="Calibri"/>
                <a:ea typeface="+mn-ea"/>
                <a:cs typeface="Calibri"/>
              </a:rPr>
              <a:t> </a:t>
            </a:r>
            <a:r>
              <a:rPr kumimoji="0" sz="927" b="0" i="1" u="none" strike="noStrike" kern="0" cap="none" spc="-18" normalizeH="0" baseline="0" noProof="0">
                <a:ln>
                  <a:noFill/>
                </a:ln>
                <a:solidFill>
                  <a:sysClr val="windowText" lastClr="000000"/>
                </a:solidFill>
                <a:effectLst/>
                <a:uLnTx/>
                <a:uFillTx/>
                <a:latin typeface="Calibri"/>
                <a:ea typeface="+mn-ea"/>
                <a:cs typeface="Calibri"/>
              </a:rPr>
              <a:t>proud</a:t>
            </a:r>
            <a:r>
              <a:rPr kumimoji="0" sz="927" b="0" i="1" u="none" strike="noStrike" kern="0" cap="none" spc="-26" normalizeH="0" baseline="0" noProof="0">
                <a:ln>
                  <a:noFill/>
                </a:ln>
                <a:solidFill>
                  <a:sysClr val="windowText" lastClr="000000"/>
                </a:solidFill>
                <a:effectLst/>
                <a:uLnTx/>
                <a:uFillTx/>
                <a:latin typeface="Calibri"/>
                <a:ea typeface="+mn-ea"/>
                <a:cs typeface="Calibri"/>
              </a:rPr>
              <a:t> </a:t>
            </a:r>
            <a:r>
              <a:rPr kumimoji="0" sz="927" b="0" i="1" u="none" strike="noStrike" kern="0" cap="none" spc="-9" normalizeH="0" baseline="0" noProof="0">
                <a:ln>
                  <a:noFill/>
                </a:ln>
                <a:solidFill>
                  <a:sysClr val="windowText" lastClr="000000"/>
                </a:solidFill>
                <a:effectLst/>
                <a:uLnTx/>
                <a:uFillTx/>
                <a:latin typeface="Calibri"/>
                <a:ea typeface="+mn-ea"/>
                <a:cs typeface="Calibri"/>
              </a:rPr>
              <a:t>to</a:t>
            </a:r>
            <a:r>
              <a:rPr kumimoji="0" sz="927" b="0" i="1" u="none" strike="noStrike" kern="0" cap="none" spc="-22" normalizeH="0" baseline="0" noProof="0">
                <a:ln>
                  <a:noFill/>
                </a:ln>
                <a:solidFill>
                  <a:sysClr val="windowText" lastClr="000000"/>
                </a:solidFill>
                <a:effectLst/>
                <a:uLnTx/>
                <a:uFillTx/>
                <a:latin typeface="Calibri"/>
                <a:ea typeface="+mn-ea"/>
                <a:cs typeface="Calibri"/>
              </a:rPr>
              <a:t> </a:t>
            </a:r>
            <a:r>
              <a:rPr kumimoji="0" sz="927" b="0" i="1" u="none" strike="noStrike" kern="0" cap="none" spc="-26" normalizeH="0" baseline="0" noProof="0">
                <a:ln>
                  <a:noFill/>
                </a:ln>
                <a:solidFill>
                  <a:sysClr val="windowText" lastClr="000000"/>
                </a:solidFill>
                <a:effectLst/>
                <a:uLnTx/>
                <a:uFillTx/>
                <a:latin typeface="Calibri"/>
                <a:ea typeface="+mn-ea"/>
                <a:cs typeface="Calibri"/>
              </a:rPr>
              <a:t>have </a:t>
            </a:r>
            <a:r>
              <a:rPr kumimoji="0" sz="927" b="0" i="1" u="none" strike="noStrike" kern="0" cap="none" spc="-9" normalizeH="0" baseline="0" noProof="0">
                <a:ln>
                  <a:noFill/>
                </a:ln>
                <a:solidFill>
                  <a:sysClr val="windowText" lastClr="000000"/>
                </a:solidFill>
                <a:effectLst/>
                <a:uLnTx/>
                <a:uFillTx/>
                <a:latin typeface="Calibri"/>
                <a:ea typeface="+mn-ea"/>
                <a:cs typeface="Calibri"/>
              </a:rPr>
              <a:t>supported</a:t>
            </a:r>
            <a:r>
              <a:rPr kumimoji="0" sz="927" b="0" i="1" u="none" strike="noStrike" kern="0" cap="none" spc="441" normalizeH="0" baseline="0" noProof="0">
                <a:ln>
                  <a:noFill/>
                </a:ln>
                <a:solidFill>
                  <a:sysClr val="windowText" lastClr="000000"/>
                </a:solidFill>
                <a:effectLst/>
                <a:uLnTx/>
                <a:uFillTx/>
                <a:latin typeface="Calibri"/>
                <a:ea typeface="+mn-ea"/>
                <a:cs typeface="Calibri"/>
              </a:rPr>
              <a:t> </a:t>
            </a:r>
            <a:r>
              <a:rPr kumimoji="0" sz="927" b="0" i="1" u="none" strike="noStrike" kern="0" cap="none" spc="-9" normalizeH="0" baseline="0" noProof="0">
                <a:ln>
                  <a:noFill/>
                </a:ln>
                <a:solidFill>
                  <a:sysClr val="windowText" lastClr="000000"/>
                </a:solidFill>
                <a:effectLst/>
                <a:uLnTx/>
                <a:uFillTx/>
                <a:latin typeface="Calibri"/>
                <a:ea typeface="+mn-ea"/>
                <a:cs typeface="Calibri"/>
              </a:rPr>
              <a:t>our</a:t>
            </a:r>
            <a:r>
              <a:rPr kumimoji="0" sz="927" b="0" i="1" u="none" strike="noStrike" kern="0" cap="none" spc="-26" normalizeH="0" baseline="0" noProof="0">
                <a:ln>
                  <a:noFill/>
                </a:ln>
                <a:solidFill>
                  <a:sysClr val="windowText" lastClr="000000"/>
                </a:solidFill>
                <a:effectLst/>
                <a:uLnTx/>
                <a:uFillTx/>
                <a:latin typeface="Calibri"/>
                <a:ea typeface="+mn-ea"/>
                <a:cs typeface="Calibri"/>
              </a:rPr>
              <a:t> </a:t>
            </a:r>
            <a:r>
              <a:rPr kumimoji="0" sz="927" b="0" i="1" u="none" strike="noStrike" kern="0" cap="none" spc="0" normalizeH="0" baseline="0" noProof="0">
                <a:ln>
                  <a:noFill/>
                </a:ln>
                <a:solidFill>
                  <a:sysClr val="windowText" lastClr="000000"/>
                </a:solidFill>
                <a:effectLst/>
                <a:uLnTx/>
                <a:uFillTx/>
                <a:latin typeface="Calibri"/>
                <a:ea typeface="+mn-ea"/>
                <a:cs typeface="Calibri"/>
              </a:rPr>
              <a:t>country</a:t>
            </a:r>
            <a:r>
              <a:rPr kumimoji="0" sz="927" b="0" i="1" u="none" strike="noStrike" kern="0" cap="none" spc="-22" normalizeH="0" baseline="0" noProof="0">
                <a:ln>
                  <a:noFill/>
                </a:ln>
                <a:solidFill>
                  <a:sysClr val="windowText" lastClr="000000"/>
                </a:solidFill>
                <a:effectLst/>
                <a:uLnTx/>
                <a:uFillTx/>
                <a:latin typeface="Calibri"/>
                <a:ea typeface="+mn-ea"/>
                <a:cs typeface="Calibri"/>
              </a:rPr>
              <a:t> </a:t>
            </a:r>
            <a:r>
              <a:rPr kumimoji="0" sz="927" b="0" i="1" u="none" strike="noStrike" kern="0" cap="none" spc="-31" normalizeH="0" baseline="0" noProof="0">
                <a:ln>
                  <a:noFill/>
                </a:ln>
                <a:solidFill>
                  <a:sysClr val="windowText" lastClr="000000"/>
                </a:solidFill>
                <a:effectLst/>
                <a:uLnTx/>
                <a:uFillTx/>
                <a:latin typeface="Calibri"/>
                <a:ea typeface="+mn-ea"/>
                <a:cs typeface="Calibri"/>
              </a:rPr>
              <a:t>and</a:t>
            </a:r>
            <a:r>
              <a:rPr kumimoji="0" sz="927" b="0" i="1" u="none" strike="noStrike" kern="0" cap="none" spc="-22" normalizeH="0" baseline="0" noProof="0">
                <a:ln>
                  <a:noFill/>
                </a:ln>
                <a:solidFill>
                  <a:sysClr val="windowText" lastClr="000000"/>
                </a:solidFill>
                <a:effectLst/>
                <a:uLnTx/>
                <a:uFillTx/>
                <a:latin typeface="Calibri"/>
                <a:ea typeface="+mn-ea"/>
                <a:cs typeface="Calibri"/>
              </a:rPr>
              <a:t> </a:t>
            </a:r>
            <a:r>
              <a:rPr kumimoji="0" sz="927" b="0" i="1" u="none" strike="noStrike" kern="0" cap="none" spc="-9" normalizeH="0" baseline="0" noProof="0">
                <a:ln>
                  <a:noFill/>
                </a:ln>
                <a:solidFill>
                  <a:sysClr val="windowText" lastClr="000000"/>
                </a:solidFill>
                <a:effectLst/>
                <a:uLnTx/>
                <a:uFillTx/>
                <a:latin typeface="Calibri"/>
                <a:ea typeface="+mn-ea"/>
                <a:cs typeface="Calibri"/>
              </a:rPr>
              <a:t>fellow</a:t>
            </a:r>
            <a:r>
              <a:rPr kumimoji="0" sz="927" b="0" i="1" u="none" strike="noStrike" kern="0" cap="none" spc="-26" normalizeH="0" baseline="0" noProof="0">
                <a:ln>
                  <a:noFill/>
                </a:ln>
                <a:solidFill>
                  <a:sysClr val="windowText" lastClr="000000"/>
                </a:solidFill>
                <a:effectLst/>
                <a:uLnTx/>
                <a:uFillTx/>
                <a:latin typeface="Calibri"/>
                <a:ea typeface="+mn-ea"/>
                <a:cs typeface="Calibri"/>
              </a:rPr>
              <a:t> </a:t>
            </a:r>
            <a:r>
              <a:rPr kumimoji="0" sz="927" b="0" i="1" u="none" strike="noStrike" kern="0" cap="none" spc="-9" normalizeH="0" baseline="0" noProof="0">
                <a:ln>
                  <a:noFill/>
                </a:ln>
                <a:solidFill>
                  <a:sysClr val="windowText" lastClr="000000"/>
                </a:solidFill>
                <a:effectLst/>
                <a:uLnTx/>
                <a:uFillTx/>
                <a:latin typeface="Calibri"/>
                <a:ea typeface="+mn-ea"/>
                <a:cs typeface="Calibri"/>
              </a:rPr>
              <a:t>Canadians during</a:t>
            </a:r>
            <a:r>
              <a:rPr kumimoji="0" sz="927" b="0" i="1" u="none" strike="noStrike" kern="0" cap="none" spc="-4" normalizeH="0" baseline="0" noProof="0">
                <a:ln>
                  <a:noFill/>
                </a:ln>
                <a:solidFill>
                  <a:sysClr val="windowText" lastClr="000000"/>
                </a:solidFill>
                <a:effectLst/>
                <a:uLnTx/>
                <a:uFillTx/>
                <a:latin typeface="Calibri"/>
                <a:ea typeface="+mn-ea"/>
                <a:cs typeface="Calibri"/>
              </a:rPr>
              <a:t> </a:t>
            </a:r>
            <a:r>
              <a:rPr kumimoji="0" sz="927" b="0" i="1" u="none" strike="noStrike" kern="0" cap="none" spc="-9" normalizeH="0" baseline="0" noProof="0">
                <a:ln>
                  <a:noFill/>
                </a:ln>
                <a:solidFill>
                  <a:sysClr val="windowText" lastClr="000000"/>
                </a:solidFill>
                <a:effectLst/>
                <a:uLnTx/>
                <a:uFillTx/>
                <a:latin typeface="Calibri"/>
                <a:ea typeface="+mn-ea"/>
                <a:cs typeface="Calibri"/>
              </a:rPr>
              <a:t>these</a:t>
            </a:r>
            <a:r>
              <a:rPr kumimoji="0" sz="927" b="0" i="1" u="none" strike="noStrike" kern="0" cap="none" spc="-4" normalizeH="0" baseline="0" noProof="0">
                <a:ln>
                  <a:noFill/>
                </a:ln>
                <a:solidFill>
                  <a:sysClr val="windowText" lastClr="000000"/>
                </a:solidFill>
                <a:effectLst/>
                <a:uLnTx/>
                <a:uFillTx/>
                <a:latin typeface="Calibri"/>
                <a:ea typeface="+mn-ea"/>
                <a:cs typeface="Calibri"/>
              </a:rPr>
              <a:t> </a:t>
            </a:r>
            <a:r>
              <a:rPr kumimoji="0" sz="927" b="0" i="1" u="none" strike="noStrike" kern="0" cap="none" spc="-18" normalizeH="0" baseline="0" noProof="0">
                <a:ln>
                  <a:noFill/>
                </a:ln>
                <a:solidFill>
                  <a:sysClr val="windowText" lastClr="000000"/>
                </a:solidFill>
                <a:effectLst/>
                <a:uLnTx/>
                <a:uFillTx/>
                <a:latin typeface="Calibri"/>
                <a:ea typeface="+mn-ea"/>
                <a:cs typeface="Calibri"/>
              </a:rPr>
              <a:t>unprecedented</a:t>
            </a:r>
            <a:r>
              <a:rPr kumimoji="0" sz="927" b="0" i="1" u="none" strike="noStrike" kern="0" cap="none" spc="-4" normalizeH="0" baseline="0" noProof="0">
                <a:ln>
                  <a:noFill/>
                </a:ln>
                <a:solidFill>
                  <a:sysClr val="windowText" lastClr="000000"/>
                </a:solidFill>
                <a:effectLst/>
                <a:uLnTx/>
                <a:uFillTx/>
                <a:latin typeface="Calibri"/>
                <a:ea typeface="+mn-ea"/>
                <a:cs typeface="Calibri"/>
              </a:rPr>
              <a:t> </a:t>
            </a:r>
            <a:r>
              <a:rPr kumimoji="0" sz="927" b="0" i="1" u="none" strike="noStrike" kern="0" cap="none" spc="-9" normalizeH="0" baseline="0" noProof="0">
                <a:ln>
                  <a:noFill/>
                </a:ln>
                <a:solidFill>
                  <a:sysClr val="windowText" lastClr="000000"/>
                </a:solidFill>
                <a:effectLst/>
                <a:uLnTx/>
                <a:uFillTx/>
                <a:latin typeface="Calibri"/>
                <a:ea typeface="+mn-ea"/>
                <a:cs typeface="Calibri"/>
              </a:rPr>
              <a:t>times. </a:t>
            </a:r>
            <a:r>
              <a:rPr kumimoji="0" sz="927" b="0" i="1" u="none" strike="noStrike" kern="0" cap="none" spc="-18" normalizeH="0" baseline="0" noProof="0">
                <a:ln>
                  <a:noFill/>
                </a:ln>
                <a:solidFill>
                  <a:sysClr val="windowText" lastClr="000000"/>
                </a:solidFill>
                <a:effectLst/>
                <a:uLnTx/>
                <a:uFillTx/>
                <a:latin typeface="Calibri"/>
                <a:ea typeface="+mn-ea"/>
                <a:cs typeface="Calibri"/>
              </a:rPr>
              <a:t>Working</a:t>
            </a:r>
            <a:r>
              <a:rPr kumimoji="0" sz="927" b="0" i="1" u="none" strike="noStrike" kern="0" cap="none" spc="-35" normalizeH="0" baseline="0" noProof="0">
                <a:ln>
                  <a:noFill/>
                </a:ln>
                <a:solidFill>
                  <a:sysClr val="windowText" lastClr="000000"/>
                </a:solidFill>
                <a:effectLst/>
                <a:uLnTx/>
                <a:uFillTx/>
                <a:latin typeface="Calibri"/>
                <a:ea typeface="+mn-ea"/>
                <a:cs typeface="Calibri"/>
              </a:rPr>
              <a:t> </a:t>
            </a:r>
            <a:r>
              <a:rPr kumimoji="0" sz="927" b="0" i="1" u="none" strike="noStrike" kern="0" cap="none" spc="-18" normalizeH="0" baseline="0" noProof="0">
                <a:ln>
                  <a:noFill/>
                </a:ln>
                <a:solidFill>
                  <a:sysClr val="windowText" lastClr="000000"/>
                </a:solidFill>
                <a:effectLst/>
                <a:uLnTx/>
                <a:uFillTx/>
                <a:latin typeface="Calibri"/>
                <a:ea typeface="+mn-ea"/>
                <a:cs typeface="Calibri"/>
              </a:rPr>
              <a:t>with</a:t>
            </a:r>
            <a:r>
              <a:rPr kumimoji="0" sz="927" b="0" i="1" u="none" strike="noStrike" kern="0" cap="none" spc="-35" normalizeH="0" baseline="0" noProof="0">
                <a:ln>
                  <a:noFill/>
                </a:ln>
                <a:solidFill>
                  <a:sysClr val="windowText" lastClr="000000"/>
                </a:solidFill>
                <a:effectLst/>
                <a:uLnTx/>
                <a:uFillTx/>
                <a:latin typeface="Calibri"/>
                <a:ea typeface="+mn-ea"/>
                <a:cs typeface="Calibri"/>
              </a:rPr>
              <a:t> </a:t>
            </a:r>
            <a:r>
              <a:rPr kumimoji="0" sz="927" b="0" i="1" u="none" strike="noStrike" kern="0" cap="none" spc="0" normalizeH="0" baseline="0" noProof="0">
                <a:ln>
                  <a:noFill/>
                </a:ln>
                <a:solidFill>
                  <a:sysClr val="windowText" lastClr="000000"/>
                </a:solidFill>
                <a:effectLst/>
                <a:uLnTx/>
                <a:uFillTx/>
                <a:latin typeface="Calibri"/>
                <a:ea typeface="+mn-ea"/>
                <a:cs typeface="Calibri"/>
              </a:rPr>
              <a:t>the</a:t>
            </a:r>
            <a:r>
              <a:rPr kumimoji="0" sz="927" b="0" i="1" u="none" strike="noStrike" kern="0" cap="none" spc="-31" normalizeH="0" baseline="0" noProof="0">
                <a:ln>
                  <a:noFill/>
                </a:ln>
                <a:solidFill>
                  <a:sysClr val="windowText" lastClr="000000"/>
                </a:solidFill>
                <a:effectLst/>
                <a:uLnTx/>
                <a:uFillTx/>
                <a:latin typeface="Calibri"/>
                <a:ea typeface="+mn-ea"/>
                <a:cs typeface="Calibri"/>
              </a:rPr>
              <a:t> </a:t>
            </a:r>
            <a:r>
              <a:rPr kumimoji="0" sz="927" b="0" i="1" u="none" strike="noStrike" kern="0" cap="none" spc="-9" normalizeH="0" baseline="0" noProof="0">
                <a:ln>
                  <a:noFill/>
                </a:ln>
                <a:solidFill>
                  <a:sysClr val="windowText" lastClr="000000"/>
                </a:solidFill>
                <a:effectLst/>
                <a:uLnTx/>
                <a:uFillTx/>
                <a:latin typeface="Calibri"/>
                <a:ea typeface="+mn-ea"/>
                <a:cs typeface="Calibri"/>
              </a:rPr>
              <a:t>Red</a:t>
            </a:r>
            <a:r>
              <a:rPr kumimoji="0" sz="927" b="0" i="1" u="none" strike="noStrike" kern="0" cap="none" spc="-35" normalizeH="0" baseline="0" noProof="0">
                <a:ln>
                  <a:noFill/>
                </a:ln>
                <a:solidFill>
                  <a:sysClr val="windowText" lastClr="000000"/>
                </a:solidFill>
                <a:effectLst/>
                <a:uLnTx/>
                <a:uFillTx/>
                <a:latin typeface="Calibri"/>
                <a:ea typeface="+mn-ea"/>
                <a:cs typeface="Calibri"/>
              </a:rPr>
              <a:t> </a:t>
            </a:r>
            <a:r>
              <a:rPr kumimoji="0" sz="927" b="0" i="1" u="none" strike="noStrike" kern="0" cap="none" spc="0" normalizeH="0" baseline="0" noProof="0">
                <a:ln>
                  <a:noFill/>
                </a:ln>
                <a:solidFill>
                  <a:sysClr val="windowText" lastClr="000000"/>
                </a:solidFill>
                <a:effectLst/>
                <a:uLnTx/>
                <a:uFillTx/>
                <a:latin typeface="Calibri"/>
                <a:ea typeface="+mn-ea"/>
                <a:cs typeface="Calibri"/>
              </a:rPr>
              <a:t>Cross</a:t>
            </a:r>
            <a:r>
              <a:rPr kumimoji="0" sz="927" b="0" i="1" u="none" strike="noStrike" kern="0" cap="none" spc="-35" normalizeH="0" baseline="0" noProof="0">
                <a:ln>
                  <a:noFill/>
                </a:ln>
                <a:solidFill>
                  <a:sysClr val="windowText" lastClr="000000"/>
                </a:solidFill>
                <a:effectLst/>
                <a:uLnTx/>
                <a:uFillTx/>
                <a:latin typeface="Calibri"/>
                <a:ea typeface="+mn-ea"/>
                <a:cs typeface="Calibri"/>
              </a:rPr>
              <a:t> </a:t>
            </a:r>
            <a:r>
              <a:rPr kumimoji="0" sz="927" b="0" i="1" u="none" strike="noStrike" kern="0" cap="none" spc="-18" normalizeH="0" baseline="0" noProof="0">
                <a:ln>
                  <a:noFill/>
                </a:ln>
                <a:solidFill>
                  <a:sysClr val="windowText" lastClr="000000"/>
                </a:solidFill>
                <a:effectLst/>
                <a:uLnTx/>
                <a:uFillTx/>
                <a:latin typeface="Calibri"/>
                <a:ea typeface="+mn-ea"/>
                <a:cs typeface="Calibri"/>
              </a:rPr>
              <a:t>gave me</a:t>
            </a:r>
            <a:r>
              <a:rPr kumimoji="0" sz="927" b="0" i="1" u="none" strike="noStrike" kern="0" cap="none" spc="-35" normalizeH="0" baseline="0" noProof="0">
                <a:ln>
                  <a:noFill/>
                </a:ln>
                <a:solidFill>
                  <a:sysClr val="windowText" lastClr="000000"/>
                </a:solidFill>
                <a:effectLst/>
                <a:uLnTx/>
                <a:uFillTx/>
                <a:latin typeface="Calibri"/>
                <a:ea typeface="+mn-ea"/>
                <a:cs typeface="Calibri"/>
              </a:rPr>
              <a:t> </a:t>
            </a:r>
            <a:r>
              <a:rPr kumimoji="0" sz="927" b="0" i="1" u="none" strike="noStrike" kern="0" cap="none" spc="-49" normalizeH="0" baseline="0" noProof="0">
                <a:ln>
                  <a:noFill/>
                </a:ln>
                <a:solidFill>
                  <a:sysClr val="windowText" lastClr="000000"/>
                </a:solidFill>
                <a:effectLst/>
                <a:uLnTx/>
                <a:uFillTx/>
                <a:latin typeface="Calibri"/>
                <a:ea typeface="+mn-ea"/>
                <a:cs typeface="Calibri"/>
              </a:rPr>
              <a:t>a</a:t>
            </a:r>
            <a:r>
              <a:rPr kumimoji="0" sz="927" b="0" i="1" u="none" strike="noStrike" kern="0" cap="none" spc="-31" normalizeH="0" baseline="0" noProof="0">
                <a:ln>
                  <a:noFill/>
                </a:ln>
                <a:solidFill>
                  <a:sysClr val="windowText" lastClr="000000"/>
                </a:solidFill>
                <a:effectLst/>
                <a:uLnTx/>
                <a:uFillTx/>
                <a:latin typeface="Calibri"/>
                <a:ea typeface="+mn-ea"/>
                <a:cs typeface="Calibri"/>
              </a:rPr>
              <a:t> </a:t>
            </a:r>
            <a:r>
              <a:rPr kumimoji="0" sz="927" b="0" i="1" u="none" strike="noStrike" kern="0" cap="none" spc="-9" normalizeH="0" baseline="0" noProof="0">
                <a:ln>
                  <a:noFill/>
                </a:ln>
                <a:solidFill>
                  <a:sysClr val="windowText" lastClr="000000"/>
                </a:solidFill>
                <a:effectLst/>
                <a:uLnTx/>
                <a:uFillTx/>
                <a:latin typeface="Calibri"/>
                <a:ea typeface="+mn-ea"/>
                <a:cs typeface="Calibri"/>
              </a:rPr>
              <a:t>chance</a:t>
            </a:r>
            <a:r>
              <a:rPr kumimoji="0" sz="927" b="0" i="1" u="none" strike="noStrike" kern="0" cap="none" spc="-31" normalizeH="0" baseline="0" noProof="0">
                <a:ln>
                  <a:noFill/>
                </a:ln>
                <a:solidFill>
                  <a:sysClr val="windowText" lastClr="000000"/>
                </a:solidFill>
                <a:effectLst/>
                <a:uLnTx/>
                <a:uFillTx/>
                <a:latin typeface="Calibri"/>
                <a:ea typeface="+mn-ea"/>
                <a:cs typeface="Calibri"/>
              </a:rPr>
              <a:t> </a:t>
            </a:r>
            <a:r>
              <a:rPr kumimoji="0" sz="927" b="0" i="1" u="none" strike="noStrike" kern="0" cap="none" spc="-9" normalizeH="0" baseline="0" noProof="0">
                <a:ln>
                  <a:noFill/>
                </a:ln>
                <a:solidFill>
                  <a:sysClr val="windowText" lastClr="000000"/>
                </a:solidFill>
                <a:effectLst/>
                <a:uLnTx/>
                <a:uFillTx/>
                <a:latin typeface="Calibri"/>
                <a:ea typeface="+mn-ea"/>
                <a:cs typeface="Calibri"/>
              </a:rPr>
              <a:t>to</a:t>
            </a:r>
            <a:r>
              <a:rPr kumimoji="0" sz="927" b="0" i="1" u="none" strike="noStrike" kern="0" cap="none" spc="-31" normalizeH="0" baseline="0" noProof="0">
                <a:ln>
                  <a:noFill/>
                </a:ln>
                <a:solidFill>
                  <a:sysClr val="windowText" lastClr="000000"/>
                </a:solidFill>
                <a:effectLst/>
                <a:uLnTx/>
                <a:uFillTx/>
                <a:latin typeface="Calibri"/>
                <a:ea typeface="+mn-ea"/>
                <a:cs typeface="Calibri"/>
              </a:rPr>
              <a:t> </a:t>
            </a:r>
            <a:r>
              <a:rPr kumimoji="0" sz="927" b="0" i="1" u="none" strike="noStrike" kern="0" cap="none" spc="-9" normalizeH="0" baseline="0" noProof="0">
                <a:ln>
                  <a:noFill/>
                </a:ln>
                <a:solidFill>
                  <a:sysClr val="windowText" lastClr="000000"/>
                </a:solidFill>
                <a:effectLst/>
                <a:uLnTx/>
                <a:uFillTx/>
                <a:latin typeface="Calibri"/>
                <a:ea typeface="+mn-ea"/>
                <a:cs typeface="Calibri"/>
              </a:rPr>
              <a:t>give</a:t>
            </a:r>
            <a:r>
              <a:rPr kumimoji="0" sz="927" b="0" i="1" u="none" strike="noStrike" kern="0" cap="none" spc="-31" normalizeH="0" baseline="0" noProof="0">
                <a:ln>
                  <a:noFill/>
                </a:ln>
                <a:solidFill>
                  <a:sysClr val="windowText" lastClr="000000"/>
                </a:solidFill>
                <a:effectLst/>
                <a:uLnTx/>
                <a:uFillTx/>
                <a:latin typeface="Calibri"/>
                <a:ea typeface="+mn-ea"/>
                <a:cs typeface="Calibri"/>
              </a:rPr>
              <a:t> </a:t>
            </a:r>
            <a:r>
              <a:rPr kumimoji="0" sz="927" b="0" i="1" u="none" strike="noStrike" kern="0" cap="none" spc="-18" normalizeH="0" baseline="0" noProof="0">
                <a:ln>
                  <a:noFill/>
                </a:ln>
                <a:solidFill>
                  <a:sysClr val="windowText" lastClr="000000"/>
                </a:solidFill>
                <a:effectLst/>
                <a:uLnTx/>
                <a:uFillTx/>
                <a:latin typeface="Calibri"/>
                <a:ea typeface="+mn-ea"/>
                <a:cs typeface="Calibri"/>
              </a:rPr>
              <a:t>back</a:t>
            </a:r>
            <a:r>
              <a:rPr kumimoji="0" sz="927" b="0" i="1" u="none" strike="noStrike" kern="0" cap="none" spc="-31" normalizeH="0" baseline="0" noProof="0">
                <a:ln>
                  <a:noFill/>
                </a:ln>
                <a:solidFill>
                  <a:sysClr val="windowText" lastClr="000000"/>
                </a:solidFill>
                <a:effectLst/>
                <a:uLnTx/>
                <a:uFillTx/>
                <a:latin typeface="Calibri"/>
                <a:ea typeface="+mn-ea"/>
                <a:cs typeface="Calibri"/>
              </a:rPr>
              <a:t> </a:t>
            </a:r>
            <a:r>
              <a:rPr kumimoji="0" sz="927" b="0" i="1" u="none" strike="noStrike" kern="0" cap="none" spc="0" normalizeH="0" baseline="0" noProof="0">
                <a:ln>
                  <a:noFill/>
                </a:ln>
                <a:solidFill>
                  <a:sysClr val="windowText" lastClr="000000"/>
                </a:solidFill>
                <a:effectLst/>
                <a:uLnTx/>
                <a:uFillTx/>
                <a:latin typeface="Calibri"/>
                <a:ea typeface="+mn-ea"/>
                <a:cs typeface="Calibri"/>
              </a:rPr>
              <a:t>in</a:t>
            </a:r>
            <a:r>
              <a:rPr kumimoji="0" sz="927" b="0" i="1" u="none" strike="noStrike" kern="0" cap="none" spc="-31" normalizeH="0" baseline="0" noProof="0">
                <a:ln>
                  <a:noFill/>
                </a:ln>
                <a:solidFill>
                  <a:sysClr val="windowText" lastClr="000000"/>
                </a:solidFill>
                <a:effectLst/>
                <a:uLnTx/>
                <a:uFillTx/>
                <a:latin typeface="Calibri"/>
                <a:ea typeface="+mn-ea"/>
                <a:cs typeface="Calibri"/>
              </a:rPr>
              <a:t> </a:t>
            </a:r>
            <a:r>
              <a:rPr kumimoji="0" sz="927" b="0" i="1" u="none" strike="noStrike" kern="0" cap="none" spc="-44" normalizeH="0" baseline="0" noProof="0">
                <a:ln>
                  <a:noFill/>
                </a:ln>
                <a:solidFill>
                  <a:sysClr val="windowText" lastClr="000000"/>
                </a:solidFill>
                <a:effectLst/>
                <a:uLnTx/>
                <a:uFillTx/>
                <a:latin typeface="Calibri"/>
                <a:ea typeface="+mn-ea"/>
                <a:cs typeface="Calibri"/>
              </a:rPr>
              <a:t>a</a:t>
            </a:r>
            <a:r>
              <a:rPr kumimoji="0" sz="927" b="0" i="1" u="none" strike="noStrike" kern="0" cap="none" spc="-9" normalizeH="0" baseline="0" noProof="0">
                <a:ln>
                  <a:noFill/>
                </a:ln>
                <a:solidFill>
                  <a:sysClr val="windowText" lastClr="000000"/>
                </a:solidFill>
                <a:effectLst/>
                <a:uLnTx/>
                <a:uFillTx/>
                <a:latin typeface="Calibri"/>
                <a:ea typeface="+mn-ea"/>
                <a:cs typeface="Calibri"/>
              </a:rPr>
              <a:t> meaningful</a:t>
            </a:r>
            <a:r>
              <a:rPr kumimoji="0" sz="927" b="0" i="1" u="none" strike="noStrike" kern="0" cap="none" spc="-44" normalizeH="0" baseline="0" noProof="0">
                <a:ln>
                  <a:noFill/>
                </a:ln>
                <a:solidFill>
                  <a:sysClr val="windowText" lastClr="000000"/>
                </a:solidFill>
                <a:effectLst/>
                <a:uLnTx/>
                <a:uFillTx/>
                <a:latin typeface="Calibri"/>
                <a:ea typeface="+mn-ea"/>
                <a:cs typeface="Calibri"/>
              </a:rPr>
              <a:t> way.”</a:t>
            </a:r>
            <a:r>
              <a:rPr kumimoji="0" sz="927" b="0" i="1" u="none" strike="noStrike" kern="0" cap="none" spc="-35"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 Air </a:t>
            </a:r>
            <a:r>
              <a:rPr kumimoji="0" sz="927" b="0" i="0" u="none" strike="noStrike" kern="0" cap="none" spc="-9" normalizeH="0" baseline="0" noProof="0">
                <a:ln>
                  <a:noFill/>
                </a:ln>
                <a:solidFill>
                  <a:sysClr val="windowText" lastClr="000000"/>
                </a:solidFill>
                <a:effectLst/>
                <a:uLnTx/>
                <a:uFillTx/>
                <a:latin typeface="Calibri"/>
                <a:ea typeface="+mn-ea"/>
                <a:cs typeface="Calibri"/>
              </a:rPr>
              <a:t>Canada </a:t>
            </a:r>
            <a:r>
              <a:rPr kumimoji="0" sz="927" b="0" i="0" u="none" strike="noStrike" kern="0" cap="none" spc="0" normalizeH="0" baseline="0" noProof="0">
                <a:ln>
                  <a:noFill/>
                </a:ln>
                <a:solidFill>
                  <a:sysClr val="windowText" lastClr="000000"/>
                </a:solidFill>
                <a:effectLst/>
                <a:uLnTx/>
                <a:uFillTx/>
                <a:latin typeface="Calibri"/>
                <a:ea typeface="+mn-ea"/>
                <a:cs typeface="Calibri"/>
              </a:rPr>
              <a:t>employee</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meena</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Youssef</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on </a:t>
            </a:r>
            <a:r>
              <a:rPr kumimoji="0" sz="927" b="0" i="0" u="none" strike="noStrike" kern="0" cap="none" spc="0" normalizeH="0" baseline="0" noProof="0">
                <a:ln>
                  <a:noFill/>
                </a:ln>
                <a:solidFill>
                  <a:sysClr val="windowText" lastClr="000000"/>
                </a:solidFill>
                <a:effectLst/>
                <a:uLnTx/>
                <a:uFillTx/>
                <a:latin typeface="Calibri"/>
                <a:ea typeface="+mn-ea"/>
                <a:cs typeface="Calibri"/>
              </a:rPr>
              <a:t>working</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ith</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anadian</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203958"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Re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ros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i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igh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gainst </a:t>
            </a:r>
            <a:r>
              <a:rPr kumimoji="0" sz="927" b="0" i="0" u="none" strike="noStrike" kern="0" cap="none" spc="0" normalizeH="0" baseline="0" noProof="0">
                <a:ln>
                  <a:noFill/>
                </a:ln>
                <a:solidFill>
                  <a:sysClr val="windowText" lastClr="000000"/>
                </a:solidFill>
                <a:effectLst/>
                <a:uLnTx/>
                <a:uFillTx/>
                <a:latin typeface="Calibri"/>
                <a:ea typeface="+mn-ea"/>
                <a:cs typeface="Calibri"/>
              </a:rPr>
              <a:t>COVID-</a:t>
            </a:r>
            <a:r>
              <a:rPr kumimoji="0" sz="927" b="0" i="0" u="none" strike="noStrike" kern="0" cap="none" spc="-22" normalizeH="0" baseline="0" noProof="0">
                <a:ln>
                  <a:noFill/>
                </a:ln>
                <a:solidFill>
                  <a:sysClr val="windowText" lastClr="000000"/>
                </a:solidFill>
                <a:effectLst/>
                <a:uLnTx/>
                <a:uFillTx/>
                <a:latin typeface="Calibri"/>
                <a:ea typeface="+mn-ea"/>
                <a:cs typeface="Calibri"/>
              </a:rPr>
              <a:t>19</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147365" lvl="0" indent="0" algn="l" defTabSz="806867" rtl="0" eaLnBrk="1" fontAlgn="auto" latinLnBrk="0" hangingPunct="1">
              <a:lnSpc>
                <a:spcPts val="1059"/>
              </a:lnSpc>
              <a:spcBef>
                <a:spcPts val="529"/>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With 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elp</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f</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mploye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like </a:t>
            </a:r>
            <a:r>
              <a:rPr kumimoji="0" sz="927" b="0" i="0" u="none" strike="noStrike" kern="0" cap="none" spc="0" normalizeH="0" baseline="0" noProof="0">
                <a:ln>
                  <a:noFill/>
                </a:ln>
                <a:solidFill>
                  <a:sysClr val="windowText" lastClr="000000"/>
                </a:solidFill>
                <a:effectLst/>
                <a:uLnTx/>
                <a:uFillTx/>
                <a:latin typeface="Calibri"/>
                <a:ea typeface="+mn-ea"/>
                <a:cs typeface="Calibri"/>
              </a:rPr>
              <a:t>Ameena</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ther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9" normalizeH="0" baseline="0" noProof="0">
                <a:ln>
                  <a:noFill/>
                </a:ln>
                <a:solidFill>
                  <a:sysClr val="windowText" lastClr="000000"/>
                </a:solidFill>
                <a:effectLst/>
                <a:uLnTx/>
                <a:uFillTx/>
                <a:latin typeface="Calibri"/>
                <a:ea typeface="+mn-ea"/>
                <a:cs typeface="Calibri"/>
              </a:rPr>
              <a:t> Canada </a:t>
            </a:r>
            <a:r>
              <a:rPr kumimoji="0" sz="927" b="0" i="0" u="none" strike="noStrike" kern="0" cap="none" spc="0" normalizeH="0" baseline="0" noProof="0">
                <a:ln>
                  <a:noFill/>
                </a:ln>
                <a:solidFill>
                  <a:sysClr val="windowText" lastClr="000000"/>
                </a:solidFill>
                <a:effectLst/>
                <a:uLnTx/>
                <a:uFillTx/>
                <a:latin typeface="Calibri"/>
                <a:ea typeface="+mn-ea"/>
                <a:cs typeface="Calibri"/>
              </a:rPr>
              <a:t>support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mmunitie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need </a:t>
            </a:r>
            <a:r>
              <a:rPr kumimoji="0" sz="927" b="0" i="0" u="none" strike="noStrike" kern="0" cap="none" spc="0" normalizeH="0" baseline="0" noProof="0">
                <a:ln>
                  <a:noFill/>
                </a:ln>
                <a:solidFill>
                  <a:sysClr val="windowText" lastClr="000000"/>
                </a:solidFill>
                <a:effectLst/>
                <a:uLnTx/>
                <a:uFillTx/>
                <a:latin typeface="Calibri"/>
                <a:ea typeface="+mn-ea"/>
                <a:cs typeface="Calibri"/>
              </a:rPr>
              <a:t>acros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untr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o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various </a:t>
            </a:r>
            <a:r>
              <a:rPr kumimoji="0" sz="927" b="0" i="0" u="none" strike="noStrike" kern="0" cap="none" spc="0" normalizeH="0" baseline="0" noProof="0">
                <a:ln>
                  <a:noFill/>
                </a:ln>
                <a:solidFill>
                  <a:sysClr val="windowText" lastClr="000000"/>
                </a:solidFill>
                <a:effectLst/>
                <a:uLnTx/>
                <a:uFillTx/>
                <a:latin typeface="Calibri"/>
                <a:ea typeface="+mn-ea"/>
                <a:cs typeface="Calibri"/>
              </a:rPr>
              <a:t>cause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i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exampl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161373" lvl="0" indent="0" algn="l" defTabSz="806867" rtl="0" eaLnBrk="1" fontAlgn="auto" latinLnBrk="0" hangingPunct="1">
              <a:lnSpc>
                <a:spcPts val="1059"/>
              </a:lnSpc>
              <a:spcBef>
                <a:spcPts val="0"/>
              </a:spcBef>
              <a:spcAft>
                <a:spcPts val="0"/>
              </a:spcAft>
              <a:buClrTx/>
              <a:buSzTx/>
              <a:buFontTx/>
              <a:buNone/>
              <a:tabLst>
                <a:tab pos="620279" algn="l"/>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of</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an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the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ction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nd </a:t>
            </a:r>
            <a:r>
              <a:rPr kumimoji="0" sz="927" b="0" i="0" u="none" strike="noStrike" kern="0" cap="none" spc="0" normalizeH="0" baseline="0" noProof="0">
                <a:ln>
                  <a:noFill/>
                </a:ln>
                <a:solidFill>
                  <a:sysClr val="windowText" lastClr="000000"/>
                </a:solidFill>
                <a:effectLst/>
                <a:uLnTx/>
                <a:uFillTx/>
                <a:latin typeface="Calibri"/>
                <a:ea typeface="+mn-ea"/>
                <a:cs typeface="Calibri"/>
              </a:rPr>
              <a:t>accomplishment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utlined</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in</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s</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2020</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orporate </a:t>
            </a:r>
            <a:r>
              <a:rPr kumimoji="0" sz="927" b="0" i="0" u="none" strike="noStrike" kern="0" cap="none" spc="0" normalizeH="0" baseline="0" noProof="0">
                <a:ln>
                  <a:noFill/>
                </a:ln>
                <a:solidFill>
                  <a:sysClr val="windowText" lastClr="000000"/>
                </a:solidFill>
                <a:effectLst/>
                <a:uLnTx/>
                <a:uFillTx/>
                <a:latin typeface="Calibri"/>
                <a:ea typeface="+mn-ea"/>
                <a:cs typeface="Calibri"/>
              </a:rPr>
              <a:t>sustainabilit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repor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1" u="none" strike="noStrike" kern="0" cap="none" spc="0" normalizeH="0" baseline="0" noProof="0">
                <a:ln>
                  <a:noFill/>
                </a:ln>
                <a:solidFill>
                  <a:srgbClr val="E2201F"/>
                </a:solidFill>
                <a:effectLst/>
                <a:uLnTx/>
                <a:uFillTx/>
                <a:latin typeface="Calibri"/>
                <a:ea typeface="+mn-ea"/>
                <a:cs typeface="Calibri"/>
                <a:hlinkClick r:id="rId32"/>
              </a:rPr>
              <a:t>Citizens</a:t>
            </a:r>
            <a:r>
              <a:rPr kumimoji="0" sz="927" b="0" i="1" u="none" strike="noStrike" kern="0" cap="none" spc="-35" normalizeH="0" baseline="0" noProof="0">
                <a:ln>
                  <a:noFill/>
                </a:ln>
                <a:solidFill>
                  <a:srgbClr val="E2201F"/>
                </a:solidFill>
                <a:effectLst/>
                <a:uLnTx/>
                <a:uFillTx/>
                <a:latin typeface="Calibri"/>
                <a:ea typeface="+mn-ea"/>
                <a:cs typeface="Calibri"/>
                <a:hlinkClick r:id="rId32"/>
              </a:rPr>
              <a:t> </a:t>
            </a:r>
            <a:r>
              <a:rPr kumimoji="0" sz="927" b="0" i="1" u="none" strike="noStrike" kern="0" cap="none" spc="-22" normalizeH="0" baseline="0" noProof="0">
                <a:ln>
                  <a:noFill/>
                </a:ln>
                <a:solidFill>
                  <a:srgbClr val="E2201F"/>
                </a:solidFill>
                <a:effectLst/>
                <a:uLnTx/>
                <a:uFillTx/>
                <a:latin typeface="Calibri"/>
                <a:ea typeface="+mn-ea"/>
                <a:cs typeface="Calibri"/>
                <a:hlinkClick r:id="rId32"/>
              </a:rPr>
              <a:t>of</a:t>
            </a:r>
            <a:r>
              <a:rPr kumimoji="0" sz="927" b="0" i="1" u="none" strike="noStrike" kern="0" cap="none" spc="-22" normalizeH="0" baseline="0" noProof="0">
                <a:ln>
                  <a:noFill/>
                </a:ln>
                <a:solidFill>
                  <a:srgbClr val="E2201F"/>
                </a:solidFill>
                <a:effectLst/>
                <a:uLnTx/>
                <a:uFillTx/>
                <a:latin typeface="Calibri"/>
                <a:ea typeface="+mn-ea"/>
                <a:cs typeface="Calibri"/>
              </a:rPr>
              <a:t> </a:t>
            </a:r>
            <a:r>
              <a:rPr kumimoji="0" sz="927" b="0" i="1" u="none" strike="noStrike" kern="0" cap="none" spc="0" normalizeH="0" baseline="0" noProof="0">
                <a:ln>
                  <a:noFill/>
                </a:ln>
                <a:solidFill>
                  <a:srgbClr val="E2201F"/>
                </a:solidFill>
                <a:effectLst/>
                <a:uLnTx/>
                <a:uFillTx/>
                <a:latin typeface="Calibri"/>
                <a:ea typeface="+mn-ea"/>
                <a:cs typeface="Calibri"/>
                <a:hlinkClick r:id="rId32"/>
              </a:rPr>
              <a:t>the</a:t>
            </a:r>
            <a:r>
              <a:rPr kumimoji="0" sz="927" b="0" i="1" u="none" strike="noStrike" kern="0" cap="none" spc="-49" normalizeH="0" baseline="0" noProof="0">
                <a:ln>
                  <a:noFill/>
                </a:ln>
                <a:solidFill>
                  <a:srgbClr val="E2201F"/>
                </a:solidFill>
                <a:effectLst/>
                <a:uLnTx/>
                <a:uFillTx/>
                <a:latin typeface="Calibri"/>
                <a:ea typeface="+mn-ea"/>
                <a:cs typeface="Calibri"/>
                <a:hlinkClick r:id="rId32"/>
              </a:rPr>
              <a:t> </a:t>
            </a:r>
            <a:r>
              <a:rPr kumimoji="0" sz="927" b="0" i="1" u="none" strike="noStrike" kern="0" cap="none" spc="-9" normalizeH="0" baseline="0" noProof="0">
                <a:ln>
                  <a:noFill/>
                </a:ln>
                <a:solidFill>
                  <a:srgbClr val="E2201F"/>
                </a:solidFill>
                <a:effectLst/>
                <a:uLnTx/>
                <a:uFillTx/>
                <a:latin typeface="Calibri"/>
                <a:ea typeface="+mn-ea"/>
                <a:cs typeface="Calibri"/>
                <a:hlinkClick r:id="rId32"/>
              </a:rPr>
              <a:t>World</a:t>
            </a:r>
            <a:r>
              <a:rPr kumimoji="0" sz="927" b="0" i="1" u="none" strike="noStrike" kern="0" cap="none" spc="0" normalizeH="0" baseline="0" noProof="0">
                <a:ln>
                  <a:noFill/>
                </a:ln>
                <a:solidFill>
                  <a:srgbClr val="E2201F"/>
                </a:solidFill>
                <a:effectLst/>
                <a:uLnTx/>
                <a:uFillTx/>
                <a:latin typeface="Calibri"/>
                <a:ea typeface="+mn-ea"/>
                <a:cs typeface="Calibri"/>
              </a:rPr>
              <a:t>	</a:t>
            </a:r>
            <a:r>
              <a:rPr kumimoji="0" sz="927" b="0" i="0" u="none" strike="noStrike" kern="0" cap="none" spc="-44" normalizeH="0" baseline="0" noProof="0">
                <a:ln>
                  <a:noFill/>
                </a:ln>
                <a:solidFill>
                  <a:sysClr val="windowText" lastClr="000000"/>
                </a:solidFill>
                <a:effectLst/>
                <a:uLnTx/>
                <a:uFillTx/>
                <a:latin typeface="Calibri"/>
                <a:ea typeface="+mn-ea"/>
                <a:cs typeface="Calibri"/>
              </a:rPr>
              <a: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529"/>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global</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lin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itizens</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f</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orl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m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106" normalizeH="0" baseline="0" noProof="0">
                <a:ln>
                  <a:noFill/>
                </a:ln>
                <a:solidFill>
                  <a:sysClr val="windowText" lastClr="000000"/>
                </a:solidFill>
                <a:effectLst/>
                <a:uLnTx/>
                <a:uFillTx/>
                <a:latin typeface="Calibri"/>
                <a:ea typeface="+mn-ea"/>
                <a:cs typeface="Calibri"/>
              </a:rPr>
              <a: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in </a:t>
            </a:r>
            <a:r>
              <a:rPr kumimoji="0" sz="927" b="0" i="0" u="none" strike="noStrike" kern="0" cap="none" spc="0" normalizeH="0" baseline="0" noProof="0">
                <a:ln>
                  <a:noFill/>
                </a:ln>
                <a:solidFill>
                  <a:sysClr val="windowText" lastClr="000000"/>
                </a:solidFill>
                <a:effectLst/>
                <a:uLnTx/>
                <a:uFillTx/>
                <a:latin typeface="Calibri"/>
                <a:ea typeface="+mn-ea"/>
                <a:cs typeface="Calibri"/>
              </a:rPr>
              <a:t>everything</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t</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doe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106" normalizeH="0" baseline="0" noProof="0">
                <a:ln>
                  <a:noFill/>
                </a:ln>
                <a:solidFill>
                  <a:sysClr val="windowText" lastClr="000000"/>
                </a:solidFill>
                <a:effectLst/>
                <a:uLnTx/>
                <a:uFillTx/>
                <a:latin typeface="Calibri"/>
                <a:ea typeface="+mn-ea"/>
                <a:cs typeface="Calibri"/>
              </a:rPr>
              <a:t>—</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integrate </a:t>
            </a:r>
            <a:r>
              <a:rPr kumimoji="0" sz="927" b="0" i="0" u="none" strike="noStrike" kern="0" cap="none" spc="0" normalizeH="0" baseline="0" noProof="0">
                <a:ln>
                  <a:noFill/>
                </a:ln>
                <a:solidFill>
                  <a:sysClr val="windowText" lastClr="000000"/>
                </a:solidFill>
                <a:effectLst/>
                <a:uLnTx/>
                <a:uFillTx/>
                <a:latin typeface="Calibri"/>
                <a:ea typeface="+mn-ea"/>
                <a:cs typeface="Calibri"/>
              </a:rPr>
              <a:t>economic,</a:t>
            </a:r>
            <a:r>
              <a:rPr kumimoji="0" sz="927" b="0" i="0" u="none" strike="noStrike" kern="0" cap="none" spc="-40"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nvironmental,</a:t>
            </a:r>
            <a:r>
              <a:rPr kumimoji="0" sz="927" b="0" i="0" u="none" strike="noStrike" kern="0" cap="none" spc="-40"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nd </a:t>
            </a:r>
            <a:r>
              <a:rPr kumimoji="0" sz="927" b="0" i="0" u="none" strike="noStrike" kern="0" cap="none" spc="0" normalizeH="0" baseline="0" noProof="0">
                <a:ln>
                  <a:noFill/>
                </a:ln>
                <a:solidFill>
                  <a:sysClr val="windowText" lastClr="000000"/>
                </a:solidFill>
                <a:effectLst/>
                <a:uLnTx/>
                <a:uFillTx/>
                <a:latin typeface="Calibri"/>
                <a:ea typeface="+mn-ea"/>
                <a:cs typeface="Calibri"/>
              </a:rPr>
              <a:t>social factor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rganized into</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three </a:t>
            </a:r>
            <a:r>
              <a:rPr kumimoji="0" sz="927" b="0" i="0" u="none" strike="noStrike" kern="0" cap="none" spc="0" normalizeH="0" baseline="0" noProof="0">
                <a:ln>
                  <a:noFill/>
                </a:ln>
                <a:solidFill>
                  <a:sysClr val="windowText" lastClr="000000"/>
                </a:solidFill>
                <a:effectLst/>
                <a:uLnTx/>
                <a:uFillTx/>
                <a:latin typeface="Calibri"/>
                <a:ea typeface="+mn-ea"/>
                <a:cs typeface="Calibri"/>
              </a:rPr>
              <a:t>sustainability</a:t>
            </a:r>
            <a:r>
              <a:rPr kumimoji="0" sz="927" b="0" i="0" u="none" strike="noStrike" kern="0" cap="none" spc="35"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illars:</a:t>
            </a:r>
            <a:r>
              <a:rPr kumimoji="0" sz="927" b="0" i="0" u="none" strike="noStrike" kern="0" cap="none" spc="40"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ur</a:t>
            </a:r>
            <a:r>
              <a:rPr kumimoji="0" sz="927" b="0" i="0" u="none" strike="noStrike" kern="0" cap="none" spc="40"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Business, </a:t>
            </a:r>
            <a:r>
              <a:rPr kumimoji="0" sz="927" b="0" i="0" u="none" strike="noStrike" kern="0" cap="none" spc="0" normalizeH="0" baseline="0" noProof="0">
                <a:ln>
                  <a:noFill/>
                </a:ln>
                <a:solidFill>
                  <a:sysClr val="windowText" lastClr="000000"/>
                </a:solidFill>
                <a:effectLst/>
                <a:uLnTx/>
                <a:uFillTx/>
                <a:latin typeface="Calibri"/>
                <a:ea typeface="+mn-ea"/>
                <a:cs typeface="Calibri"/>
              </a:rPr>
              <a:t>Our</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eople</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ur</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lane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ct val="100000"/>
              </a:lnSpc>
              <a:spcBef>
                <a:spcPts val="449"/>
              </a:spcBef>
              <a:spcAft>
                <a:spcPts val="0"/>
              </a:spcAft>
              <a:buClrTx/>
              <a:buSzTx/>
              <a:buFontTx/>
              <a:buNone/>
              <a:tabLst>
                <a:tab pos="1131294" algn="l"/>
              </a:tabLst>
              <a:defRPr/>
            </a:pPr>
            <a:r>
              <a:rPr kumimoji="0" sz="927" b="0" i="0" u="none" strike="noStrike" kern="0" cap="none" spc="-9" normalizeH="0" baseline="0" noProof="0">
                <a:ln>
                  <a:noFill/>
                </a:ln>
                <a:solidFill>
                  <a:sysClr val="windowText" lastClr="000000"/>
                </a:solidFill>
                <a:effectLst/>
                <a:uLnTx/>
                <a:uFillTx/>
                <a:latin typeface="Calibri"/>
                <a:ea typeface="+mn-ea"/>
                <a:cs typeface="Calibri"/>
              </a:rPr>
              <a:t>(</a:t>
            </a:r>
            <a:r>
              <a:rPr kumimoji="0" sz="927" b="0" i="0" u="none" strike="noStrike" kern="0" cap="none" spc="-9" normalizeH="0" baseline="0" noProof="0">
                <a:ln>
                  <a:noFill/>
                </a:ln>
                <a:solidFill>
                  <a:srgbClr val="E2201F"/>
                </a:solidFill>
                <a:effectLst/>
                <a:uLnTx/>
                <a:uFillTx/>
                <a:latin typeface="Calibri"/>
                <a:ea typeface="+mn-ea"/>
                <a:cs typeface="Calibri"/>
                <a:hlinkClick r:id="rId32"/>
              </a:rPr>
              <a:t>aircanada.com/CSR</a:t>
            </a:r>
            <a:r>
              <a:rPr kumimoji="0" sz="927" b="0" i="0" u="none" strike="noStrike" kern="0" cap="none" spc="0" normalizeH="0" baseline="0" noProof="0">
                <a:ln>
                  <a:noFill/>
                </a:ln>
                <a:solidFill>
                  <a:srgbClr val="E2201F"/>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147" name="object 147"/>
          <p:cNvGrpSpPr/>
          <p:nvPr/>
        </p:nvGrpSpPr>
        <p:grpSpPr>
          <a:xfrm>
            <a:off x="1658471" y="785011"/>
            <a:ext cx="8292353" cy="2688851"/>
            <a:chOff x="0" y="889678"/>
            <a:chExt cx="9398000" cy="3047365"/>
          </a:xfrm>
        </p:grpSpPr>
        <p:sp>
          <p:nvSpPr>
            <p:cNvPr id="148" name="object 148"/>
            <p:cNvSpPr/>
            <p:nvPr/>
          </p:nvSpPr>
          <p:spPr>
            <a:xfrm>
              <a:off x="0" y="889678"/>
              <a:ext cx="1523365" cy="3047365"/>
            </a:xfrm>
            <a:custGeom>
              <a:avLst/>
              <a:gdLst/>
              <a:ahLst/>
              <a:cxnLst/>
              <a:rect l="l" t="t" r="r" b="b"/>
              <a:pathLst>
                <a:path w="1523365" h="3047365">
                  <a:moveTo>
                    <a:pt x="0" y="0"/>
                  </a:moveTo>
                  <a:lnTo>
                    <a:pt x="0" y="3047316"/>
                  </a:lnTo>
                  <a:lnTo>
                    <a:pt x="48029" y="3046568"/>
                  </a:lnTo>
                  <a:lnTo>
                    <a:pt x="96020" y="3044324"/>
                  </a:lnTo>
                  <a:lnTo>
                    <a:pt x="143613" y="3040610"/>
                  </a:lnTo>
                  <a:lnTo>
                    <a:pt x="190785" y="3035450"/>
                  </a:lnTo>
                  <a:lnTo>
                    <a:pt x="237515" y="3028865"/>
                  </a:lnTo>
                  <a:lnTo>
                    <a:pt x="283780" y="3020878"/>
                  </a:lnTo>
                  <a:lnTo>
                    <a:pt x="329557" y="3011511"/>
                  </a:lnTo>
                  <a:lnTo>
                    <a:pt x="374825" y="3000787"/>
                  </a:lnTo>
                  <a:lnTo>
                    <a:pt x="419560" y="2988728"/>
                  </a:lnTo>
                  <a:lnTo>
                    <a:pt x="463742" y="2975355"/>
                  </a:lnTo>
                  <a:lnTo>
                    <a:pt x="507346" y="2960692"/>
                  </a:lnTo>
                  <a:lnTo>
                    <a:pt x="550352" y="2944761"/>
                  </a:lnTo>
                  <a:lnTo>
                    <a:pt x="592736" y="2927584"/>
                  </a:lnTo>
                  <a:lnTo>
                    <a:pt x="634477" y="2909183"/>
                  </a:lnTo>
                  <a:lnTo>
                    <a:pt x="675552" y="2889581"/>
                  </a:lnTo>
                  <a:lnTo>
                    <a:pt x="715939" y="2868800"/>
                  </a:lnTo>
                  <a:lnTo>
                    <a:pt x="755615" y="2846862"/>
                  </a:lnTo>
                  <a:lnTo>
                    <a:pt x="794559" y="2823790"/>
                  </a:lnTo>
                  <a:lnTo>
                    <a:pt x="832747" y="2799606"/>
                  </a:lnTo>
                  <a:lnTo>
                    <a:pt x="870158" y="2774332"/>
                  </a:lnTo>
                  <a:lnTo>
                    <a:pt x="906770" y="2747990"/>
                  </a:lnTo>
                  <a:lnTo>
                    <a:pt x="942559" y="2720603"/>
                  </a:lnTo>
                  <a:lnTo>
                    <a:pt x="977504" y="2692194"/>
                  </a:lnTo>
                  <a:lnTo>
                    <a:pt x="1011582" y="2662784"/>
                  </a:lnTo>
                  <a:lnTo>
                    <a:pt x="1044771" y="2632395"/>
                  </a:lnTo>
                  <a:lnTo>
                    <a:pt x="1077049" y="2601051"/>
                  </a:lnTo>
                  <a:lnTo>
                    <a:pt x="1108393" y="2568773"/>
                  </a:lnTo>
                  <a:lnTo>
                    <a:pt x="1138781" y="2535584"/>
                  </a:lnTo>
                  <a:lnTo>
                    <a:pt x="1168191" y="2501506"/>
                  </a:lnTo>
                  <a:lnTo>
                    <a:pt x="1196601" y="2466561"/>
                  </a:lnTo>
                  <a:lnTo>
                    <a:pt x="1223988" y="2430772"/>
                  </a:lnTo>
                  <a:lnTo>
                    <a:pt x="1250329" y="2394161"/>
                  </a:lnTo>
                  <a:lnTo>
                    <a:pt x="1275603" y="2356750"/>
                  </a:lnTo>
                  <a:lnTo>
                    <a:pt x="1299788" y="2318561"/>
                  </a:lnTo>
                  <a:lnTo>
                    <a:pt x="1322860" y="2279618"/>
                  </a:lnTo>
                  <a:lnTo>
                    <a:pt x="1344798" y="2239941"/>
                  </a:lnTo>
                  <a:lnTo>
                    <a:pt x="1365579" y="2199555"/>
                  </a:lnTo>
                  <a:lnTo>
                    <a:pt x="1385181" y="2158480"/>
                  </a:lnTo>
                  <a:lnTo>
                    <a:pt x="1403582" y="2116739"/>
                  </a:lnTo>
                  <a:lnTo>
                    <a:pt x="1420759" y="2074354"/>
                  </a:lnTo>
                  <a:lnTo>
                    <a:pt x="1436690" y="2031349"/>
                  </a:lnTo>
                  <a:lnTo>
                    <a:pt x="1451353" y="1987744"/>
                  </a:lnTo>
                  <a:lnTo>
                    <a:pt x="1464725" y="1943563"/>
                  </a:lnTo>
                  <a:lnTo>
                    <a:pt x="1476785" y="1898827"/>
                  </a:lnTo>
                  <a:lnTo>
                    <a:pt x="1487509" y="1853559"/>
                  </a:lnTo>
                  <a:lnTo>
                    <a:pt x="1496876" y="1807782"/>
                  </a:lnTo>
                  <a:lnTo>
                    <a:pt x="1504863" y="1761517"/>
                  </a:lnTo>
                  <a:lnTo>
                    <a:pt x="1511447" y="1714788"/>
                  </a:lnTo>
                  <a:lnTo>
                    <a:pt x="1516608" y="1667615"/>
                  </a:lnTo>
                  <a:lnTo>
                    <a:pt x="1520321" y="1620022"/>
                  </a:lnTo>
                  <a:lnTo>
                    <a:pt x="1522566" y="1572031"/>
                  </a:lnTo>
                  <a:lnTo>
                    <a:pt x="1523319" y="1523664"/>
                  </a:lnTo>
                  <a:lnTo>
                    <a:pt x="1522566" y="1475296"/>
                  </a:lnTo>
                  <a:lnTo>
                    <a:pt x="1520321" y="1427305"/>
                  </a:lnTo>
                  <a:lnTo>
                    <a:pt x="1516608" y="1379711"/>
                  </a:lnTo>
                  <a:lnTo>
                    <a:pt x="1511447" y="1332538"/>
                  </a:lnTo>
                  <a:lnTo>
                    <a:pt x="1504863" y="1285807"/>
                  </a:lnTo>
                  <a:lnTo>
                    <a:pt x="1496876" y="1239542"/>
                  </a:lnTo>
                  <a:lnTo>
                    <a:pt x="1487509" y="1193764"/>
                  </a:lnTo>
                  <a:lnTo>
                    <a:pt x="1476785" y="1148496"/>
                  </a:lnTo>
                  <a:lnTo>
                    <a:pt x="1464725" y="1103760"/>
                  </a:lnTo>
                  <a:lnTo>
                    <a:pt x="1451353" y="1059578"/>
                  </a:lnTo>
                  <a:lnTo>
                    <a:pt x="1436690" y="1015973"/>
                  </a:lnTo>
                  <a:lnTo>
                    <a:pt x="1420759" y="972967"/>
                  </a:lnTo>
                  <a:lnTo>
                    <a:pt x="1403582" y="930582"/>
                  </a:lnTo>
                  <a:lnTo>
                    <a:pt x="1385181" y="888841"/>
                  </a:lnTo>
                  <a:lnTo>
                    <a:pt x="1365579" y="847765"/>
                  </a:lnTo>
                  <a:lnTo>
                    <a:pt x="1344798" y="807378"/>
                  </a:lnTo>
                  <a:lnTo>
                    <a:pt x="1322860" y="767701"/>
                  </a:lnTo>
                  <a:lnTo>
                    <a:pt x="1299788" y="728758"/>
                  </a:lnTo>
                  <a:lnTo>
                    <a:pt x="1275603" y="690569"/>
                  </a:lnTo>
                  <a:lnTo>
                    <a:pt x="1250329" y="653158"/>
                  </a:lnTo>
                  <a:lnTo>
                    <a:pt x="1223988" y="616546"/>
                  </a:lnTo>
                  <a:lnTo>
                    <a:pt x="1196601" y="580757"/>
                  </a:lnTo>
                  <a:lnTo>
                    <a:pt x="1168191" y="545812"/>
                  </a:lnTo>
                  <a:lnTo>
                    <a:pt x="1138781" y="511733"/>
                  </a:lnTo>
                  <a:lnTo>
                    <a:pt x="1108393" y="478544"/>
                  </a:lnTo>
                  <a:lnTo>
                    <a:pt x="1077049" y="446266"/>
                  </a:lnTo>
                  <a:lnTo>
                    <a:pt x="1044771" y="414921"/>
                  </a:lnTo>
                  <a:lnTo>
                    <a:pt x="1011582" y="384533"/>
                  </a:lnTo>
                  <a:lnTo>
                    <a:pt x="977504" y="355123"/>
                  </a:lnTo>
                  <a:lnTo>
                    <a:pt x="942559" y="326713"/>
                  </a:lnTo>
                  <a:lnTo>
                    <a:pt x="906770" y="299326"/>
                  </a:lnTo>
                  <a:lnTo>
                    <a:pt x="870158" y="272984"/>
                  </a:lnTo>
                  <a:lnTo>
                    <a:pt x="832747" y="247710"/>
                  </a:lnTo>
                  <a:lnTo>
                    <a:pt x="794559" y="223526"/>
                  </a:lnTo>
                  <a:lnTo>
                    <a:pt x="755615" y="200453"/>
                  </a:lnTo>
                  <a:lnTo>
                    <a:pt x="715939" y="178516"/>
                  </a:lnTo>
                  <a:lnTo>
                    <a:pt x="675552" y="157734"/>
                  </a:lnTo>
                  <a:lnTo>
                    <a:pt x="634477" y="138132"/>
                  </a:lnTo>
                  <a:lnTo>
                    <a:pt x="592736" y="119731"/>
                  </a:lnTo>
                  <a:lnTo>
                    <a:pt x="550352" y="102554"/>
                  </a:lnTo>
                  <a:lnTo>
                    <a:pt x="507346" y="86623"/>
                  </a:lnTo>
                  <a:lnTo>
                    <a:pt x="463742" y="71960"/>
                  </a:lnTo>
                  <a:lnTo>
                    <a:pt x="419560" y="58588"/>
                  </a:lnTo>
                  <a:lnTo>
                    <a:pt x="374825" y="46528"/>
                  </a:lnTo>
                  <a:lnTo>
                    <a:pt x="329557" y="35804"/>
                  </a:lnTo>
                  <a:lnTo>
                    <a:pt x="283780" y="26437"/>
                  </a:lnTo>
                  <a:lnTo>
                    <a:pt x="237515" y="18451"/>
                  </a:lnTo>
                  <a:lnTo>
                    <a:pt x="190785" y="11866"/>
                  </a:lnTo>
                  <a:lnTo>
                    <a:pt x="143613" y="6705"/>
                  </a:lnTo>
                  <a:lnTo>
                    <a:pt x="96020" y="2992"/>
                  </a:lnTo>
                  <a:lnTo>
                    <a:pt x="48029" y="747"/>
                  </a:lnTo>
                  <a:lnTo>
                    <a:pt x="0"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9" name="object 149"/>
            <p:cNvSpPr/>
            <p:nvPr/>
          </p:nvSpPr>
          <p:spPr>
            <a:xfrm>
              <a:off x="698919" y="2166745"/>
              <a:ext cx="150495" cy="45085"/>
            </a:xfrm>
            <a:custGeom>
              <a:avLst/>
              <a:gdLst/>
              <a:ahLst/>
              <a:cxnLst/>
              <a:rect l="l" t="t" r="r" b="b"/>
              <a:pathLst>
                <a:path w="150494" h="45085">
                  <a:moveTo>
                    <a:pt x="0" y="44832"/>
                  </a:moveTo>
                  <a:lnTo>
                    <a:pt x="150202" y="44832"/>
                  </a:lnTo>
                  <a:lnTo>
                    <a:pt x="150202" y="0"/>
                  </a:lnTo>
                  <a:lnTo>
                    <a:pt x="0" y="0"/>
                  </a:lnTo>
                  <a:lnTo>
                    <a:pt x="0" y="44832"/>
                  </a:lnTo>
                  <a:close/>
                </a:path>
              </a:pathLst>
            </a:custGeom>
            <a:solidFill>
              <a:srgbClr val="40404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0" name="object 150"/>
            <p:cNvSpPr/>
            <p:nvPr/>
          </p:nvSpPr>
          <p:spPr>
            <a:xfrm>
              <a:off x="683641" y="2015273"/>
              <a:ext cx="180975" cy="151765"/>
            </a:xfrm>
            <a:custGeom>
              <a:avLst/>
              <a:gdLst/>
              <a:ahLst/>
              <a:cxnLst/>
              <a:rect l="l" t="t" r="r" b="b"/>
              <a:pathLst>
                <a:path w="180975" h="151764">
                  <a:moveTo>
                    <a:pt x="180771" y="48183"/>
                  </a:moveTo>
                  <a:lnTo>
                    <a:pt x="176276" y="43700"/>
                  </a:lnTo>
                  <a:lnTo>
                    <a:pt x="161099" y="43700"/>
                  </a:lnTo>
                  <a:lnTo>
                    <a:pt x="161099" y="12954"/>
                  </a:lnTo>
                  <a:lnTo>
                    <a:pt x="161099" y="5803"/>
                  </a:lnTo>
                  <a:lnTo>
                    <a:pt x="155308" y="0"/>
                  </a:lnTo>
                  <a:lnTo>
                    <a:pt x="25438" y="0"/>
                  </a:lnTo>
                  <a:lnTo>
                    <a:pt x="19646" y="5803"/>
                  </a:lnTo>
                  <a:lnTo>
                    <a:pt x="19646" y="43700"/>
                  </a:lnTo>
                  <a:lnTo>
                    <a:pt x="4483" y="43700"/>
                  </a:lnTo>
                  <a:lnTo>
                    <a:pt x="0" y="48183"/>
                  </a:lnTo>
                  <a:lnTo>
                    <a:pt x="0" y="146977"/>
                  </a:lnTo>
                  <a:lnTo>
                    <a:pt x="4483" y="151472"/>
                  </a:lnTo>
                  <a:lnTo>
                    <a:pt x="176276" y="151472"/>
                  </a:lnTo>
                  <a:lnTo>
                    <a:pt x="180771" y="146977"/>
                  </a:lnTo>
                  <a:lnTo>
                    <a:pt x="180771" y="53733"/>
                  </a:lnTo>
                  <a:lnTo>
                    <a:pt x="180771" y="48183"/>
                  </a:lnTo>
                  <a:close/>
                </a:path>
              </a:pathLst>
            </a:custGeom>
            <a:solidFill>
              <a:srgbClr val="4C4C4C"/>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1" name="object 151"/>
            <p:cNvSpPr/>
            <p:nvPr/>
          </p:nvSpPr>
          <p:spPr>
            <a:xfrm>
              <a:off x="748080" y="1944281"/>
              <a:ext cx="52069" cy="71120"/>
            </a:xfrm>
            <a:custGeom>
              <a:avLst/>
              <a:gdLst/>
              <a:ahLst/>
              <a:cxnLst/>
              <a:rect l="l" t="t" r="r" b="b"/>
              <a:pathLst>
                <a:path w="52070" h="71119">
                  <a:moveTo>
                    <a:pt x="51892" y="0"/>
                  </a:moveTo>
                  <a:lnTo>
                    <a:pt x="0" y="0"/>
                  </a:lnTo>
                  <a:lnTo>
                    <a:pt x="0" y="70992"/>
                  </a:lnTo>
                  <a:lnTo>
                    <a:pt x="51892" y="70992"/>
                  </a:lnTo>
                  <a:lnTo>
                    <a:pt x="51892" y="0"/>
                  </a:lnTo>
                  <a:close/>
                </a:path>
              </a:pathLst>
            </a:custGeom>
            <a:solidFill>
              <a:srgbClr val="CCCCCC"/>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2" name="object 152"/>
            <p:cNvSpPr/>
            <p:nvPr/>
          </p:nvSpPr>
          <p:spPr>
            <a:xfrm>
              <a:off x="683637" y="1859122"/>
              <a:ext cx="323215" cy="85725"/>
            </a:xfrm>
            <a:custGeom>
              <a:avLst/>
              <a:gdLst/>
              <a:ahLst/>
              <a:cxnLst/>
              <a:rect l="l" t="t" r="r" b="b"/>
              <a:pathLst>
                <a:path w="323215" h="85725">
                  <a:moveTo>
                    <a:pt x="319557" y="0"/>
                  </a:moveTo>
                  <a:lnTo>
                    <a:pt x="66624" y="0"/>
                  </a:lnTo>
                  <a:lnTo>
                    <a:pt x="52011" y="1606"/>
                  </a:lnTo>
                  <a:lnTo>
                    <a:pt x="16332" y="22936"/>
                  </a:lnTo>
                  <a:lnTo>
                    <a:pt x="0" y="66827"/>
                  </a:lnTo>
                  <a:lnTo>
                    <a:pt x="1460" y="73966"/>
                  </a:lnTo>
                  <a:lnTo>
                    <a:pt x="5394" y="79790"/>
                  </a:lnTo>
                  <a:lnTo>
                    <a:pt x="11219" y="83715"/>
                  </a:lnTo>
                  <a:lnTo>
                    <a:pt x="18351" y="85153"/>
                  </a:lnTo>
                  <a:lnTo>
                    <a:pt x="176072" y="85153"/>
                  </a:lnTo>
                  <a:lnTo>
                    <a:pt x="180771" y="80454"/>
                  </a:lnTo>
                  <a:lnTo>
                    <a:pt x="180771" y="72364"/>
                  </a:lnTo>
                  <a:lnTo>
                    <a:pt x="180987" y="68808"/>
                  </a:lnTo>
                  <a:lnTo>
                    <a:pt x="184198" y="58479"/>
                  </a:lnTo>
                  <a:lnTo>
                    <a:pt x="190707" y="50157"/>
                  </a:lnTo>
                  <a:lnTo>
                    <a:pt x="199748" y="44603"/>
                  </a:lnTo>
                  <a:lnTo>
                    <a:pt x="210553" y="42583"/>
                  </a:lnTo>
                  <a:lnTo>
                    <a:pt x="301853" y="42583"/>
                  </a:lnTo>
                  <a:lnTo>
                    <a:pt x="309926" y="40953"/>
                  </a:lnTo>
                  <a:lnTo>
                    <a:pt x="316518" y="36509"/>
                  </a:lnTo>
                  <a:lnTo>
                    <a:pt x="320963" y="29917"/>
                  </a:lnTo>
                  <a:lnTo>
                    <a:pt x="322592" y="21843"/>
                  </a:lnTo>
                  <a:lnTo>
                    <a:pt x="322592" y="3035"/>
                  </a:lnTo>
                  <a:lnTo>
                    <a:pt x="319557" y="0"/>
                  </a:lnTo>
                  <a:close/>
                </a:path>
              </a:pathLst>
            </a:custGeom>
            <a:solidFill>
              <a:srgbClr val="4C4C4C"/>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3" name="object 153"/>
            <p:cNvSpPr/>
            <p:nvPr/>
          </p:nvSpPr>
          <p:spPr>
            <a:xfrm>
              <a:off x="774019" y="2166738"/>
              <a:ext cx="75565" cy="33655"/>
            </a:xfrm>
            <a:custGeom>
              <a:avLst/>
              <a:gdLst/>
              <a:ahLst/>
              <a:cxnLst/>
              <a:rect l="l" t="t" r="r" b="b"/>
              <a:pathLst>
                <a:path w="75565" h="33655">
                  <a:moveTo>
                    <a:pt x="75107" y="0"/>
                  </a:moveTo>
                  <a:lnTo>
                    <a:pt x="0" y="0"/>
                  </a:lnTo>
                  <a:lnTo>
                    <a:pt x="0" y="29451"/>
                  </a:lnTo>
                  <a:lnTo>
                    <a:pt x="36131" y="29451"/>
                  </a:lnTo>
                  <a:lnTo>
                    <a:pt x="46052" y="29711"/>
                  </a:lnTo>
                  <a:lnTo>
                    <a:pt x="55862" y="30486"/>
                  </a:lnTo>
                  <a:lnTo>
                    <a:pt x="65551" y="31765"/>
                  </a:lnTo>
                  <a:lnTo>
                    <a:pt x="75107" y="33540"/>
                  </a:lnTo>
                  <a:lnTo>
                    <a:pt x="75107" y="0"/>
                  </a:lnTo>
                  <a:close/>
                </a:path>
              </a:pathLst>
            </a:custGeom>
            <a:solidFill>
              <a:srgbClr val="333333"/>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4" name="object 154"/>
            <p:cNvSpPr/>
            <p:nvPr/>
          </p:nvSpPr>
          <p:spPr>
            <a:xfrm>
              <a:off x="786999" y="1944279"/>
              <a:ext cx="13335" cy="71120"/>
            </a:xfrm>
            <a:custGeom>
              <a:avLst/>
              <a:gdLst/>
              <a:ahLst/>
              <a:cxnLst/>
              <a:rect l="l" t="t" r="r" b="b"/>
              <a:pathLst>
                <a:path w="13334" h="71119">
                  <a:moveTo>
                    <a:pt x="12966" y="0"/>
                  </a:moveTo>
                  <a:lnTo>
                    <a:pt x="0" y="0"/>
                  </a:lnTo>
                  <a:lnTo>
                    <a:pt x="0" y="70992"/>
                  </a:lnTo>
                  <a:lnTo>
                    <a:pt x="12966" y="70992"/>
                  </a:lnTo>
                  <a:lnTo>
                    <a:pt x="12966" y="0"/>
                  </a:lnTo>
                  <a:close/>
                </a:path>
              </a:pathLst>
            </a:custGeom>
            <a:solidFill>
              <a:srgbClr val="A3A3A3"/>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5" name="object 155"/>
            <p:cNvSpPr/>
            <p:nvPr/>
          </p:nvSpPr>
          <p:spPr>
            <a:xfrm>
              <a:off x="518697" y="2196194"/>
              <a:ext cx="511175" cy="771525"/>
            </a:xfrm>
            <a:custGeom>
              <a:avLst/>
              <a:gdLst/>
              <a:ahLst/>
              <a:cxnLst/>
              <a:rect l="l" t="t" r="r" b="b"/>
              <a:pathLst>
                <a:path w="511175" h="771525">
                  <a:moveTo>
                    <a:pt x="291452" y="0"/>
                  </a:moveTo>
                  <a:lnTo>
                    <a:pt x="219202" y="0"/>
                  </a:lnTo>
                  <a:lnTo>
                    <a:pt x="170937" y="6302"/>
                  </a:lnTo>
                  <a:lnTo>
                    <a:pt x="126411" y="24296"/>
                  </a:lnTo>
                  <a:lnTo>
                    <a:pt x="86785" y="52611"/>
                  </a:lnTo>
                  <a:lnTo>
                    <a:pt x="53221" y="89876"/>
                  </a:lnTo>
                  <a:lnTo>
                    <a:pt x="26881" y="134721"/>
                  </a:lnTo>
                  <a:lnTo>
                    <a:pt x="8928" y="185775"/>
                  </a:lnTo>
                  <a:lnTo>
                    <a:pt x="1235" y="231522"/>
                  </a:lnTo>
                  <a:lnTo>
                    <a:pt x="0" y="259168"/>
                  </a:lnTo>
                  <a:lnTo>
                    <a:pt x="0" y="719543"/>
                  </a:lnTo>
                  <a:lnTo>
                    <a:pt x="3445" y="739711"/>
                  </a:lnTo>
                  <a:lnTo>
                    <a:pt x="12841" y="756181"/>
                  </a:lnTo>
                  <a:lnTo>
                    <a:pt x="26772" y="767287"/>
                  </a:lnTo>
                  <a:lnTo>
                    <a:pt x="43827" y="771359"/>
                  </a:lnTo>
                  <a:lnTo>
                    <a:pt x="466826" y="771359"/>
                  </a:lnTo>
                  <a:lnTo>
                    <a:pt x="483886" y="767287"/>
                  </a:lnTo>
                  <a:lnTo>
                    <a:pt x="497817" y="756181"/>
                  </a:lnTo>
                  <a:lnTo>
                    <a:pt x="507210" y="739711"/>
                  </a:lnTo>
                  <a:lnTo>
                    <a:pt x="510654" y="719543"/>
                  </a:lnTo>
                  <a:lnTo>
                    <a:pt x="510654" y="259168"/>
                  </a:lnTo>
                  <a:lnTo>
                    <a:pt x="507895" y="218008"/>
                  </a:lnTo>
                  <a:lnTo>
                    <a:pt x="489709" y="148470"/>
                  </a:lnTo>
                  <a:lnTo>
                    <a:pt x="452554" y="83418"/>
                  </a:lnTo>
                  <a:lnTo>
                    <a:pt x="398371" y="32864"/>
                  </a:lnTo>
                  <a:lnTo>
                    <a:pt x="329398" y="3868"/>
                  </a:lnTo>
                  <a:lnTo>
                    <a:pt x="291452" y="0"/>
                  </a:lnTo>
                  <a:close/>
                </a:path>
              </a:pathLst>
            </a:custGeom>
            <a:solidFill>
              <a:srgbClr val="F2F2F2"/>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6" name="object 156"/>
            <p:cNvSpPr/>
            <p:nvPr/>
          </p:nvSpPr>
          <p:spPr>
            <a:xfrm>
              <a:off x="698931" y="2166734"/>
              <a:ext cx="75565" cy="9525"/>
            </a:xfrm>
            <a:custGeom>
              <a:avLst/>
              <a:gdLst/>
              <a:ahLst/>
              <a:cxnLst/>
              <a:rect l="l" t="t" r="r" b="b"/>
              <a:pathLst>
                <a:path w="75565" h="9525">
                  <a:moveTo>
                    <a:pt x="75095" y="0"/>
                  </a:moveTo>
                  <a:lnTo>
                    <a:pt x="0" y="0"/>
                  </a:lnTo>
                  <a:lnTo>
                    <a:pt x="0" y="9156"/>
                  </a:lnTo>
                  <a:lnTo>
                    <a:pt x="75095" y="9156"/>
                  </a:lnTo>
                  <a:lnTo>
                    <a:pt x="75095" y="0"/>
                  </a:lnTo>
                  <a:close/>
                </a:path>
              </a:pathLst>
            </a:custGeom>
            <a:solidFill>
              <a:srgbClr val="333333"/>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7" name="object 157"/>
            <p:cNvSpPr/>
            <p:nvPr/>
          </p:nvSpPr>
          <p:spPr>
            <a:xfrm>
              <a:off x="703300" y="2052827"/>
              <a:ext cx="141605" cy="6350"/>
            </a:xfrm>
            <a:custGeom>
              <a:avLst/>
              <a:gdLst/>
              <a:ahLst/>
              <a:cxnLst/>
              <a:rect l="l" t="t" r="r" b="b"/>
              <a:pathLst>
                <a:path w="141605" h="6350">
                  <a:moveTo>
                    <a:pt x="141452" y="0"/>
                  </a:moveTo>
                  <a:lnTo>
                    <a:pt x="0" y="0"/>
                  </a:lnTo>
                  <a:lnTo>
                    <a:pt x="0" y="6134"/>
                  </a:lnTo>
                  <a:lnTo>
                    <a:pt x="141452" y="6134"/>
                  </a:lnTo>
                  <a:lnTo>
                    <a:pt x="141452" y="0"/>
                  </a:lnTo>
                  <a:close/>
                </a:path>
              </a:pathLst>
            </a:custGeom>
            <a:solidFill>
              <a:srgbClr val="3D3D3D"/>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58" name="object 158"/>
            <p:cNvPicPr/>
            <p:nvPr/>
          </p:nvPicPr>
          <p:blipFill>
            <a:blip r:embed="rId33" cstate="print"/>
            <a:stretch>
              <a:fillRect/>
            </a:stretch>
          </p:blipFill>
          <p:spPr>
            <a:xfrm>
              <a:off x="683635" y="1859126"/>
              <a:ext cx="180884" cy="90056"/>
            </a:xfrm>
            <a:prstGeom prst="rect">
              <a:avLst/>
            </a:prstGeom>
          </p:spPr>
        </p:pic>
        <p:sp>
          <p:nvSpPr>
            <p:cNvPr id="159" name="object 159"/>
            <p:cNvSpPr/>
            <p:nvPr/>
          </p:nvSpPr>
          <p:spPr>
            <a:xfrm>
              <a:off x="518697" y="2381970"/>
              <a:ext cx="511175" cy="586105"/>
            </a:xfrm>
            <a:custGeom>
              <a:avLst/>
              <a:gdLst/>
              <a:ahLst/>
              <a:cxnLst/>
              <a:rect l="l" t="t" r="r" b="b"/>
              <a:pathLst>
                <a:path w="511175" h="586105">
                  <a:moveTo>
                    <a:pt x="501738" y="0"/>
                  </a:moveTo>
                  <a:lnTo>
                    <a:pt x="8928" y="0"/>
                  </a:lnTo>
                  <a:lnTo>
                    <a:pt x="6007" y="12547"/>
                  </a:lnTo>
                  <a:lnTo>
                    <a:pt x="2753" y="32232"/>
                  </a:lnTo>
                  <a:lnTo>
                    <a:pt x="1235" y="45746"/>
                  </a:lnTo>
                  <a:lnTo>
                    <a:pt x="311" y="59473"/>
                  </a:lnTo>
                  <a:lnTo>
                    <a:pt x="0" y="73393"/>
                  </a:lnTo>
                  <a:lnTo>
                    <a:pt x="0" y="533768"/>
                  </a:lnTo>
                  <a:lnTo>
                    <a:pt x="16581" y="574348"/>
                  </a:lnTo>
                  <a:lnTo>
                    <a:pt x="43827" y="585584"/>
                  </a:lnTo>
                  <a:lnTo>
                    <a:pt x="466826" y="585584"/>
                  </a:lnTo>
                  <a:lnTo>
                    <a:pt x="500849" y="566419"/>
                  </a:lnTo>
                  <a:lnTo>
                    <a:pt x="510654" y="533768"/>
                  </a:lnTo>
                  <a:lnTo>
                    <a:pt x="510654" y="73393"/>
                  </a:lnTo>
                  <a:lnTo>
                    <a:pt x="507895" y="32232"/>
                  </a:lnTo>
                  <a:lnTo>
                    <a:pt x="501738" y="0"/>
                  </a:lnTo>
                  <a:close/>
                </a:path>
              </a:pathLst>
            </a:custGeom>
            <a:solidFill>
              <a:srgbClr val="E8E8E8"/>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0" name="object 160"/>
            <p:cNvSpPr/>
            <p:nvPr/>
          </p:nvSpPr>
          <p:spPr>
            <a:xfrm>
              <a:off x="759891" y="2196198"/>
              <a:ext cx="28575" cy="186055"/>
            </a:xfrm>
            <a:custGeom>
              <a:avLst/>
              <a:gdLst/>
              <a:ahLst/>
              <a:cxnLst/>
              <a:rect l="l" t="t" r="r" b="b"/>
              <a:pathLst>
                <a:path w="28575" h="186055">
                  <a:moveTo>
                    <a:pt x="28270" y="0"/>
                  </a:moveTo>
                  <a:lnTo>
                    <a:pt x="0" y="0"/>
                  </a:lnTo>
                  <a:lnTo>
                    <a:pt x="0" y="185775"/>
                  </a:lnTo>
                  <a:lnTo>
                    <a:pt x="28270" y="185775"/>
                  </a:lnTo>
                  <a:lnTo>
                    <a:pt x="28270" y="0"/>
                  </a:lnTo>
                  <a:close/>
                </a:path>
              </a:pathLst>
            </a:custGeom>
            <a:solidFill>
              <a:srgbClr val="F7F7F7"/>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1" name="object 161"/>
            <p:cNvSpPr/>
            <p:nvPr/>
          </p:nvSpPr>
          <p:spPr>
            <a:xfrm>
              <a:off x="759889" y="2381975"/>
              <a:ext cx="28575" cy="572135"/>
            </a:xfrm>
            <a:custGeom>
              <a:avLst/>
              <a:gdLst/>
              <a:ahLst/>
              <a:cxnLst/>
              <a:rect l="l" t="t" r="r" b="b"/>
              <a:pathLst>
                <a:path w="28575" h="572135">
                  <a:moveTo>
                    <a:pt x="28270" y="0"/>
                  </a:moveTo>
                  <a:lnTo>
                    <a:pt x="0" y="0"/>
                  </a:lnTo>
                  <a:lnTo>
                    <a:pt x="1574" y="572096"/>
                  </a:lnTo>
                  <a:lnTo>
                    <a:pt x="26682" y="572096"/>
                  </a:lnTo>
                  <a:lnTo>
                    <a:pt x="28270" y="0"/>
                  </a:lnTo>
                  <a:close/>
                </a:path>
              </a:pathLst>
            </a:custGeom>
            <a:solidFill>
              <a:srgbClr val="F0F0F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2" name="object 162"/>
            <p:cNvSpPr/>
            <p:nvPr/>
          </p:nvSpPr>
          <p:spPr>
            <a:xfrm>
              <a:off x="1012355" y="2933001"/>
              <a:ext cx="14604" cy="24130"/>
            </a:xfrm>
            <a:custGeom>
              <a:avLst/>
              <a:gdLst/>
              <a:ahLst/>
              <a:cxnLst/>
              <a:rect l="l" t="t" r="r" b="b"/>
              <a:pathLst>
                <a:path w="14605" h="24130">
                  <a:moveTo>
                    <a:pt x="14490" y="0"/>
                  </a:moveTo>
                  <a:lnTo>
                    <a:pt x="11963" y="6845"/>
                  </a:lnTo>
                  <a:lnTo>
                    <a:pt x="8648" y="13144"/>
                  </a:lnTo>
                  <a:lnTo>
                    <a:pt x="4635" y="18783"/>
                  </a:lnTo>
                  <a:lnTo>
                    <a:pt x="0" y="23698"/>
                  </a:lnTo>
                  <a:lnTo>
                    <a:pt x="2641" y="21272"/>
                  </a:lnTo>
                  <a:lnTo>
                    <a:pt x="5054" y="18491"/>
                  </a:lnTo>
                  <a:lnTo>
                    <a:pt x="10299" y="10845"/>
                  </a:lnTo>
                  <a:lnTo>
                    <a:pt x="12801" y="5651"/>
                  </a:lnTo>
                  <a:lnTo>
                    <a:pt x="14490" y="0"/>
                  </a:lnTo>
                  <a:close/>
                </a:path>
              </a:pathLst>
            </a:custGeom>
            <a:solidFill>
              <a:srgbClr val="E5E5E5"/>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63" name="object 163"/>
            <p:cNvPicPr/>
            <p:nvPr/>
          </p:nvPicPr>
          <p:blipFill>
            <a:blip r:embed="rId34" cstate="print"/>
            <a:stretch>
              <a:fillRect/>
            </a:stretch>
          </p:blipFill>
          <p:spPr>
            <a:xfrm>
              <a:off x="788153" y="2196189"/>
              <a:ext cx="241194" cy="259173"/>
            </a:xfrm>
            <a:prstGeom prst="rect">
              <a:avLst/>
            </a:prstGeom>
          </p:spPr>
        </p:pic>
        <p:sp>
          <p:nvSpPr>
            <p:cNvPr id="164" name="object 164"/>
            <p:cNvSpPr/>
            <p:nvPr/>
          </p:nvSpPr>
          <p:spPr>
            <a:xfrm>
              <a:off x="774028" y="2381968"/>
              <a:ext cx="255904" cy="586105"/>
            </a:xfrm>
            <a:custGeom>
              <a:avLst/>
              <a:gdLst/>
              <a:ahLst/>
              <a:cxnLst/>
              <a:rect l="l" t="t" r="r" b="b"/>
              <a:pathLst>
                <a:path w="255905" h="586105">
                  <a:moveTo>
                    <a:pt x="246405" y="12"/>
                  </a:moveTo>
                  <a:lnTo>
                    <a:pt x="14135" y="0"/>
                  </a:lnTo>
                  <a:lnTo>
                    <a:pt x="12547" y="572096"/>
                  </a:lnTo>
                  <a:lnTo>
                    <a:pt x="0" y="572096"/>
                  </a:lnTo>
                  <a:lnTo>
                    <a:pt x="0" y="585584"/>
                  </a:lnTo>
                  <a:lnTo>
                    <a:pt x="211493" y="585584"/>
                  </a:lnTo>
                  <a:lnTo>
                    <a:pt x="248640" y="561860"/>
                  </a:lnTo>
                  <a:lnTo>
                    <a:pt x="255320" y="73393"/>
                  </a:lnTo>
                  <a:lnTo>
                    <a:pt x="255009" y="59478"/>
                  </a:lnTo>
                  <a:lnTo>
                    <a:pt x="254085" y="45751"/>
                  </a:lnTo>
                  <a:lnTo>
                    <a:pt x="252566" y="32234"/>
                  </a:lnTo>
                  <a:lnTo>
                    <a:pt x="250469" y="18948"/>
                  </a:lnTo>
                  <a:lnTo>
                    <a:pt x="246405" y="12"/>
                  </a:lnTo>
                  <a:close/>
                </a:path>
              </a:pathLst>
            </a:custGeom>
            <a:solidFill>
              <a:srgbClr val="DBDBDB"/>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5" name="object 165"/>
            <p:cNvSpPr/>
            <p:nvPr/>
          </p:nvSpPr>
          <p:spPr>
            <a:xfrm>
              <a:off x="625328" y="2522867"/>
              <a:ext cx="297815" cy="297815"/>
            </a:xfrm>
            <a:custGeom>
              <a:avLst/>
              <a:gdLst/>
              <a:ahLst/>
              <a:cxnLst/>
              <a:rect l="l" t="t" r="r" b="b"/>
              <a:pathLst>
                <a:path w="297815" h="297814">
                  <a:moveTo>
                    <a:pt x="148691" y="0"/>
                  </a:moveTo>
                  <a:lnTo>
                    <a:pt x="101694" y="7581"/>
                  </a:lnTo>
                  <a:lnTo>
                    <a:pt x="60877" y="28693"/>
                  </a:lnTo>
                  <a:lnTo>
                    <a:pt x="28689" y="60885"/>
                  </a:lnTo>
                  <a:lnTo>
                    <a:pt x="7580" y="101705"/>
                  </a:lnTo>
                  <a:lnTo>
                    <a:pt x="0" y="148704"/>
                  </a:lnTo>
                  <a:lnTo>
                    <a:pt x="7580" y="195707"/>
                  </a:lnTo>
                  <a:lnTo>
                    <a:pt x="28689" y="236528"/>
                  </a:lnTo>
                  <a:lnTo>
                    <a:pt x="60877" y="268718"/>
                  </a:lnTo>
                  <a:lnTo>
                    <a:pt x="101694" y="289827"/>
                  </a:lnTo>
                  <a:lnTo>
                    <a:pt x="148691" y="297408"/>
                  </a:lnTo>
                  <a:lnTo>
                    <a:pt x="195695" y="289827"/>
                  </a:lnTo>
                  <a:lnTo>
                    <a:pt x="236516" y="268718"/>
                  </a:lnTo>
                  <a:lnTo>
                    <a:pt x="268705" y="236528"/>
                  </a:lnTo>
                  <a:lnTo>
                    <a:pt x="289815" y="195707"/>
                  </a:lnTo>
                  <a:lnTo>
                    <a:pt x="297395" y="148704"/>
                  </a:lnTo>
                  <a:lnTo>
                    <a:pt x="289815" y="101705"/>
                  </a:lnTo>
                  <a:lnTo>
                    <a:pt x="268705" y="60885"/>
                  </a:lnTo>
                  <a:lnTo>
                    <a:pt x="236516" y="28693"/>
                  </a:lnTo>
                  <a:lnTo>
                    <a:pt x="195695" y="7581"/>
                  </a:lnTo>
                  <a:lnTo>
                    <a:pt x="148691"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6" name="object 166"/>
            <p:cNvSpPr/>
            <p:nvPr/>
          </p:nvSpPr>
          <p:spPr>
            <a:xfrm>
              <a:off x="682675" y="2582049"/>
              <a:ext cx="182880" cy="182880"/>
            </a:xfrm>
            <a:custGeom>
              <a:avLst/>
              <a:gdLst/>
              <a:ahLst/>
              <a:cxnLst/>
              <a:rect l="l" t="t" r="r" b="b"/>
              <a:pathLst>
                <a:path w="182880" h="182880">
                  <a:moveTo>
                    <a:pt x="182676" y="69850"/>
                  </a:moveTo>
                  <a:lnTo>
                    <a:pt x="112420" y="69850"/>
                  </a:lnTo>
                  <a:lnTo>
                    <a:pt x="112420" y="0"/>
                  </a:lnTo>
                  <a:lnTo>
                    <a:pt x="70256" y="0"/>
                  </a:lnTo>
                  <a:lnTo>
                    <a:pt x="70256" y="69850"/>
                  </a:lnTo>
                  <a:lnTo>
                    <a:pt x="0" y="69850"/>
                  </a:lnTo>
                  <a:lnTo>
                    <a:pt x="0" y="111760"/>
                  </a:lnTo>
                  <a:lnTo>
                    <a:pt x="70256" y="111760"/>
                  </a:lnTo>
                  <a:lnTo>
                    <a:pt x="70256" y="182880"/>
                  </a:lnTo>
                  <a:lnTo>
                    <a:pt x="112420" y="182880"/>
                  </a:lnTo>
                  <a:lnTo>
                    <a:pt x="112420" y="111760"/>
                  </a:lnTo>
                  <a:lnTo>
                    <a:pt x="182676" y="111760"/>
                  </a:lnTo>
                  <a:lnTo>
                    <a:pt x="182676" y="69850"/>
                  </a:lnTo>
                  <a:close/>
                </a:path>
              </a:pathLst>
            </a:custGeom>
            <a:solidFill>
              <a:srgbClr val="E5E5E5"/>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67" name="object 167"/>
            <p:cNvPicPr/>
            <p:nvPr/>
          </p:nvPicPr>
          <p:blipFill>
            <a:blip r:embed="rId35" cstate="print"/>
            <a:stretch>
              <a:fillRect/>
            </a:stretch>
          </p:blipFill>
          <p:spPr>
            <a:xfrm>
              <a:off x="7480299" y="1135856"/>
              <a:ext cx="1917700" cy="1078706"/>
            </a:xfrm>
            <a:prstGeom prst="rect">
              <a:avLst/>
            </a:prstGeom>
          </p:spPr>
        </p:pic>
      </p:grpSp>
      <p:sp>
        <p:nvSpPr>
          <p:cNvPr id="168" name="object 168"/>
          <p:cNvSpPr txBox="1"/>
          <p:nvPr/>
        </p:nvSpPr>
        <p:spPr>
          <a:xfrm>
            <a:off x="8318033" y="1299507"/>
            <a:ext cx="125506" cy="68454"/>
          </a:xfrm>
          <a:prstGeom prst="rect">
            <a:avLst/>
          </a:prstGeom>
        </p:spPr>
        <p:txBody>
          <a:bodyPr vert="horz" wrap="square" lIns="0" tIns="14007" rIns="0" bIns="0" rtlCol="0">
            <a:spAutoFit/>
          </a:bodyPr>
          <a:lstStyle/>
          <a:p>
            <a:pPr marL="11206" marR="0" lvl="0" indent="0" algn="l" defTabSz="806867" rtl="0" eaLnBrk="1" fontAlgn="auto" latinLnBrk="0" hangingPunct="1">
              <a:lnSpc>
                <a:spcPct val="100000"/>
              </a:lnSpc>
              <a:spcBef>
                <a:spcPts val="110"/>
              </a:spcBef>
              <a:spcAft>
                <a:spcPts val="0"/>
              </a:spcAft>
              <a:buClrTx/>
              <a:buSzTx/>
              <a:buFontTx/>
              <a:buNone/>
              <a:tabLst/>
              <a:defRPr/>
            </a:pPr>
            <a:r>
              <a:rPr kumimoji="0" sz="353" b="1" i="0" u="none" strike="noStrike" kern="0" cap="none" spc="-18" normalizeH="0" baseline="0" noProof="0">
                <a:ln>
                  <a:noFill/>
                </a:ln>
                <a:solidFill>
                  <a:sysClr val="windowText" lastClr="000000"/>
                </a:solidFill>
                <a:effectLst/>
                <a:uLnTx/>
                <a:uFillTx/>
                <a:latin typeface="Calibri"/>
                <a:ea typeface="+mn-ea"/>
                <a:cs typeface="Calibri"/>
              </a:rPr>
              <a:t>2020</a:t>
            </a:r>
            <a:endParaRPr kumimoji="0" sz="353"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69" name="object 169"/>
          <p:cNvSpPr txBox="1"/>
          <p:nvPr/>
        </p:nvSpPr>
        <p:spPr>
          <a:xfrm>
            <a:off x="8318033" y="1348936"/>
            <a:ext cx="474569" cy="44167"/>
          </a:xfrm>
          <a:prstGeom prst="rect">
            <a:avLst/>
          </a:prstGeom>
        </p:spPr>
        <p:txBody>
          <a:bodyPr vert="horz" wrap="square" lIns="0" tIns="10085" rIns="0" bIns="0" rtlCol="0">
            <a:spAutoFit/>
          </a:bodyPr>
          <a:lstStyle/>
          <a:p>
            <a:pPr marL="11206" marR="0" lvl="0" indent="0" algn="l" defTabSz="806867" rtl="0" eaLnBrk="1" fontAlgn="auto" latinLnBrk="0" hangingPunct="1">
              <a:lnSpc>
                <a:spcPct val="100000"/>
              </a:lnSpc>
              <a:spcBef>
                <a:spcPts val="79"/>
              </a:spcBef>
              <a:spcAft>
                <a:spcPts val="0"/>
              </a:spcAft>
              <a:buClrTx/>
              <a:buSzTx/>
              <a:buFontTx/>
              <a:buNone/>
              <a:tabLst/>
              <a:defRPr/>
            </a:pPr>
            <a:r>
              <a:rPr kumimoji="0" sz="221" b="1" i="0" u="none" strike="noStrike" kern="0" cap="none" spc="0" normalizeH="0" baseline="0" noProof="0">
                <a:ln>
                  <a:noFill/>
                </a:ln>
                <a:solidFill>
                  <a:sysClr val="windowText" lastClr="000000"/>
                </a:solidFill>
                <a:effectLst/>
                <a:uLnTx/>
                <a:uFillTx/>
                <a:latin typeface="Calibri"/>
                <a:ea typeface="+mn-ea"/>
                <a:cs typeface="Calibri"/>
              </a:rPr>
              <a:t>CORPORATE</a:t>
            </a:r>
            <a:r>
              <a:rPr kumimoji="0" sz="221" b="1" i="0" u="none" strike="noStrike" kern="0" cap="none" spc="13" normalizeH="0" baseline="0" noProof="0">
                <a:ln>
                  <a:noFill/>
                </a:ln>
                <a:solidFill>
                  <a:sysClr val="windowText" lastClr="000000"/>
                </a:solidFill>
                <a:effectLst/>
                <a:uLnTx/>
                <a:uFillTx/>
                <a:latin typeface="Calibri"/>
                <a:ea typeface="+mn-ea"/>
                <a:cs typeface="Calibri"/>
              </a:rPr>
              <a:t> </a:t>
            </a:r>
            <a:r>
              <a:rPr kumimoji="0" sz="221" b="1" i="0" u="none" strike="noStrike" kern="0" cap="none" spc="0" normalizeH="0" baseline="0" noProof="0">
                <a:ln>
                  <a:noFill/>
                </a:ln>
                <a:solidFill>
                  <a:sysClr val="windowText" lastClr="000000"/>
                </a:solidFill>
                <a:effectLst/>
                <a:uLnTx/>
                <a:uFillTx/>
                <a:latin typeface="Calibri"/>
                <a:ea typeface="+mn-ea"/>
                <a:cs typeface="Calibri"/>
              </a:rPr>
              <a:t>SUSTAINABILITY</a:t>
            </a:r>
            <a:r>
              <a:rPr kumimoji="0" sz="221" b="1" i="0" u="none" strike="noStrike" kern="0" cap="none" spc="18" normalizeH="0" baseline="0" noProof="0">
                <a:ln>
                  <a:noFill/>
                </a:ln>
                <a:solidFill>
                  <a:sysClr val="windowText" lastClr="000000"/>
                </a:solidFill>
                <a:effectLst/>
                <a:uLnTx/>
                <a:uFillTx/>
                <a:latin typeface="Calibri"/>
                <a:ea typeface="+mn-ea"/>
                <a:cs typeface="Calibri"/>
              </a:rPr>
              <a:t> </a:t>
            </a:r>
            <a:r>
              <a:rPr kumimoji="0" sz="221" b="1" i="0" u="none" strike="noStrike" kern="0" cap="none" spc="-9" normalizeH="0" baseline="0" noProof="0">
                <a:ln>
                  <a:noFill/>
                </a:ln>
                <a:solidFill>
                  <a:sysClr val="windowText" lastClr="000000"/>
                </a:solidFill>
                <a:effectLst/>
                <a:uLnTx/>
                <a:uFillTx/>
                <a:latin typeface="Calibri"/>
                <a:ea typeface="+mn-ea"/>
                <a:cs typeface="Calibri"/>
              </a:rPr>
              <a:t>REPORT</a:t>
            </a:r>
            <a:endParaRPr kumimoji="0" sz="221"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170" name="object 170"/>
          <p:cNvGrpSpPr/>
          <p:nvPr/>
        </p:nvGrpSpPr>
        <p:grpSpPr>
          <a:xfrm>
            <a:off x="8328960" y="1072728"/>
            <a:ext cx="278466" cy="784412"/>
            <a:chOff x="7559887" y="1215759"/>
            <a:chExt cx="315595" cy="889000"/>
          </a:xfrm>
        </p:grpSpPr>
        <p:pic>
          <p:nvPicPr>
            <p:cNvPr id="171" name="object 171"/>
            <p:cNvPicPr/>
            <p:nvPr/>
          </p:nvPicPr>
          <p:blipFill>
            <a:blip r:embed="rId36" cstate="print"/>
            <a:stretch>
              <a:fillRect/>
            </a:stretch>
          </p:blipFill>
          <p:spPr>
            <a:xfrm>
              <a:off x="7560199" y="1215759"/>
              <a:ext cx="162877" cy="159804"/>
            </a:xfrm>
            <a:prstGeom prst="rect">
              <a:avLst/>
            </a:prstGeom>
          </p:spPr>
        </p:pic>
        <p:sp>
          <p:nvSpPr>
            <p:cNvPr id="172" name="object 172"/>
            <p:cNvSpPr/>
            <p:nvPr/>
          </p:nvSpPr>
          <p:spPr>
            <a:xfrm>
              <a:off x="7560204" y="2061935"/>
              <a:ext cx="314960" cy="0"/>
            </a:xfrm>
            <a:custGeom>
              <a:avLst/>
              <a:gdLst/>
              <a:ahLst/>
              <a:cxnLst/>
              <a:rect l="l" t="t" r="r" b="b"/>
              <a:pathLst>
                <a:path w="314959">
                  <a:moveTo>
                    <a:pt x="0" y="0"/>
                  </a:moveTo>
                  <a:lnTo>
                    <a:pt x="314401" y="0"/>
                  </a:lnTo>
                </a:path>
              </a:pathLst>
            </a:custGeom>
            <a:ln w="3175">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3" name="object 173"/>
            <p:cNvSpPr/>
            <p:nvPr/>
          </p:nvSpPr>
          <p:spPr>
            <a:xfrm>
              <a:off x="7849498" y="2074236"/>
              <a:ext cx="8255" cy="8890"/>
            </a:xfrm>
            <a:custGeom>
              <a:avLst/>
              <a:gdLst/>
              <a:ahLst/>
              <a:cxnLst/>
              <a:rect l="l" t="t" r="r" b="b"/>
              <a:pathLst>
                <a:path w="8254" h="8889">
                  <a:moveTo>
                    <a:pt x="8166" y="0"/>
                  </a:moveTo>
                  <a:lnTo>
                    <a:pt x="0" y="8445"/>
                  </a:lnTo>
                  <a:lnTo>
                    <a:pt x="6515" y="6578"/>
                  </a:lnTo>
                  <a:lnTo>
                    <a:pt x="8166" y="0"/>
                  </a:lnTo>
                  <a:close/>
                </a:path>
              </a:pathLst>
            </a:custGeom>
            <a:solidFill>
              <a:srgbClr val="D1D3D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4" name="object 174"/>
            <p:cNvSpPr/>
            <p:nvPr/>
          </p:nvSpPr>
          <p:spPr>
            <a:xfrm>
              <a:off x="7849503" y="2080809"/>
              <a:ext cx="11430" cy="5080"/>
            </a:xfrm>
            <a:custGeom>
              <a:avLst/>
              <a:gdLst/>
              <a:ahLst/>
              <a:cxnLst/>
              <a:rect l="l" t="t" r="r" b="b"/>
              <a:pathLst>
                <a:path w="11429" h="5080">
                  <a:moveTo>
                    <a:pt x="6515" y="0"/>
                  </a:moveTo>
                  <a:lnTo>
                    <a:pt x="0" y="1866"/>
                  </a:lnTo>
                  <a:lnTo>
                    <a:pt x="1790" y="2603"/>
                  </a:lnTo>
                  <a:lnTo>
                    <a:pt x="3657" y="3213"/>
                  </a:lnTo>
                  <a:lnTo>
                    <a:pt x="7531" y="4178"/>
                  </a:lnTo>
                  <a:lnTo>
                    <a:pt x="9461" y="4521"/>
                  </a:lnTo>
                  <a:lnTo>
                    <a:pt x="11391" y="4711"/>
                  </a:lnTo>
                  <a:lnTo>
                    <a:pt x="6515" y="0"/>
                  </a:lnTo>
                  <a:close/>
                </a:path>
              </a:pathLst>
            </a:custGeom>
            <a:solidFill>
              <a:srgbClr val="58595B"/>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5" name="object 175"/>
            <p:cNvSpPr/>
            <p:nvPr/>
          </p:nvSpPr>
          <p:spPr>
            <a:xfrm>
              <a:off x="7841679" y="2074239"/>
              <a:ext cx="19685" cy="22225"/>
            </a:xfrm>
            <a:custGeom>
              <a:avLst/>
              <a:gdLst/>
              <a:ahLst/>
              <a:cxnLst/>
              <a:rect l="l" t="t" r="r" b="b"/>
              <a:pathLst>
                <a:path w="19684" h="22225">
                  <a:moveTo>
                    <a:pt x="5753" y="15189"/>
                  </a:moveTo>
                  <a:lnTo>
                    <a:pt x="0" y="11595"/>
                  </a:lnTo>
                  <a:lnTo>
                    <a:pt x="660" y="13423"/>
                  </a:lnTo>
                  <a:lnTo>
                    <a:pt x="1447" y="15227"/>
                  </a:lnTo>
                  <a:lnTo>
                    <a:pt x="3327" y="18745"/>
                  </a:lnTo>
                  <a:lnTo>
                    <a:pt x="4368" y="20408"/>
                  </a:lnTo>
                  <a:lnTo>
                    <a:pt x="5511" y="21971"/>
                  </a:lnTo>
                  <a:lnTo>
                    <a:pt x="5753" y="15189"/>
                  </a:lnTo>
                  <a:close/>
                </a:path>
                <a:path w="19684" h="22225">
                  <a:moveTo>
                    <a:pt x="19215" y="11290"/>
                  </a:moveTo>
                  <a:lnTo>
                    <a:pt x="15976" y="0"/>
                  </a:lnTo>
                  <a:lnTo>
                    <a:pt x="14338" y="6578"/>
                  </a:lnTo>
                  <a:lnTo>
                    <a:pt x="19215" y="11290"/>
                  </a:lnTo>
                  <a:close/>
                </a:path>
              </a:pathLst>
            </a:custGeom>
            <a:solidFill>
              <a:srgbClr val="939598"/>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6" name="object 176"/>
            <p:cNvSpPr/>
            <p:nvPr/>
          </p:nvSpPr>
          <p:spPr>
            <a:xfrm>
              <a:off x="7847198" y="2086245"/>
              <a:ext cx="6350" cy="10160"/>
            </a:xfrm>
            <a:custGeom>
              <a:avLst/>
              <a:gdLst/>
              <a:ahLst/>
              <a:cxnLst/>
              <a:rect l="l" t="t" r="r" b="b"/>
              <a:pathLst>
                <a:path w="6350" h="10160">
                  <a:moveTo>
                    <a:pt x="6223" y="0"/>
                  </a:moveTo>
                  <a:lnTo>
                    <a:pt x="228" y="3187"/>
                  </a:lnTo>
                  <a:lnTo>
                    <a:pt x="0" y="9956"/>
                  </a:lnTo>
                  <a:lnTo>
                    <a:pt x="1244" y="8483"/>
                  </a:lnTo>
                  <a:lnTo>
                    <a:pt x="2413" y="6896"/>
                  </a:lnTo>
                  <a:lnTo>
                    <a:pt x="4521" y="3505"/>
                  </a:lnTo>
                  <a:lnTo>
                    <a:pt x="5435" y="1778"/>
                  </a:lnTo>
                  <a:lnTo>
                    <a:pt x="6223" y="0"/>
                  </a:lnTo>
                  <a:close/>
                </a:path>
              </a:pathLst>
            </a:custGeom>
            <a:solidFill>
              <a:srgbClr val="58595B"/>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7" name="object 177"/>
            <p:cNvSpPr/>
            <p:nvPr/>
          </p:nvSpPr>
          <p:spPr>
            <a:xfrm>
              <a:off x="7841678" y="2085555"/>
              <a:ext cx="12065" cy="4445"/>
            </a:xfrm>
            <a:custGeom>
              <a:avLst/>
              <a:gdLst/>
              <a:ahLst/>
              <a:cxnLst/>
              <a:rect l="l" t="t" r="r" b="b"/>
              <a:pathLst>
                <a:path w="12065" h="4444">
                  <a:moveTo>
                    <a:pt x="3886" y="0"/>
                  </a:moveTo>
                  <a:lnTo>
                    <a:pt x="1930" y="63"/>
                  </a:lnTo>
                  <a:lnTo>
                    <a:pt x="0" y="279"/>
                  </a:lnTo>
                  <a:lnTo>
                    <a:pt x="5753" y="3873"/>
                  </a:lnTo>
                  <a:lnTo>
                    <a:pt x="11747" y="685"/>
                  </a:lnTo>
                  <a:lnTo>
                    <a:pt x="9829" y="342"/>
                  </a:lnTo>
                  <a:lnTo>
                    <a:pt x="7874" y="139"/>
                  </a:lnTo>
                  <a:lnTo>
                    <a:pt x="3886" y="0"/>
                  </a:lnTo>
                  <a:close/>
                </a:path>
              </a:pathLst>
            </a:custGeom>
            <a:solidFill>
              <a:srgbClr val="D1D3D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8" name="object 178"/>
            <p:cNvSpPr/>
            <p:nvPr/>
          </p:nvSpPr>
          <p:spPr>
            <a:xfrm>
              <a:off x="7847779" y="2100256"/>
              <a:ext cx="12065" cy="4445"/>
            </a:xfrm>
            <a:custGeom>
              <a:avLst/>
              <a:gdLst/>
              <a:ahLst/>
              <a:cxnLst/>
              <a:rect l="l" t="t" r="r" b="b"/>
              <a:pathLst>
                <a:path w="12065" h="4444">
                  <a:moveTo>
                    <a:pt x="5194" y="0"/>
                  </a:moveTo>
                  <a:lnTo>
                    <a:pt x="0" y="4368"/>
                  </a:lnTo>
                  <a:lnTo>
                    <a:pt x="1943" y="4305"/>
                  </a:lnTo>
                  <a:lnTo>
                    <a:pt x="3898" y="4102"/>
                  </a:lnTo>
                  <a:lnTo>
                    <a:pt x="7823" y="3416"/>
                  </a:lnTo>
                  <a:lnTo>
                    <a:pt x="9728" y="2933"/>
                  </a:lnTo>
                  <a:lnTo>
                    <a:pt x="11569" y="2324"/>
                  </a:lnTo>
                  <a:lnTo>
                    <a:pt x="5194" y="0"/>
                  </a:lnTo>
                  <a:close/>
                </a:path>
              </a:pathLst>
            </a:custGeom>
            <a:solidFill>
              <a:srgbClr val="58595B"/>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9" name="object 179"/>
            <p:cNvSpPr/>
            <p:nvPr/>
          </p:nvSpPr>
          <p:spPr>
            <a:xfrm>
              <a:off x="7851798" y="2093582"/>
              <a:ext cx="7620" cy="9525"/>
            </a:xfrm>
            <a:custGeom>
              <a:avLst/>
              <a:gdLst/>
              <a:ahLst/>
              <a:cxnLst/>
              <a:rect l="l" t="t" r="r" b="b"/>
              <a:pathLst>
                <a:path w="7620" h="9525">
                  <a:moveTo>
                    <a:pt x="0" y="0"/>
                  </a:moveTo>
                  <a:lnTo>
                    <a:pt x="1181" y="6680"/>
                  </a:lnTo>
                  <a:lnTo>
                    <a:pt x="7556" y="9004"/>
                  </a:lnTo>
                  <a:lnTo>
                    <a:pt x="6527" y="7353"/>
                  </a:lnTo>
                  <a:lnTo>
                    <a:pt x="5372" y="5753"/>
                  </a:lnTo>
                  <a:lnTo>
                    <a:pt x="2819" y="2692"/>
                  </a:lnTo>
                  <a:lnTo>
                    <a:pt x="1447" y="1282"/>
                  </a:lnTo>
                  <a:lnTo>
                    <a:pt x="0" y="0"/>
                  </a:lnTo>
                  <a:close/>
                </a:path>
              </a:pathLst>
            </a:custGeom>
            <a:solidFill>
              <a:srgbClr val="939598"/>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0" name="object 180"/>
            <p:cNvSpPr/>
            <p:nvPr/>
          </p:nvSpPr>
          <p:spPr>
            <a:xfrm>
              <a:off x="7847779" y="2093583"/>
              <a:ext cx="5715" cy="11430"/>
            </a:xfrm>
            <a:custGeom>
              <a:avLst/>
              <a:gdLst/>
              <a:ahLst/>
              <a:cxnLst/>
              <a:rect l="l" t="t" r="r" b="b"/>
              <a:pathLst>
                <a:path w="5715" h="11430">
                  <a:moveTo>
                    <a:pt x="4013" y="0"/>
                  </a:moveTo>
                  <a:lnTo>
                    <a:pt x="0" y="11036"/>
                  </a:lnTo>
                  <a:lnTo>
                    <a:pt x="5194" y="6680"/>
                  </a:lnTo>
                  <a:lnTo>
                    <a:pt x="4013" y="0"/>
                  </a:lnTo>
                  <a:close/>
                </a:path>
              </a:pathLst>
            </a:custGeom>
            <a:solidFill>
              <a:srgbClr val="D1D3D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1" name="object 181"/>
            <p:cNvSpPr/>
            <p:nvPr/>
          </p:nvSpPr>
          <p:spPr>
            <a:xfrm>
              <a:off x="7864984" y="2092989"/>
              <a:ext cx="4445" cy="12065"/>
            </a:xfrm>
            <a:custGeom>
              <a:avLst/>
              <a:gdLst/>
              <a:ahLst/>
              <a:cxnLst/>
              <a:rect l="l" t="t" r="r" b="b"/>
              <a:pathLst>
                <a:path w="4445" h="12064">
                  <a:moveTo>
                    <a:pt x="4178" y="0"/>
                  </a:moveTo>
                  <a:lnTo>
                    <a:pt x="0" y="5346"/>
                  </a:lnTo>
                  <a:lnTo>
                    <a:pt x="2539" y="11633"/>
                  </a:lnTo>
                  <a:lnTo>
                    <a:pt x="3086" y="9766"/>
                  </a:lnTo>
                  <a:lnTo>
                    <a:pt x="3505" y="7848"/>
                  </a:lnTo>
                  <a:lnTo>
                    <a:pt x="4051" y="3898"/>
                  </a:lnTo>
                  <a:lnTo>
                    <a:pt x="4190" y="1930"/>
                  </a:lnTo>
                  <a:lnTo>
                    <a:pt x="4178" y="0"/>
                  </a:lnTo>
                  <a:close/>
                </a:path>
              </a:pathLst>
            </a:custGeom>
            <a:solidFill>
              <a:srgbClr val="939598"/>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2" name="object 182"/>
            <p:cNvSpPr/>
            <p:nvPr/>
          </p:nvSpPr>
          <p:spPr>
            <a:xfrm>
              <a:off x="7858270" y="2092984"/>
              <a:ext cx="11430" cy="5715"/>
            </a:xfrm>
            <a:custGeom>
              <a:avLst/>
              <a:gdLst/>
              <a:ahLst/>
              <a:cxnLst/>
              <a:rect l="l" t="t" r="r" b="b"/>
              <a:pathLst>
                <a:path w="11429" h="5714">
                  <a:moveTo>
                    <a:pt x="10896" y="0"/>
                  </a:moveTo>
                  <a:lnTo>
                    <a:pt x="0" y="4406"/>
                  </a:lnTo>
                  <a:lnTo>
                    <a:pt x="6718" y="5346"/>
                  </a:lnTo>
                  <a:lnTo>
                    <a:pt x="10896" y="0"/>
                  </a:lnTo>
                  <a:close/>
                </a:path>
              </a:pathLst>
            </a:custGeom>
            <a:solidFill>
              <a:srgbClr val="D1D3D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3" name="object 183"/>
            <p:cNvSpPr/>
            <p:nvPr/>
          </p:nvSpPr>
          <p:spPr>
            <a:xfrm>
              <a:off x="7858270" y="2097384"/>
              <a:ext cx="9525" cy="7620"/>
            </a:xfrm>
            <a:custGeom>
              <a:avLst/>
              <a:gdLst/>
              <a:ahLst/>
              <a:cxnLst/>
              <a:rect l="l" t="t" r="r" b="b"/>
              <a:pathLst>
                <a:path w="9525" h="7619">
                  <a:moveTo>
                    <a:pt x="0" y="0"/>
                  </a:moveTo>
                  <a:lnTo>
                    <a:pt x="9258" y="7238"/>
                  </a:lnTo>
                  <a:lnTo>
                    <a:pt x="6718" y="952"/>
                  </a:lnTo>
                  <a:lnTo>
                    <a:pt x="0" y="0"/>
                  </a:lnTo>
                  <a:close/>
                </a:path>
              </a:pathLst>
            </a:custGeom>
            <a:solidFill>
              <a:srgbClr val="58595B"/>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4" name="object 184"/>
            <p:cNvSpPr/>
            <p:nvPr/>
          </p:nvSpPr>
          <p:spPr>
            <a:xfrm>
              <a:off x="7863078" y="2080691"/>
              <a:ext cx="10795" cy="5715"/>
            </a:xfrm>
            <a:custGeom>
              <a:avLst/>
              <a:gdLst/>
              <a:ahLst/>
              <a:cxnLst/>
              <a:rect l="l" t="t" r="r" b="b"/>
              <a:pathLst>
                <a:path w="10795" h="5714">
                  <a:moveTo>
                    <a:pt x="0" y="0"/>
                  </a:moveTo>
                  <a:lnTo>
                    <a:pt x="3797" y="5626"/>
                  </a:lnTo>
                  <a:lnTo>
                    <a:pt x="10553" y="5156"/>
                  </a:lnTo>
                  <a:lnTo>
                    <a:pt x="8953" y="4051"/>
                  </a:lnTo>
                  <a:lnTo>
                    <a:pt x="7251" y="3073"/>
                  </a:lnTo>
                  <a:lnTo>
                    <a:pt x="3657" y="1320"/>
                  </a:lnTo>
                  <a:lnTo>
                    <a:pt x="1841" y="584"/>
                  </a:lnTo>
                  <a:lnTo>
                    <a:pt x="0" y="0"/>
                  </a:lnTo>
                  <a:close/>
                </a:path>
              </a:pathLst>
            </a:custGeom>
            <a:solidFill>
              <a:srgbClr val="939598"/>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5" name="object 185"/>
            <p:cNvSpPr/>
            <p:nvPr/>
          </p:nvSpPr>
          <p:spPr>
            <a:xfrm>
              <a:off x="7862918" y="2080689"/>
              <a:ext cx="4445" cy="12065"/>
            </a:xfrm>
            <a:custGeom>
              <a:avLst/>
              <a:gdLst/>
              <a:ahLst/>
              <a:cxnLst/>
              <a:rect l="l" t="t" r="r" b="b"/>
              <a:pathLst>
                <a:path w="4445" h="12064">
                  <a:moveTo>
                    <a:pt x="165" y="0"/>
                  </a:moveTo>
                  <a:lnTo>
                    <a:pt x="12" y="1930"/>
                  </a:lnTo>
                  <a:lnTo>
                    <a:pt x="0" y="3911"/>
                  </a:lnTo>
                  <a:lnTo>
                    <a:pt x="152" y="5905"/>
                  </a:lnTo>
                  <a:lnTo>
                    <a:pt x="279" y="7886"/>
                  </a:lnTo>
                  <a:lnTo>
                    <a:pt x="571" y="9829"/>
                  </a:lnTo>
                  <a:lnTo>
                    <a:pt x="977" y="11722"/>
                  </a:lnTo>
                  <a:lnTo>
                    <a:pt x="3949" y="5626"/>
                  </a:lnTo>
                  <a:lnTo>
                    <a:pt x="165" y="0"/>
                  </a:lnTo>
                  <a:close/>
                </a:path>
              </a:pathLst>
            </a:custGeom>
            <a:solidFill>
              <a:srgbClr val="D1D3D4"/>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6" name="object 186"/>
            <p:cNvSpPr/>
            <p:nvPr/>
          </p:nvSpPr>
          <p:spPr>
            <a:xfrm>
              <a:off x="7863892" y="2085842"/>
              <a:ext cx="10160" cy="6985"/>
            </a:xfrm>
            <a:custGeom>
              <a:avLst/>
              <a:gdLst/>
              <a:ahLst/>
              <a:cxnLst/>
              <a:rect l="l" t="t" r="r" b="b"/>
              <a:pathLst>
                <a:path w="10159" h="6985">
                  <a:moveTo>
                    <a:pt x="9740" y="0"/>
                  </a:moveTo>
                  <a:lnTo>
                    <a:pt x="2984" y="469"/>
                  </a:lnTo>
                  <a:lnTo>
                    <a:pt x="0" y="6565"/>
                  </a:lnTo>
                  <a:lnTo>
                    <a:pt x="1752" y="5727"/>
                  </a:lnTo>
                  <a:lnTo>
                    <a:pt x="3454" y="4749"/>
                  </a:lnTo>
                  <a:lnTo>
                    <a:pt x="6769" y="2514"/>
                  </a:lnTo>
                  <a:lnTo>
                    <a:pt x="8305" y="1295"/>
                  </a:lnTo>
                  <a:lnTo>
                    <a:pt x="9740" y="0"/>
                  </a:lnTo>
                  <a:close/>
                </a:path>
              </a:pathLst>
            </a:custGeom>
            <a:solidFill>
              <a:srgbClr val="58595B"/>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7" name="object 187"/>
            <p:cNvSpPr/>
            <p:nvPr/>
          </p:nvSpPr>
          <p:spPr>
            <a:xfrm>
              <a:off x="7561758" y="2084857"/>
              <a:ext cx="267970" cy="12700"/>
            </a:xfrm>
            <a:custGeom>
              <a:avLst/>
              <a:gdLst/>
              <a:ahLst/>
              <a:cxnLst/>
              <a:rect l="l" t="t" r="r" b="b"/>
              <a:pathLst>
                <a:path w="267970" h="12700">
                  <a:moveTo>
                    <a:pt x="12128" y="12103"/>
                  </a:moveTo>
                  <a:lnTo>
                    <a:pt x="10490" y="8496"/>
                  </a:lnTo>
                  <a:lnTo>
                    <a:pt x="9982" y="7391"/>
                  </a:lnTo>
                  <a:lnTo>
                    <a:pt x="8636" y="4419"/>
                  </a:lnTo>
                  <a:lnTo>
                    <a:pt x="8636" y="7391"/>
                  </a:lnTo>
                  <a:lnTo>
                    <a:pt x="3416" y="7391"/>
                  </a:lnTo>
                  <a:lnTo>
                    <a:pt x="6057" y="1498"/>
                  </a:lnTo>
                  <a:lnTo>
                    <a:pt x="8636" y="7391"/>
                  </a:lnTo>
                  <a:lnTo>
                    <a:pt x="8636" y="4419"/>
                  </a:lnTo>
                  <a:lnTo>
                    <a:pt x="7315" y="1498"/>
                  </a:lnTo>
                  <a:lnTo>
                    <a:pt x="6781" y="304"/>
                  </a:lnTo>
                  <a:lnTo>
                    <a:pt x="5359" y="304"/>
                  </a:lnTo>
                  <a:lnTo>
                    <a:pt x="0" y="12103"/>
                  </a:lnTo>
                  <a:lnTo>
                    <a:pt x="1320" y="12103"/>
                  </a:lnTo>
                  <a:lnTo>
                    <a:pt x="2921" y="8496"/>
                  </a:lnTo>
                  <a:lnTo>
                    <a:pt x="9144" y="8496"/>
                  </a:lnTo>
                  <a:lnTo>
                    <a:pt x="10706" y="12103"/>
                  </a:lnTo>
                  <a:lnTo>
                    <a:pt x="12128" y="12103"/>
                  </a:lnTo>
                  <a:close/>
                </a:path>
                <a:path w="267970" h="12700">
                  <a:moveTo>
                    <a:pt x="30391" y="6438"/>
                  </a:moveTo>
                  <a:lnTo>
                    <a:pt x="28244" y="5943"/>
                  </a:lnTo>
                  <a:lnTo>
                    <a:pt x="23202" y="5105"/>
                  </a:lnTo>
                  <a:lnTo>
                    <a:pt x="21755" y="4737"/>
                  </a:lnTo>
                  <a:lnTo>
                    <a:pt x="21755" y="1854"/>
                  </a:lnTo>
                  <a:lnTo>
                    <a:pt x="23202" y="1104"/>
                  </a:lnTo>
                  <a:lnTo>
                    <a:pt x="27012" y="1104"/>
                  </a:lnTo>
                  <a:lnTo>
                    <a:pt x="28651" y="1638"/>
                  </a:lnTo>
                  <a:lnTo>
                    <a:pt x="28816" y="3657"/>
                  </a:lnTo>
                  <a:lnTo>
                    <a:pt x="30022" y="3657"/>
                  </a:lnTo>
                  <a:lnTo>
                    <a:pt x="29946" y="850"/>
                  </a:lnTo>
                  <a:lnTo>
                    <a:pt x="27520" y="0"/>
                  </a:lnTo>
                  <a:lnTo>
                    <a:pt x="22809" y="0"/>
                  </a:lnTo>
                  <a:lnTo>
                    <a:pt x="20447" y="825"/>
                  </a:lnTo>
                  <a:lnTo>
                    <a:pt x="20447" y="5308"/>
                  </a:lnTo>
                  <a:lnTo>
                    <a:pt x="21932" y="6108"/>
                  </a:lnTo>
                  <a:lnTo>
                    <a:pt x="26924" y="6908"/>
                  </a:lnTo>
                  <a:lnTo>
                    <a:pt x="29083" y="7124"/>
                  </a:lnTo>
                  <a:lnTo>
                    <a:pt x="29083" y="10795"/>
                  </a:lnTo>
                  <a:lnTo>
                    <a:pt x="27241" y="11277"/>
                  </a:lnTo>
                  <a:lnTo>
                    <a:pt x="23202" y="11277"/>
                  </a:lnTo>
                  <a:lnTo>
                    <a:pt x="21539" y="10680"/>
                  </a:lnTo>
                  <a:lnTo>
                    <a:pt x="21336" y="8191"/>
                  </a:lnTo>
                  <a:lnTo>
                    <a:pt x="20116" y="8191"/>
                  </a:lnTo>
                  <a:lnTo>
                    <a:pt x="20294" y="11379"/>
                  </a:lnTo>
                  <a:lnTo>
                    <a:pt x="22466" y="12382"/>
                  </a:lnTo>
                  <a:lnTo>
                    <a:pt x="27774" y="12382"/>
                  </a:lnTo>
                  <a:lnTo>
                    <a:pt x="30391" y="11607"/>
                  </a:lnTo>
                  <a:lnTo>
                    <a:pt x="30391" y="6438"/>
                  </a:lnTo>
                  <a:close/>
                </a:path>
                <a:path w="267970" h="12700">
                  <a:moveTo>
                    <a:pt x="42773" y="304"/>
                  </a:moveTo>
                  <a:lnTo>
                    <a:pt x="32308" y="304"/>
                  </a:lnTo>
                  <a:lnTo>
                    <a:pt x="32308" y="1409"/>
                  </a:lnTo>
                  <a:lnTo>
                    <a:pt x="36944" y="1409"/>
                  </a:lnTo>
                  <a:lnTo>
                    <a:pt x="36944" y="12103"/>
                  </a:lnTo>
                  <a:lnTo>
                    <a:pt x="38150" y="12103"/>
                  </a:lnTo>
                  <a:lnTo>
                    <a:pt x="38150" y="1409"/>
                  </a:lnTo>
                  <a:lnTo>
                    <a:pt x="42773" y="1409"/>
                  </a:lnTo>
                  <a:lnTo>
                    <a:pt x="42773" y="304"/>
                  </a:lnTo>
                  <a:close/>
                </a:path>
                <a:path w="267970" h="12700">
                  <a:moveTo>
                    <a:pt x="55714" y="12103"/>
                  </a:moveTo>
                  <a:lnTo>
                    <a:pt x="54076" y="8496"/>
                  </a:lnTo>
                  <a:lnTo>
                    <a:pt x="53581" y="7391"/>
                  </a:lnTo>
                  <a:lnTo>
                    <a:pt x="52222" y="4406"/>
                  </a:lnTo>
                  <a:lnTo>
                    <a:pt x="52222" y="7391"/>
                  </a:lnTo>
                  <a:lnTo>
                    <a:pt x="47002" y="7391"/>
                  </a:lnTo>
                  <a:lnTo>
                    <a:pt x="49631" y="1498"/>
                  </a:lnTo>
                  <a:lnTo>
                    <a:pt x="52222" y="7391"/>
                  </a:lnTo>
                  <a:lnTo>
                    <a:pt x="52222" y="4406"/>
                  </a:lnTo>
                  <a:lnTo>
                    <a:pt x="50901" y="1498"/>
                  </a:lnTo>
                  <a:lnTo>
                    <a:pt x="50355" y="304"/>
                  </a:lnTo>
                  <a:lnTo>
                    <a:pt x="48933" y="304"/>
                  </a:lnTo>
                  <a:lnTo>
                    <a:pt x="43586" y="12103"/>
                  </a:lnTo>
                  <a:lnTo>
                    <a:pt x="44907" y="12103"/>
                  </a:lnTo>
                  <a:lnTo>
                    <a:pt x="46507" y="8496"/>
                  </a:lnTo>
                  <a:lnTo>
                    <a:pt x="52717" y="8496"/>
                  </a:lnTo>
                  <a:lnTo>
                    <a:pt x="54292" y="12103"/>
                  </a:lnTo>
                  <a:lnTo>
                    <a:pt x="55714" y="12103"/>
                  </a:lnTo>
                  <a:close/>
                </a:path>
                <a:path w="267970" h="12700">
                  <a:moveTo>
                    <a:pt x="68922" y="12103"/>
                  </a:moveTo>
                  <a:lnTo>
                    <a:pt x="68668" y="11849"/>
                  </a:lnTo>
                  <a:lnTo>
                    <a:pt x="68516" y="9652"/>
                  </a:lnTo>
                  <a:lnTo>
                    <a:pt x="68402" y="7594"/>
                  </a:lnTo>
                  <a:lnTo>
                    <a:pt x="68173" y="6896"/>
                  </a:lnTo>
                  <a:lnTo>
                    <a:pt x="68084" y="6642"/>
                  </a:lnTo>
                  <a:lnTo>
                    <a:pt x="66433" y="6375"/>
                  </a:lnTo>
                  <a:lnTo>
                    <a:pt x="67945" y="6007"/>
                  </a:lnTo>
                  <a:lnTo>
                    <a:pt x="68072" y="5791"/>
                  </a:lnTo>
                  <a:lnTo>
                    <a:pt x="68707" y="4749"/>
                  </a:lnTo>
                  <a:lnTo>
                    <a:pt x="68707" y="1409"/>
                  </a:lnTo>
                  <a:lnTo>
                    <a:pt x="68707" y="1003"/>
                  </a:lnTo>
                  <a:lnTo>
                    <a:pt x="67398" y="495"/>
                  </a:lnTo>
                  <a:lnTo>
                    <a:pt x="67398" y="1739"/>
                  </a:lnTo>
                  <a:lnTo>
                    <a:pt x="67398" y="5295"/>
                  </a:lnTo>
                  <a:lnTo>
                    <a:pt x="66192" y="5791"/>
                  </a:lnTo>
                  <a:lnTo>
                    <a:pt x="59690" y="5791"/>
                  </a:lnTo>
                  <a:lnTo>
                    <a:pt x="59690" y="1409"/>
                  </a:lnTo>
                  <a:lnTo>
                    <a:pt x="66103" y="1409"/>
                  </a:lnTo>
                  <a:lnTo>
                    <a:pt x="67398" y="1739"/>
                  </a:lnTo>
                  <a:lnTo>
                    <a:pt x="67398" y="495"/>
                  </a:lnTo>
                  <a:lnTo>
                    <a:pt x="66890" y="292"/>
                  </a:lnTo>
                  <a:lnTo>
                    <a:pt x="58483" y="292"/>
                  </a:lnTo>
                  <a:lnTo>
                    <a:pt x="58483" y="12103"/>
                  </a:lnTo>
                  <a:lnTo>
                    <a:pt x="59690" y="12103"/>
                  </a:lnTo>
                  <a:lnTo>
                    <a:pt x="59690" y="6896"/>
                  </a:lnTo>
                  <a:lnTo>
                    <a:pt x="66484" y="6896"/>
                  </a:lnTo>
                  <a:lnTo>
                    <a:pt x="67271" y="7594"/>
                  </a:lnTo>
                  <a:lnTo>
                    <a:pt x="67398" y="11849"/>
                  </a:lnTo>
                  <a:lnTo>
                    <a:pt x="67614" y="12103"/>
                  </a:lnTo>
                  <a:lnTo>
                    <a:pt x="68922" y="12103"/>
                  </a:lnTo>
                  <a:close/>
                </a:path>
                <a:path w="267970" h="12700">
                  <a:moveTo>
                    <a:pt x="89166" y="12103"/>
                  </a:moveTo>
                  <a:lnTo>
                    <a:pt x="87528" y="8496"/>
                  </a:lnTo>
                  <a:lnTo>
                    <a:pt x="87020" y="7391"/>
                  </a:lnTo>
                  <a:lnTo>
                    <a:pt x="85661" y="4406"/>
                  </a:lnTo>
                  <a:lnTo>
                    <a:pt x="85661" y="7391"/>
                  </a:lnTo>
                  <a:lnTo>
                    <a:pt x="80454" y="7391"/>
                  </a:lnTo>
                  <a:lnTo>
                    <a:pt x="83083" y="1498"/>
                  </a:lnTo>
                  <a:lnTo>
                    <a:pt x="85661" y="7391"/>
                  </a:lnTo>
                  <a:lnTo>
                    <a:pt x="85661" y="4406"/>
                  </a:lnTo>
                  <a:lnTo>
                    <a:pt x="84340" y="1498"/>
                  </a:lnTo>
                  <a:lnTo>
                    <a:pt x="83807" y="304"/>
                  </a:lnTo>
                  <a:lnTo>
                    <a:pt x="82384" y="304"/>
                  </a:lnTo>
                  <a:lnTo>
                    <a:pt x="77025" y="12103"/>
                  </a:lnTo>
                  <a:lnTo>
                    <a:pt x="78346" y="12103"/>
                  </a:lnTo>
                  <a:lnTo>
                    <a:pt x="79946" y="8496"/>
                  </a:lnTo>
                  <a:lnTo>
                    <a:pt x="86169" y="8496"/>
                  </a:lnTo>
                  <a:lnTo>
                    <a:pt x="87731" y="12103"/>
                  </a:lnTo>
                  <a:lnTo>
                    <a:pt x="89166" y="12103"/>
                  </a:lnTo>
                  <a:close/>
                </a:path>
                <a:path w="267970" h="12700">
                  <a:moveTo>
                    <a:pt x="100418" y="10985"/>
                  </a:moveTo>
                  <a:lnTo>
                    <a:pt x="92925" y="10985"/>
                  </a:lnTo>
                  <a:lnTo>
                    <a:pt x="92925" y="304"/>
                  </a:lnTo>
                  <a:lnTo>
                    <a:pt x="91719" y="304"/>
                  </a:lnTo>
                  <a:lnTo>
                    <a:pt x="91719" y="12103"/>
                  </a:lnTo>
                  <a:lnTo>
                    <a:pt x="100418" y="12103"/>
                  </a:lnTo>
                  <a:lnTo>
                    <a:pt x="100418" y="10985"/>
                  </a:lnTo>
                  <a:close/>
                </a:path>
                <a:path w="267970" h="12700">
                  <a:moveTo>
                    <a:pt x="111785" y="10985"/>
                  </a:moveTo>
                  <a:lnTo>
                    <a:pt x="104292" y="10985"/>
                  </a:lnTo>
                  <a:lnTo>
                    <a:pt x="104292" y="304"/>
                  </a:lnTo>
                  <a:lnTo>
                    <a:pt x="103085" y="304"/>
                  </a:lnTo>
                  <a:lnTo>
                    <a:pt x="103085" y="12103"/>
                  </a:lnTo>
                  <a:lnTo>
                    <a:pt x="111785" y="12103"/>
                  </a:lnTo>
                  <a:lnTo>
                    <a:pt x="111785" y="10985"/>
                  </a:lnTo>
                  <a:close/>
                </a:path>
                <a:path w="267970" h="12700">
                  <a:moveTo>
                    <a:pt x="115760" y="292"/>
                  </a:moveTo>
                  <a:lnTo>
                    <a:pt x="114566" y="292"/>
                  </a:lnTo>
                  <a:lnTo>
                    <a:pt x="114566" y="12090"/>
                  </a:lnTo>
                  <a:lnTo>
                    <a:pt x="115760" y="12090"/>
                  </a:lnTo>
                  <a:lnTo>
                    <a:pt x="115760" y="292"/>
                  </a:lnTo>
                  <a:close/>
                </a:path>
                <a:path w="267970" h="12700">
                  <a:moveTo>
                    <a:pt x="130581" y="12103"/>
                  </a:moveTo>
                  <a:lnTo>
                    <a:pt x="128943" y="8496"/>
                  </a:lnTo>
                  <a:lnTo>
                    <a:pt x="128447" y="7391"/>
                  </a:lnTo>
                  <a:lnTo>
                    <a:pt x="127088" y="4406"/>
                  </a:lnTo>
                  <a:lnTo>
                    <a:pt x="127088" y="7391"/>
                  </a:lnTo>
                  <a:lnTo>
                    <a:pt x="121869" y="7391"/>
                  </a:lnTo>
                  <a:lnTo>
                    <a:pt x="124498" y="1498"/>
                  </a:lnTo>
                  <a:lnTo>
                    <a:pt x="127088" y="7391"/>
                  </a:lnTo>
                  <a:lnTo>
                    <a:pt x="127088" y="4406"/>
                  </a:lnTo>
                  <a:lnTo>
                    <a:pt x="125768" y="1498"/>
                  </a:lnTo>
                  <a:lnTo>
                    <a:pt x="125222" y="304"/>
                  </a:lnTo>
                  <a:lnTo>
                    <a:pt x="123799" y="304"/>
                  </a:lnTo>
                  <a:lnTo>
                    <a:pt x="118452" y="12103"/>
                  </a:lnTo>
                  <a:lnTo>
                    <a:pt x="119761" y="12103"/>
                  </a:lnTo>
                  <a:lnTo>
                    <a:pt x="121361" y="8496"/>
                  </a:lnTo>
                  <a:lnTo>
                    <a:pt x="127584" y="8496"/>
                  </a:lnTo>
                  <a:lnTo>
                    <a:pt x="129146" y="12103"/>
                  </a:lnTo>
                  <a:lnTo>
                    <a:pt x="130581" y="12103"/>
                  </a:lnTo>
                  <a:close/>
                </a:path>
                <a:path w="267970" h="12700">
                  <a:moveTo>
                    <a:pt x="144081" y="304"/>
                  </a:moveTo>
                  <a:lnTo>
                    <a:pt x="142887" y="304"/>
                  </a:lnTo>
                  <a:lnTo>
                    <a:pt x="142887" y="10375"/>
                  </a:lnTo>
                  <a:lnTo>
                    <a:pt x="134594" y="304"/>
                  </a:lnTo>
                  <a:lnTo>
                    <a:pt x="133134" y="304"/>
                  </a:lnTo>
                  <a:lnTo>
                    <a:pt x="133134" y="12103"/>
                  </a:lnTo>
                  <a:lnTo>
                    <a:pt x="134353" y="12103"/>
                  </a:lnTo>
                  <a:lnTo>
                    <a:pt x="134353" y="2032"/>
                  </a:lnTo>
                  <a:lnTo>
                    <a:pt x="142684" y="12103"/>
                  </a:lnTo>
                  <a:lnTo>
                    <a:pt x="144081" y="12103"/>
                  </a:lnTo>
                  <a:lnTo>
                    <a:pt x="144081" y="304"/>
                  </a:lnTo>
                  <a:close/>
                </a:path>
                <a:path w="267970" h="12700">
                  <a:moveTo>
                    <a:pt x="159537" y="7607"/>
                  </a:moveTo>
                  <a:lnTo>
                    <a:pt x="158318" y="7607"/>
                  </a:lnTo>
                  <a:lnTo>
                    <a:pt x="157899" y="9855"/>
                  </a:lnTo>
                  <a:lnTo>
                    <a:pt x="156514" y="11277"/>
                  </a:lnTo>
                  <a:lnTo>
                    <a:pt x="150114" y="11277"/>
                  </a:lnTo>
                  <a:lnTo>
                    <a:pt x="148742" y="8826"/>
                  </a:lnTo>
                  <a:lnTo>
                    <a:pt x="148742" y="2755"/>
                  </a:lnTo>
                  <a:lnTo>
                    <a:pt x="150774" y="1117"/>
                  </a:lnTo>
                  <a:lnTo>
                    <a:pt x="155841" y="1117"/>
                  </a:lnTo>
                  <a:lnTo>
                    <a:pt x="157848" y="2032"/>
                  </a:lnTo>
                  <a:lnTo>
                    <a:pt x="158216" y="4279"/>
                  </a:lnTo>
                  <a:lnTo>
                    <a:pt x="159435" y="4279"/>
                  </a:lnTo>
                  <a:lnTo>
                    <a:pt x="159080" y="1168"/>
                  </a:lnTo>
                  <a:lnTo>
                    <a:pt x="156286" y="0"/>
                  </a:lnTo>
                  <a:lnTo>
                    <a:pt x="149098" y="0"/>
                  </a:lnTo>
                  <a:lnTo>
                    <a:pt x="147434" y="3505"/>
                  </a:lnTo>
                  <a:lnTo>
                    <a:pt x="147434" y="9994"/>
                  </a:lnTo>
                  <a:lnTo>
                    <a:pt x="149872" y="12395"/>
                  </a:lnTo>
                  <a:lnTo>
                    <a:pt x="157086" y="12395"/>
                  </a:lnTo>
                  <a:lnTo>
                    <a:pt x="159270" y="10261"/>
                  </a:lnTo>
                  <a:lnTo>
                    <a:pt x="159537" y="7607"/>
                  </a:lnTo>
                  <a:close/>
                </a:path>
                <a:path w="267970" h="12700">
                  <a:moveTo>
                    <a:pt x="172593" y="10985"/>
                  </a:moveTo>
                  <a:lnTo>
                    <a:pt x="164287" y="10985"/>
                  </a:lnTo>
                  <a:lnTo>
                    <a:pt x="164287" y="6540"/>
                  </a:lnTo>
                  <a:lnTo>
                    <a:pt x="172161" y="6540"/>
                  </a:lnTo>
                  <a:lnTo>
                    <a:pt x="172161" y="5435"/>
                  </a:lnTo>
                  <a:lnTo>
                    <a:pt x="164287" y="5435"/>
                  </a:lnTo>
                  <a:lnTo>
                    <a:pt x="164287" y="1409"/>
                  </a:lnTo>
                  <a:lnTo>
                    <a:pt x="172453" y="1409"/>
                  </a:lnTo>
                  <a:lnTo>
                    <a:pt x="172453" y="304"/>
                  </a:lnTo>
                  <a:lnTo>
                    <a:pt x="163080" y="304"/>
                  </a:lnTo>
                  <a:lnTo>
                    <a:pt x="163080" y="12103"/>
                  </a:lnTo>
                  <a:lnTo>
                    <a:pt x="172593" y="12103"/>
                  </a:lnTo>
                  <a:lnTo>
                    <a:pt x="172593" y="10985"/>
                  </a:lnTo>
                  <a:close/>
                </a:path>
                <a:path w="267970" h="12700">
                  <a:moveTo>
                    <a:pt x="195897" y="304"/>
                  </a:moveTo>
                  <a:lnTo>
                    <a:pt x="194183" y="304"/>
                  </a:lnTo>
                  <a:lnTo>
                    <a:pt x="188937" y="10566"/>
                  </a:lnTo>
                  <a:lnTo>
                    <a:pt x="183680" y="304"/>
                  </a:lnTo>
                  <a:lnTo>
                    <a:pt x="181902" y="304"/>
                  </a:lnTo>
                  <a:lnTo>
                    <a:pt x="181902" y="12103"/>
                  </a:lnTo>
                  <a:lnTo>
                    <a:pt x="183121" y="12103"/>
                  </a:lnTo>
                  <a:lnTo>
                    <a:pt x="183121" y="1905"/>
                  </a:lnTo>
                  <a:lnTo>
                    <a:pt x="188341" y="12103"/>
                  </a:lnTo>
                  <a:lnTo>
                    <a:pt x="189458" y="12103"/>
                  </a:lnTo>
                  <a:lnTo>
                    <a:pt x="194665" y="1917"/>
                  </a:lnTo>
                  <a:lnTo>
                    <a:pt x="194703" y="12103"/>
                  </a:lnTo>
                  <a:lnTo>
                    <a:pt x="195897" y="12103"/>
                  </a:lnTo>
                  <a:lnTo>
                    <a:pt x="195897" y="304"/>
                  </a:lnTo>
                  <a:close/>
                </a:path>
                <a:path w="267970" h="12700">
                  <a:moveTo>
                    <a:pt x="209384" y="10985"/>
                  </a:moveTo>
                  <a:lnTo>
                    <a:pt x="201079" y="10985"/>
                  </a:lnTo>
                  <a:lnTo>
                    <a:pt x="201079" y="6540"/>
                  </a:lnTo>
                  <a:lnTo>
                    <a:pt x="208953" y="6540"/>
                  </a:lnTo>
                  <a:lnTo>
                    <a:pt x="208953" y="5435"/>
                  </a:lnTo>
                  <a:lnTo>
                    <a:pt x="201079" y="5435"/>
                  </a:lnTo>
                  <a:lnTo>
                    <a:pt x="201079" y="1409"/>
                  </a:lnTo>
                  <a:lnTo>
                    <a:pt x="209245" y="1409"/>
                  </a:lnTo>
                  <a:lnTo>
                    <a:pt x="209245" y="304"/>
                  </a:lnTo>
                  <a:lnTo>
                    <a:pt x="199872" y="304"/>
                  </a:lnTo>
                  <a:lnTo>
                    <a:pt x="199872" y="12103"/>
                  </a:lnTo>
                  <a:lnTo>
                    <a:pt x="209384" y="12103"/>
                  </a:lnTo>
                  <a:lnTo>
                    <a:pt x="209384" y="10985"/>
                  </a:lnTo>
                  <a:close/>
                </a:path>
                <a:path w="267970" h="12700">
                  <a:moveTo>
                    <a:pt x="226542" y="304"/>
                  </a:moveTo>
                  <a:lnTo>
                    <a:pt x="224815" y="304"/>
                  </a:lnTo>
                  <a:lnTo>
                    <a:pt x="219570" y="10566"/>
                  </a:lnTo>
                  <a:lnTo>
                    <a:pt x="214312" y="304"/>
                  </a:lnTo>
                  <a:lnTo>
                    <a:pt x="212534" y="304"/>
                  </a:lnTo>
                  <a:lnTo>
                    <a:pt x="212534" y="12103"/>
                  </a:lnTo>
                  <a:lnTo>
                    <a:pt x="213753" y="12103"/>
                  </a:lnTo>
                  <a:lnTo>
                    <a:pt x="213753" y="1905"/>
                  </a:lnTo>
                  <a:lnTo>
                    <a:pt x="218973" y="12103"/>
                  </a:lnTo>
                  <a:lnTo>
                    <a:pt x="220091" y="12103"/>
                  </a:lnTo>
                  <a:lnTo>
                    <a:pt x="225298" y="1917"/>
                  </a:lnTo>
                  <a:lnTo>
                    <a:pt x="225336" y="12103"/>
                  </a:lnTo>
                  <a:lnTo>
                    <a:pt x="226542" y="12103"/>
                  </a:lnTo>
                  <a:lnTo>
                    <a:pt x="226542" y="304"/>
                  </a:lnTo>
                  <a:close/>
                </a:path>
                <a:path w="267970" h="12700">
                  <a:moveTo>
                    <a:pt x="240753" y="7226"/>
                  </a:moveTo>
                  <a:lnTo>
                    <a:pt x="240195" y="6540"/>
                  </a:lnTo>
                  <a:lnTo>
                    <a:pt x="239826" y="6083"/>
                  </a:lnTo>
                  <a:lnTo>
                    <a:pt x="239445" y="6032"/>
                  </a:lnTo>
                  <a:lnTo>
                    <a:pt x="239445" y="7023"/>
                  </a:lnTo>
                  <a:lnTo>
                    <a:pt x="239445" y="10363"/>
                  </a:lnTo>
                  <a:lnTo>
                    <a:pt x="238252" y="10985"/>
                  </a:lnTo>
                  <a:lnTo>
                    <a:pt x="231533" y="10985"/>
                  </a:lnTo>
                  <a:lnTo>
                    <a:pt x="231533" y="6540"/>
                  </a:lnTo>
                  <a:lnTo>
                    <a:pt x="238391" y="6540"/>
                  </a:lnTo>
                  <a:lnTo>
                    <a:pt x="239445" y="7023"/>
                  </a:lnTo>
                  <a:lnTo>
                    <a:pt x="239445" y="6032"/>
                  </a:lnTo>
                  <a:lnTo>
                    <a:pt x="238277" y="5854"/>
                  </a:lnTo>
                  <a:lnTo>
                    <a:pt x="239674" y="5486"/>
                  </a:lnTo>
                  <a:lnTo>
                    <a:pt x="240296" y="4419"/>
                  </a:lnTo>
                  <a:lnTo>
                    <a:pt x="240296" y="1587"/>
                  </a:lnTo>
                  <a:lnTo>
                    <a:pt x="240157" y="1409"/>
                  </a:lnTo>
                  <a:lnTo>
                    <a:pt x="239331" y="292"/>
                  </a:lnTo>
                  <a:lnTo>
                    <a:pt x="239090" y="292"/>
                  </a:lnTo>
                  <a:lnTo>
                    <a:pt x="239090" y="1879"/>
                  </a:lnTo>
                  <a:lnTo>
                    <a:pt x="239090" y="4902"/>
                  </a:lnTo>
                  <a:lnTo>
                    <a:pt x="238023" y="5422"/>
                  </a:lnTo>
                  <a:lnTo>
                    <a:pt x="231533" y="5422"/>
                  </a:lnTo>
                  <a:lnTo>
                    <a:pt x="231533" y="1409"/>
                  </a:lnTo>
                  <a:lnTo>
                    <a:pt x="238125" y="1409"/>
                  </a:lnTo>
                  <a:lnTo>
                    <a:pt x="239090" y="1879"/>
                  </a:lnTo>
                  <a:lnTo>
                    <a:pt x="239090" y="292"/>
                  </a:lnTo>
                  <a:lnTo>
                    <a:pt x="230327" y="292"/>
                  </a:lnTo>
                  <a:lnTo>
                    <a:pt x="230327" y="12103"/>
                  </a:lnTo>
                  <a:lnTo>
                    <a:pt x="238683" y="12103"/>
                  </a:lnTo>
                  <a:lnTo>
                    <a:pt x="240753" y="11201"/>
                  </a:lnTo>
                  <a:lnTo>
                    <a:pt x="240753" y="10985"/>
                  </a:lnTo>
                  <a:lnTo>
                    <a:pt x="240753" y="7226"/>
                  </a:lnTo>
                  <a:close/>
                </a:path>
                <a:path w="267970" h="12700">
                  <a:moveTo>
                    <a:pt x="253834" y="10985"/>
                  </a:moveTo>
                  <a:lnTo>
                    <a:pt x="245516" y="10985"/>
                  </a:lnTo>
                  <a:lnTo>
                    <a:pt x="245516" y="6540"/>
                  </a:lnTo>
                  <a:lnTo>
                    <a:pt x="253403" y="6540"/>
                  </a:lnTo>
                  <a:lnTo>
                    <a:pt x="253403" y="5435"/>
                  </a:lnTo>
                  <a:lnTo>
                    <a:pt x="245516" y="5435"/>
                  </a:lnTo>
                  <a:lnTo>
                    <a:pt x="245516" y="1409"/>
                  </a:lnTo>
                  <a:lnTo>
                    <a:pt x="253695" y="1409"/>
                  </a:lnTo>
                  <a:lnTo>
                    <a:pt x="253695" y="304"/>
                  </a:lnTo>
                  <a:lnTo>
                    <a:pt x="244322" y="304"/>
                  </a:lnTo>
                  <a:lnTo>
                    <a:pt x="244322" y="12103"/>
                  </a:lnTo>
                  <a:lnTo>
                    <a:pt x="253834" y="12103"/>
                  </a:lnTo>
                  <a:lnTo>
                    <a:pt x="253834" y="10985"/>
                  </a:lnTo>
                  <a:close/>
                </a:path>
                <a:path w="267970" h="12700">
                  <a:moveTo>
                    <a:pt x="267639" y="12103"/>
                  </a:moveTo>
                  <a:lnTo>
                    <a:pt x="267385" y="11849"/>
                  </a:lnTo>
                  <a:lnTo>
                    <a:pt x="267233" y="9652"/>
                  </a:lnTo>
                  <a:lnTo>
                    <a:pt x="267119" y="7594"/>
                  </a:lnTo>
                  <a:lnTo>
                    <a:pt x="266877" y="6896"/>
                  </a:lnTo>
                  <a:lnTo>
                    <a:pt x="266801" y="6642"/>
                  </a:lnTo>
                  <a:lnTo>
                    <a:pt x="265150" y="6375"/>
                  </a:lnTo>
                  <a:lnTo>
                    <a:pt x="266661" y="6007"/>
                  </a:lnTo>
                  <a:lnTo>
                    <a:pt x="266788" y="5791"/>
                  </a:lnTo>
                  <a:lnTo>
                    <a:pt x="267423" y="4749"/>
                  </a:lnTo>
                  <a:lnTo>
                    <a:pt x="267423" y="1409"/>
                  </a:lnTo>
                  <a:lnTo>
                    <a:pt x="267423" y="1003"/>
                  </a:lnTo>
                  <a:lnTo>
                    <a:pt x="266128" y="508"/>
                  </a:lnTo>
                  <a:lnTo>
                    <a:pt x="266128" y="1739"/>
                  </a:lnTo>
                  <a:lnTo>
                    <a:pt x="266128" y="5295"/>
                  </a:lnTo>
                  <a:lnTo>
                    <a:pt x="264922" y="5791"/>
                  </a:lnTo>
                  <a:lnTo>
                    <a:pt x="258406" y="5791"/>
                  </a:lnTo>
                  <a:lnTo>
                    <a:pt x="258406" y="1409"/>
                  </a:lnTo>
                  <a:lnTo>
                    <a:pt x="264820" y="1409"/>
                  </a:lnTo>
                  <a:lnTo>
                    <a:pt x="266128" y="1739"/>
                  </a:lnTo>
                  <a:lnTo>
                    <a:pt x="266128" y="508"/>
                  </a:lnTo>
                  <a:lnTo>
                    <a:pt x="265607" y="292"/>
                  </a:lnTo>
                  <a:lnTo>
                    <a:pt x="257200" y="292"/>
                  </a:lnTo>
                  <a:lnTo>
                    <a:pt x="257200" y="12103"/>
                  </a:lnTo>
                  <a:lnTo>
                    <a:pt x="258406" y="12103"/>
                  </a:lnTo>
                  <a:lnTo>
                    <a:pt x="258406" y="6896"/>
                  </a:lnTo>
                  <a:lnTo>
                    <a:pt x="265201" y="6896"/>
                  </a:lnTo>
                  <a:lnTo>
                    <a:pt x="265988" y="7594"/>
                  </a:lnTo>
                  <a:lnTo>
                    <a:pt x="266014" y="9652"/>
                  </a:lnTo>
                  <a:lnTo>
                    <a:pt x="266128" y="11849"/>
                  </a:lnTo>
                  <a:lnTo>
                    <a:pt x="266331" y="12103"/>
                  </a:lnTo>
                  <a:lnTo>
                    <a:pt x="267639" y="12103"/>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8" name="object 188"/>
            <p:cNvSpPr/>
            <p:nvPr/>
          </p:nvSpPr>
          <p:spPr>
            <a:xfrm>
              <a:off x="7561324" y="2009882"/>
              <a:ext cx="41910" cy="41275"/>
            </a:xfrm>
            <a:custGeom>
              <a:avLst/>
              <a:gdLst/>
              <a:ahLst/>
              <a:cxnLst/>
              <a:rect l="l" t="t" r="r" b="b"/>
              <a:pathLst>
                <a:path w="41909" h="41275">
                  <a:moveTo>
                    <a:pt x="2717" y="10464"/>
                  </a:moveTo>
                  <a:lnTo>
                    <a:pt x="1548" y="12114"/>
                  </a:lnTo>
                  <a:lnTo>
                    <a:pt x="36" y="19240"/>
                  </a:lnTo>
                  <a:lnTo>
                    <a:pt x="0" y="20319"/>
                  </a:lnTo>
                  <a:lnTo>
                    <a:pt x="1188" y="26692"/>
                  </a:lnTo>
                  <a:lnTo>
                    <a:pt x="4721" y="32510"/>
                  </a:lnTo>
                  <a:lnTo>
                    <a:pt x="10052" y="36859"/>
                  </a:lnTo>
                  <a:lnTo>
                    <a:pt x="16724" y="39306"/>
                  </a:lnTo>
                  <a:lnTo>
                    <a:pt x="18350" y="39611"/>
                  </a:lnTo>
                  <a:lnTo>
                    <a:pt x="19379" y="39852"/>
                  </a:lnTo>
                  <a:lnTo>
                    <a:pt x="20229" y="40893"/>
                  </a:lnTo>
                  <a:lnTo>
                    <a:pt x="21258" y="39027"/>
                  </a:lnTo>
                  <a:lnTo>
                    <a:pt x="21357" y="37299"/>
                  </a:lnTo>
                  <a:lnTo>
                    <a:pt x="18985" y="37299"/>
                  </a:lnTo>
                  <a:lnTo>
                    <a:pt x="10095" y="36334"/>
                  </a:lnTo>
                  <a:lnTo>
                    <a:pt x="2742" y="29222"/>
                  </a:lnTo>
                  <a:lnTo>
                    <a:pt x="2717" y="10464"/>
                  </a:lnTo>
                  <a:close/>
                </a:path>
                <a:path w="41909" h="41275">
                  <a:moveTo>
                    <a:pt x="38771" y="10433"/>
                  </a:moveTo>
                  <a:lnTo>
                    <a:pt x="38771" y="28867"/>
                  </a:lnTo>
                  <a:lnTo>
                    <a:pt x="31761" y="36245"/>
                  </a:lnTo>
                  <a:lnTo>
                    <a:pt x="22757" y="37223"/>
                  </a:lnTo>
                  <a:lnTo>
                    <a:pt x="22757" y="39585"/>
                  </a:lnTo>
                  <a:lnTo>
                    <a:pt x="30165" y="37548"/>
                  </a:lnTo>
                  <a:lnTo>
                    <a:pt x="36147" y="33221"/>
                  </a:lnTo>
                  <a:lnTo>
                    <a:pt x="40146" y="27139"/>
                  </a:lnTo>
                  <a:lnTo>
                    <a:pt x="41507" y="20319"/>
                  </a:lnTo>
                  <a:lnTo>
                    <a:pt x="41477" y="19240"/>
                  </a:lnTo>
                  <a:lnTo>
                    <a:pt x="39963" y="12114"/>
                  </a:lnTo>
                  <a:lnTo>
                    <a:pt x="38771" y="10433"/>
                  </a:lnTo>
                  <a:close/>
                </a:path>
                <a:path w="41909" h="41275">
                  <a:moveTo>
                    <a:pt x="22173" y="27482"/>
                  </a:moveTo>
                  <a:lnTo>
                    <a:pt x="19353" y="27482"/>
                  </a:lnTo>
                  <a:lnTo>
                    <a:pt x="20026" y="27736"/>
                  </a:lnTo>
                  <a:lnTo>
                    <a:pt x="20039" y="34162"/>
                  </a:lnTo>
                  <a:lnTo>
                    <a:pt x="19696" y="36207"/>
                  </a:lnTo>
                  <a:lnTo>
                    <a:pt x="18985" y="37299"/>
                  </a:lnTo>
                  <a:lnTo>
                    <a:pt x="21357" y="37299"/>
                  </a:lnTo>
                  <a:lnTo>
                    <a:pt x="21420" y="36207"/>
                  </a:lnTo>
                  <a:lnTo>
                    <a:pt x="21487" y="27736"/>
                  </a:lnTo>
                  <a:lnTo>
                    <a:pt x="22173" y="27482"/>
                  </a:lnTo>
                  <a:close/>
                </a:path>
                <a:path w="41909" h="41275">
                  <a:moveTo>
                    <a:pt x="15798" y="29463"/>
                  </a:moveTo>
                  <a:lnTo>
                    <a:pt x="12635" y="29463"/>
                  </a:lnTo>
                  <a:lnTo>
                    <a:pt x="13283" y="30086"/>
                  </a:lnTo>
                  <a:lnTo>
                    <a:pt x="13359" y="30822"/>
                  </a:lnTo>
                  <a:lnTo>
                    <a:pt x="15798" y="29463"/>
                  </a:lnTo>
                  <a:close/>
                </a:path>
                <a:path w="41909" h="41275">
                  <a:moveTo>
                    <a:pt x="31703" y="27482"/>
                  </a:moveTo>
                  <a:lnTo>
                    <a:pt x="22173" y="27482"/>
                  </a:lnTo>
                  <a:lnTo>
                    <a:pt x="28167" y="30822"/>
                  </a:lnTo>
                  <a:lnTo>
                    <a:pt x="28243" y="30086"/>
                  </a:lnTo>
                  <a:lnTo>
                    <a:pt x="28891" y="29463"/>
                  </a:lnTo>
                  <a:lnTo>
                    <a:pt x="32595" y="29463"/>
                  </a:lnTo>
                  <a:lnTo>
                    <a:pt x="31703" y="27482"/>
                  </a:lnTo>
                  <a:close/>
                </a:path>
                <a:path w="41909" h="41275">
                  <a:moveTo>
                    <a:pt x="10400" y="13169"/>
                  </a:moveTo>
                  <a:lnTo>
                    <a:pt x="10412" y="13944"/>
                  </a:lnTo>
                  <a:lnTo>
                    <a:pt x="10082" y="15011"/>
                  </a:lnTo>
                  <a:lnTo>
                    <a:pt x="7225" y="15049"/>
                  </a:lnTo>
                  <a:lnTo>
                    <a:pt x="4986" y="15049"/>
                  </a:lnTo>
                  <a:lnTo>
                    <a:pt x="6259" y="16763"/>
                  </a:lnTo>
                  <a:lnTo>
                    <a:pt x="7961" y="19240"/>
                  </a:lnTo>
                  <a:lnTo>
                    <a:pt x="7187" y="20319"/>
                  </a:lnTo>
                  <a:lnTo>
                    <a:pt x="6552" y="20700"/>
                  </a:lnTo>
                  <a:lnTo>
                    <a:pt x="8596" y="21640"/>
                  </a:lnTo>
                  <a:lnTo>
                    <a:pt x="11466" y="22859"/>
                  </a:lnTo>
                  <a:lnTo>
                    <a:pt x="11771" y="23710"/>
                  </a:lnTo>
                  <a:lnTo>
                    <a:pt x="9930" y="24980"/>
                  </a:lnTo>
                  <a:lnTo>
                    <a:pt x="9028" y="25577"/>
                  </a:lnTo>
                  <a:lnTo>
                    <a:pt x="9663" y="25780"/>
                  </a:lnTo>
                  <a:lnTo>
                    <a:pt x="10273" y="26454"/>
                  </a:lnTo>
                  <a:lnTo>
                    <a:pt x="8507" y="30403"/>
                  </a:lnTo>
                  <a:lnTo>
                    <a:pt x="12635" y="29463"/>
                  </a:lnTo>
                  <a:lnTo>
                    <a:pt x="15798" y="29463"/>
                  </a:lnTo>
                  <a:lnTo>
                    <a:pt x="19353" y="27482"/>
                  </a:lnTo>
                  <a:lnTo>
                    <a:pt x="31703" y="27482"/>
                  </a:lnTo>
                  <a:lnTo>
                    <a:pt x="31240" y="26454"/>
                  </a:lnTo>
                  <a:lnTo>
                    <a:pt x="31863" y="25780"/>
                  </a:lnTo>
                  <a:lnTo>
                    <a:pt x="32472" y="25577"/>
                  </a:lnTo>
                  <a:lnTo>
                    <a:pt x="29767" y="23710"/>
                  </a:lnTo>
                  <a:lnTo>
                    <a:pt x="30059" y="22859"/>
                  </a:lnTo>
                  <a:lnTo>
                    <a:pt x="32929" y="21640"/>
                  </a:lnTo>
                  <a:lnTo>
                    <a:pt x="34987" y="20700"/>
                  </a:lnTo>
                  <a:lnTo>
                    <a:pt x="34326" y="20319"/>
                  </a:lnTo>
                  <a:lnTo>
                    <a:pt x="33564" y="19240"/>
                  </a:lnTo>
                  <a:lnTo>
                    <a:pt x="35322" y="16687"/>
                  </a:lnTo>
                  <a:lnTo>
                    <a:pt x="15518" y="16687"/>
                  </a:lnTo>
                  <a:lnTo>
                    <a:pt x="13082" y="15049"/>
                  </a:lnTo>
                  <a:lnTo>
                    <a:pt x="7225" y="15049"/>
                  </a:lnTo>
                  <a:lnTo>
                    <a:pt x="13063" y="15036"/>
                  </a:lnTo>
                  <a:lnTo>
                    <a:pt x="10400" y="13169"/>
                  </a:lnTo>
                  <a:close/>
                </a:path>
                <a:path w="41909" h="41275">
                  <a:moveTo>
                    <a:pt x="32595" y="29463"/>
                  </a:moveTo>
                  <a:lnTo>
                    <a:pt x="28891" y="29463"/>
                  </a:lnTo>
                  <a:lnTo>
                    <a:pt x="33018" y="30403"/>
                  </a:lnTo>
                  <a:lnTo>
                    <a:pt x="32595" y="29463"/>
                  </a:lnTo>
                  <a:close/>
                </a:path>
                <a:path w="41909" h="41275">
                  <a:moveTo>
                    <a:pt x="15924" y="9207"/>
                  </a:moveTo>
                  <a:lnTo>
                    <a:pt x="16235" y="12114"/>
                  </a:lnTo>
                  <a:lnTo>
                    <a:pt x="16724" y="15811"/>
                  </a:lnTo>
                  <a:lnTo>
                    <a:pt x="15518" y="16687"/>
                  </a:lnTo>
                  <a:lnTo>
                    <a:pt x="26008" y="16687"/>
                  </a:lnTo>
                  <a:lnTo>
                    <a:pt x="24789" y="15811"/>
                  </a:lnTo>
                  <a:lnTo>
                    <a:pt x="25309" y="11874"/>
                  </a:lnTo>
                  <a:lnTo>
                    <a:pt x="25542" y="9753"/>
                  </a:lnTo>
                  <a:lnTo>
                    <a:pt x="16730" y="9740"/>
                  </a:lnTo>
                  <a:lnTo>
                    <a:pt x="15924" y="9207"/>
                  </a:lnTo>
                  <a:close/>
                </a:path>
                <a:path w="41909" h="41275">
                  <a:moveTo>
                    <a:pt x="31126" y="13169"/>
                  </a:moveTo>
                  <a:lnTo>
                    <a:pt x="28444" y="15049"/>
                  </a:lnTo>
                  <a:lnTo>
                    <a:pt x="26008" y="16687"/>
                  </a:lnTo>
                  <a:lnTo>
                    <a:pt x="35322" y="16687"/>
                  </a:lnTo>
                  <a:lnTo>
                    <a:pt x="36536" y="15036"/>
                  </a:lnTo>
                  <a:lnTo>
                    <a:pt x="32802" y="15036"/>
                  </a:lnTo>
                  <a:lnTo>
                    <a:pt x="31444" y="15011"/>
                  </a:lnTo>
                  <a:lnTo>
                    <a:pt x="31113" y="13944"/>
                  </a:lnTo>
                  <a:lnTo>
                    <a:pt x="31126" y="13169"/>
                  </a:lnTo>
                  <a:close/>
                </a:path>
                <a:path w="41909" h="41275">
                  <a:moveTo>
                    <a:pt x="3378" y="9530"/>
                  </a:moveTo>
                  <a:lnTo>
                    <a:pt x="2716" y="10172"/>
                  </a:lnTo>
                  <a:lnTo>
                    <a:pt x="2717" y="10464"/>
                  </a:lnTo>
                  <a:lnTo>
                    <a:pt x="3378" y="9530"/>
                  </a:lnTo>
                  <a:close/>
                </a:path>
                <a:path w="41909" h="41275">
                  <a:moveTo>
                    <a:pt x="38177" y="9594"/>
                  </a:moveTo>
                  <a:lnTo>
                    <a:pt x="38771" y="10433"/>
                  </a:lnTo>
                  <a:lnTo>
                    <a:pt x="38771" y="10172"/>
                  </a:lnTo>
                  <a:lnTo>
                    <a:pt x="38177" y="9594"/>
                  </a:lnTo>
                  <a:close/>
                </a:path>
                <a:path w="41909" h="41275">
                  <a:moveTo>
                    <a:pt x="20750" y="4076"/>
                  </a:moveTo>
                  <a:lnTo>
                    <a:pt x="18159" y="9740"/>
                  </a:lnTo>
                  <a:lnTo>
                    <a:pt x="16750" y="9753"/>
                  </a:lnTo>
                  <a:lnTo>
                    <a:pt x="24776" y="9753"/>
                  </a:lnTo>
                  <a:lnTo>
                    <a:pt x="23366" y="9740"/>
                  </a:lnTo>
                  <a:lnTo>
                    <a:pt x="20750" y="4076"/>
                  </a:lnTo>
                  <a:close/>
                </a:path>
                <a:path w="41909" h="41275">
                  <a:moveTo>
                    <a:pt x="25602" y="9207"/>
                  </a:moveTo>
                  <a:lnTo>
                    <a:pt x="24776" y="9753"/>
                  </a:lnTo>
                  <a:lnTo>
                    <a:pt x="25542" y="9753"/>
                  </a:lnTo>
                  <a:lnTo>
                    <a:pt x="25602" y="9207"/>
                  </a:lnTo>
                  <a:close/>
                </a:path>
                <a:path w="41909" h="41275">
                  <a:moveTo>
                    <a:pt x="31930" y="3524"/>
                  </a:moveTo>
                  <a:lnTo>
                    <a:pt x="38177" y="9594"/>
                  </a:lnTo>
                  <a:lnTo>
                    <a:pt x="35492" y="5808"/>
                  </a:lnTo>
                  <a:lnTo>
                    <a:pt x="31930" y="3524"/>
                  </a:lnTo>
                  <a:close/>
                </a:path>
                <a:path w="41909" h="41275">
                  <a:moveTo>
                    <a:pt x="9557" y="3535"/>
                  </a:moveTo>
                  <a:lnTo>
                    <a:pt x="6015" y="5808"/>
                  </a:lnTo>
                  <a:lnTo>
                    <a:pt x="3378" y="9530"/>
                  </a:lnTo>
                  <a:lnTo>
                    <a:pt x="9557" y="3535"/>
                  </a:lnTo>
                  <a:close/>
                </a:path>
                <a:path w="41909" h="41275">
                  <a:moveTo>
                    <a:pt x="11426" y="2336"/>
                  </a:moveTo>
                  <a:lnTo>
                    <a:pt x="10793" y="2336"/>
                  </a:lnTo>
                  <a:lnTo>
                    <a:pt x="9557" y="3535"/>
                  </a:lnTo>
                  <a:lnTo>
                    <a:pt x="11426" y="2336"/>
                  </a:lnTo>
                  <a:close/>
                </a:path>
                <a:path w="41909" h="41275">
                  <a:moveTo>
                    <a:pt x="30707" y="2336"/>
                  </a:moveTo>
                  <a:lnTo>
                    <a:pt x="30077" y="2336"/>
                  </a:lnTo>
                  <a:lnTo>
                    <a:pt x="31930" y="3524"/>
                  </a:lnTo>
                  <a:lnTo>
                    <a:pt x="30707" y="2336"/>
                  </a:lnTo>
                  <a:close/>
                </a:path>
                <a:path w="41909" h="41275">
                  <a:moveTo>
                    <a:pt x="20750" y="0"/>
                  </a:moveTo>
                  <a:lnTo>
                    <a:pt x="12640" y="1558"/>
                  </a:lnTo>
                  <a:lnTo>
                    <a:pt x="11426" y="2336"/>
                  </a:lnTo>
                  <a:lnTo>
                    <a:pt x="30077" y="2336"/>
                  </a:lnTo>
                  <a:lnTo>
                    <a:pt x="28863" y="1558"/>
                  </a:lnTo>
                  <a:lnTo>
                    <a:pt x="20750" y="0"/>
                  </a:lnTo>
                  <a:close/>
                </a:path>
              </a:pathLst>
            </a:custGeom>
            <a:solidFill>
              <a:srgbClr val="F01428"/>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9" name="object 189"/>
            <p:cNvSpPr/>
            <p:nvPr/>
          </p:nvSpPr>
          <p:spPr>
            <a:xfrm>
              <a:off x="7620419" y="2018486"/>
              <a:ext cx="254000" cy="22860"/>
            </a:xfrm>
            <a:custGeom>
              <a:avLst/>
              <a:gdLst/>
              <a:ahLst/>
              <a:cxnLst/>
              <a:rect l="l" t="t" r="r" b="b"/>
              <a:pathLst>
                <a:path w="254000" h="22860">
                  <a:moveTo>
                    <a:pt x="24091" y="21844"/>
                  </a:moveTo>
                  <a:lnTo>
                    <a:pt x="21640" y="16167"/>
                  </a:lnTo>
                  <a:lnTo>
                    <a:pt x="20421" y="13360"/>
                  </a:lnTo>
                  <a:lnTo>
                    <a:pt x="16776" y="4927"/>
                  </a:lnTo>
                  <a:lnTo>
                    <a:pt x="14922" y="647"/>
                  </a:lnTo>
                  <a:lnTo>
                    <a:pt x="14668" y="647"/>
                  </a:lnTo>
                  <a:lnTo>
                    <a:pt x="14668" y="13360"/>
                  </a:lnTo>
                  <a:lnTo>
                    <a:pt x="7327" y="13360"/>
                  </a:lnTo>
                  <a:lnTo>
                    <a:pt x="11023" y="4927"/>
                  </a:lnTo>
                  <a:lnTo>
                    <a:pt x="14668" y="13360"/>
                  </a:lnTo>
                  <a:lnTo>
                    <a:pt x="14668" y="647"/>
                  </a:lnTo>
                  <a:lnTo>
                    <a:pt x="9283" y="647"/>
                  </a:lnTo>
                  <a:lnTo>
                    <a:pt x="0" y="21844"/>
                  </a:lnTo>
                  <a:lnTo>
                    <a:pt x="3594" y="21844"/>
                  </a:lnTo>
                  <a:lnTo>
                    <a:pt x="6096" y="16167"/>
                  </a:lnTo>
                  <a:lnTo>
                    <a:pt x="15875" y="16167"/>
                  </a:lnTo>
                  <a:lnTo>
                    <a:pt x="18351" y="21844"/>
                  </a:lnTo>
                  <a:lnTo>
                    <a:pt x="24091" y="21844"/>
                  </a:lnTo>
                  <a:close/>
                </a:path>
                <a:path w="254000" h="22860">
                  <a:moveTo>
                    <a:pt x="35674" y="635"/>
                  </a:moveTo>
                  <a:lnTo>
                    <a:pt x="30695" y="635"/>
                  </a:lnTo>
                  <a:lnTo>
                    <a:pt x="30695" y="21831"/>
                  </a:lnTo>
                  <a:lnTo>
                    <a:pt x="35674" y="21831"/>
                  </a:lnTo>
                  <a:lnTo>
                    <a:pt x="35674" y="635"/>
                  </a:lnTo>
                  <a:close/>
                </a:path>
                <a:path w="254000" h="22860">
                  <a:moveTo>
                    <a:pt x="68541" y="21831"/>
                  </a:moveTo>
                  <a:lnTo>
                    <a:pt x="61633" y="13081"/>
                  </a:lnTo>
                  <a:lnTo>
                    <a:pt x="60731" y="11925"/>
                  </a:lnTo>
                  <a:lnTo>
                    <a:pt x="62458" y="11087"/>
                  </a:lnTo>
                  <a:lnTo>
                    <a:pt x="62903" y="10731"/>
                  </a:lnTo>
                  <a:lnTo>
                    <a:pt x="63296" y="10274"/>
                  </a:lnTo>
                  <a:lnTo>
                    <a:pt x="64770" y="8585"/>
                  </a:lnTo>
                  <a:lnTo>
                    <a:pt x="65087" y="7239"/>
                  </a:lnTo>
                  <a:lnTo>
                    <a:pt x="64846" y="3390"/>
                  </a:lnTo>
                  <a:lnTo>
                    <a:pt x="64820" y="2971"/>
                  </a:lnTo>
                  <a:lnTo>
                    <a:pt x="62369" y="673"/>
                  </a:lnTo>
                  <a:lnTo>
                    <a:pt x="60185" y="673"/>
                  </a:lnTo>
                  <a:lnTo>
                    <a:pt x="60185" y="3822"/>
                  </a:lnTo>
                  <a:lnTo>
                    <a:pt x="60185" y="9347"/>
                  </a:lnTo>
                  <a:lnTo>
                    <a:pt x="59016" y="10274"/>
                  </a:lnTo>
                  <a:lnTo>
                    <a:pt x="51181" y="10274"/>
                  </a:lnTo>
                  <a:lnTo>
                    <a:pt x="51181" y="3390"/>
                  </a:lnTo>
                  <a:lnTo>
                    <a:pt x="57683" y="3390"/>
                  </a:lnTo>
                  <a:lnTo>
                    <a:pt x="60185" y="3822"/>
                  </a:lnTo>
                  <a:lnTo>
                    <a:pt x="60185" y="673"/>
                  </a:lnTo>
                  <a:lnTo>
                    <a:pt x="56857" y="647"/>
                  </a:lnTo>
                  <a:lnTo>
                    <a:pt x="46545" y="647"/>
                  </a:lnTo>
                  <a:lnTo>
                    <a:pt x="46545" y="21831"/>
                  </a:lnTo>
                  <a:lnTo>
                    <a:pt x="51181" y="21831"/>
                  </a:lnTo>
                  <a:lnTo>
                    <a:pt x="51181" y="13081"/>
                  </a:lnTo>
                  <a:lnTo>
                    <a:pt x="55867" y="13081"/>
                  </a:lnTo>
                  <a:lnTo>
                    <a:pt x="62763" y="21831"/>
                  </a:lnTo>
                  <a:lnTo>
                    <a:pt x="68541" y="21831"/>
                  </a:lnTo>
                  <a:close/>
                </a:path>
                <a:path w="254000" h="22860">
                  <a:moveTo>
                    <a:pt x="104101" y="17805"/>
                  </a:moveTo>
                  <a:lnTo>
                    <a:pt x="101650" y="18872"/>
                  </a:lnTo>
                  <a:lnTo>
                    <a:pt x="98818" y="19405"/>
                  </a:lnTo>
                  <a:lnTo>
                    <a:pt x="93497" y="19380"/>
                  </a:lnTo>
                  <a:lnTo>
                    <a:pt x="91313" y="18656"/>
                  </a:lnTo>
                  <a:lnTo>
                    <a:pt x="88176" y="15748"/>
                  </a:lnTo>
                  <a:lnTo>
                    <a:pt x="87401" y="13741"/>
                  </a:lnTo>
                  <a:lnTo>
                    <a:pt x="87401" y="8521"/>
                  </a:lnTo>
                  <a:lnTo>
                    <a:pt x="88150" y="6502"/>
                  </a:lnTo>
                  <a:lnTo>
                    <a:pt x="91097" y="3644"/>
                  </a:lnTo>
                  <a:lnTo>
                    <a:pt x="93179" y="2946"/>
                  </a:lnTo>
                  <a:lnTo>
                    <a:pt x="98005" y="2946"/>
                  </a:lnTo>
                  <a:lnTo>
                    <a:pt x="100914" y="3416"/>
                  </a:lnTo>
                  <a:lnTo>
                    <a:pt x="104038" y="4343"/>
                  </a:lnTo>
                  <a:lnTo>
                    <a:pt x="104051" y="863"/>
                  </a:lnTo>
                  <a:lnTo>
                    <a:pt x="101295" y="304"/>
                  </a:lnTo>
                  <a:lnTo>
                    <a:pt x="98513" y="12"/>
                  </a:lnTo>
                  <a:lnTo>
                    <a:pt x="91325" y="0"/>
                  </a:lnTo>
                  <a:lnTo>
                    <a:pt x="87960" y="952"/>
                  </a:lnTo>
                  <a:lnTo>
                    <a:pt x="83210" y="4838"/>
                  </a:lnTo>
                  <a:lnTo>
                    <a:pt x="82029" y="7607"/>
                  </a:lnTo>
                  <a:lnTo>
                    <a:pt x="82003" y="14757"/>
                  </a:lnTo>
                  <a:lnTo>
                    <a:pt x="83172" y="17513"/>
                  </a:lnTo>
                  <a:lnTo>
                    <a:pt x="87845" y="21488"/>
                  </a:lnTo>
                  <a:lnTo>
                    <a:pt x="91122" y="22491"/>
                  </a:lnTo>
                  <a:lnTo>
                    <a:pt x="98767" y="22504"/>
                  </a:lnTo>
                  <a:lnTo>
                    <a:pt x="101739" y="22047"/>
                  </a:lnTo>
                  <a:lnTo>
                    <a:pt x="104101" y="21107"/>
                  </a:lnTo>
                  <a:lnTo>
                    <a:pt x="104101" y="17805"/>
                  </a:lnTo>
                  <a:close/>
                </a:path>
                <a:path w="254000" h="22860">
                  <a:moveTo>
                    <a:pt x="134264" y="21844"/>
                  </a:moveTo>
                  <a:lnTo>
                    <a:pt x="131813" y="16167"/>
                  </a:lnTo>
                  <a:lnTo>
                    <a:pt x="130594" y="13360"/>
                  </a:lnTo>
                  <a:lnTo>
                    <a:pt x="126949" y="4927"/>
                  </a:lnTo>
                  <a:lnTo>
                    <a:pt x="125095" y="647"/>
                  </a:lnTo>
                  <a:lnTo>
                    <a:pt x="124828" y="647"/>
                  </a:lnTo>
                  <a:lnTo>
                    <a:pt x="124828" y="13360"/>
                  </a:lnTo>
                  <a:lnTo>
                    <a:pt x="117500" y="13360"/>
                  </a:lnTo>
                  <a:lnTo>
                    <a:pt x="121196" y="4927"/>
                  </a:lnTo>
                  <a:lnTo>
                    <a:pt x="124828" y="13360"/>
                  </a:lnTo>
                  <a:lnTo>
                    <a:pt x="124828" y="647"/>
                  </a:lnTo>
                  <a:lnTo>
                    <a:pt x="119456" y="647"/>
                  </a:lnTo>
                  <a:lnTo>
                    <a:pt x="110172" y="21844"/>
                  </a:lnTo>
                  <a:lnTo>
                    <a:pt x="113779" y="21844"/>
                  </a:lnTo>
                  <a:lnTo>
                    <a:pt x="116268" y="16167"/>
                  </a:lnTo>
                  <a:lnTo>
                    <a:pt x="126047" y="16167"/>
                  </a:lnTo>
                  <a:lnTo>
                    <a:pt x="128511" y="21844"/>
                  </a:lnTo>
                  <a:lnTo>
                    <a:pt x="134264" y="21844"/>
                  </a:lnTo>
                  <a:close/>
                </a:path>
                <a:path w="254000" h="22860">
                  <a:moveTo>
                    <a:pt x="164363" y="660"/>
                  </a:moveTo>
                  <a:lnTo>
                    <a:pt x="160324" y="660"/>
                  </a:lnTo>
                  <a:lnTo>
                    <a:pt x="160324" y="15773"/>
                  </a:lnTo>
                  <a:lnTo>
                    <a:pt x="147053" y="660"/>
                  </a:lnTo>
                  <a:lnTo>
                    <a:pt x="141338" y="660"/>
                  </a:lnTo>
                  <a:lnTo>
                    <a:pt x="141338" y="21844"/>
                  </a:lnTo>
                  <a:lnTo>
                    <a:pt x="145364" y="21844"/>
                  </a:lnTo>
                  <a:lnTo>
                    <a:pt x="145364" y="6007"/>
                  </a:lnTo>
                  <a:lnTo>
                    <a:pt x="159169" y="21831"/>
                  </a:lnTo>
                  <a:lnTo>
                    <a:pt x="164363" y="21831"/>
                  </a:lnTo>
                  <a:lnTo>
                    <a:pt x="164363" y="660"/>
                  </a:lnTo>
                  <a:close/>
                </a:path>
                <a:path w="254000" h="22860">
                  <a:moveTo>
                    <a:pt x="195529" y="21844"/>
                  </a:moveTo>
                  <a:lnTo>
                    <a:pt x="193078" y="16167"/>
                  </a:lnTo>
                  <a:lnTo>
                    <a:pt x="191858" y="13360"/>
                  </a:lnTo>
                  <a:lnTo>
                    <a:pt x="188214" y="4927"/>
                  </a:lnTo>
                  <a:lnTo>
                    <a:pt x="186372" y="647"/>
                  </a:lnTo>
                  <a:lnTo>
                    <a:pt x="186105" y="647"/>
                  </a:lnTo>
                  <a:lnTo>
                    <a:pt x="186105" y="13360"/>
                  </a:lnTo>
                  <a:lnTo>
                    <a:pt x="178765" y="13360"/>
                  </a:lnTo>
                  <a:lnTo>
                    <a:pt x="182460" y="4927"/>
                  </a:lnTo>
                  <a:lnTo>
                    <a:pt x="186105" y="13360"/>
                  </a:lnTo>
                  <a:lnTo>
                    <a:pt x="186105" y="647"/>
                  </a:lnTo>
                  <a:lnTo>
                    <a:pt x="180733" y="647"/>
                  </a:lnTo>
                  <a:lnTo>
                    <a:pt x="171437" y="21844"/>
                  </a:lnTo>
                  <a:lnTo>
                    <a:pt x="175044" y="21844"/>
                  </a:lnTo>
                  <a:lnTo>
                    <a:pt x="177533" y="16167"/>
                  </a:lnTo>
                  <a:lnTo>
                    <a:pt x="187325" y="16167"/>
                  </a:lnTo>
                  <a:lnTo>
                    <a:pt x="189788" y="21844"/>
                  </a:lnTo>
                  <a:lnTo>
                    <a:pt x="195529" y="21844"/>
                  </a:lnTo>
                  <a:close/>
                </a:path>
                <a:path w="254000" h="22860">
                  <a:moveTo>
                    <a:pt x="224142" y="14338"/>
                  </a:moveTo>
                  <a:lnTo>
                    <a:pt x="224078" y="7366"/>
                  </a:lnTo>
                  <a:lnTo>
                    <a:pt x="223189" y="5054"/>
                  </a:lnTo>
                  <a:lnTo>
                    <a:pt x="221500" y="3543"/>
                  </a:lnTo>
                  <a:lnTo>
                    <a:pt x="219278" y="1549"/>
                  </a:lnTo>
                  <a:lnTo>
                    <a:pt x="218884" y="1435"/>
                  </a:lnTo>
                  <a:lnTo>
                    <a:pt x="218884" y="9055"/>
                  </a:lnTo>
                  <a:lnTo>
                    <a:pt x="218871" y="13690"/>
                  </a:lnTo>
                  <a:lnTo>
                    <a:pt x="218236" y="15633"/>
                  </a:lnTo>
                  <a:lnTo>
                    <a:pt x="215671" y="18186"/>
                  </a:lnTo>
                  <a:lnTo>
                    <a:pt x="213728" y="18821"/>
                  </a:lnTo>
                  <a:lnTo>
                    <a:pt x="207479" y="18821"/>
                  </a:lnTo>
                  <a:lnTo>
                    <a:pt x="207479" y="3543"/>
                  </a:lnTo>
                  <a:lnTo>
                    <a:pt x="210477" y="3543"/>
                  </a:lnTo>
                  <a:lnTo>
                    <a:pt x="218884" y="9055"/>
                  </a:lnTo>
                  <a:lnTo>
                    <a:pt x="218884" y="1435"/>
                  </a:lnTo>
                  <a:lnTo>
                    <a:pt x="216458" y="647"/>
                  </a:lnTo>
                  <a:lnTo>
                    <a:pt x="202514" y="647"/>
                  </a:lnTo>
                  <a:lnTo>
                    <a:pt x="202514" y="21831"/>
                  </a:lnTo>
                  <a:lnTo>
                    <a:pt x="216014" y="21844"/>
                  </a:lnTo>
                  <a:lnTo>
                    <a:pt x="218922" y="20891"/>
                  </a:lnTo>
                  <a:lnTo>
                    <a:pt x="221170" y="18821"/>
                  </a:lnTo>
                  <a:lnTo>
                    <a:pt x="223088" y="17056"/>
                  </a:lnTo>
                  <a:lnTo>
                    <a:pt x="224142" y="14338"/>
                  </a:lnTo>
                  <a:close/>
                </a:path>
                <a:path w="254000" h="22860">
                  <a:moveTo>
                    <a:pt x="253669" y="21844"/>
                  </a:moveTo>
                  <a:lnTo>
                    <a:pt x="251206" y="16154"/>
                  </a:lnTo>
                  <a:lnTo>
                    <a:pt x="249999" y="13360"/>
                  </a:lnTo>
                  <a:lnTo>
                    <a:pt x="246354" y="4927"/>
                  </a:lnTo>
                  <a:lnTo>
                    <a:pt x="244500" y="647"/>
                  </a:lnTo>
                  <a:lnTo>
                    <a:pt x="244246" y="647"/>
                  </a:lnTo>
                  <a:lnTo>
                    <a:pt x="244246" y="13360"/>
                  </a:lnTo>
                  <a:lnTo>
                    <a:pt x="236905" y="13360"/>
                  </a:lnTo>
                  <a:lnTo>
                    <a:pt x="240588" y="4927"/>
                  </a:lnTo>
                  <a:lnTo>
                    <a:pt x="244246" y="13360"/>
                  </a:lnTo>
                  <a:lnTo>
                    <a:pt x="244246" y="647"/>
                  </a:lnTo>
                  <a:lnTo>
                    <a:pt x="238861" y="647"/>
                  </a:lnTo>
                  <a:lnTo>
                    <a:pt x="229577" y="21844"/>
                  </a:lnTo>
                  <a:lnTo>
                    <a:pt x="233184" y="21844"/>
                  </a:lnTo>
                  <a:lnTo>
                    <a:pt x="235673" y="16154"/>
                  </a:lnTo>
                  <a:lnTo>
                    <a:pt x="245452" y="16154"/>
                  </a:lnTo>
                  <a:lnTo>
                    <a:pt x="247916" y="21844"/>
                  </a:lnTo>
                  <a:lnTo>
                    <a:pt x="253669" y="21844"/>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90" name="object 190"/>
          <p:cNvSpPr txBox="1"/>
          <p:nvPr/>
        </p:nvSpPr>
        <p:spPr>
          <a:xfrm>
            <a:off x="8295621" y="1498842"/>
            <a:ext cx="1033182" cy="200138"/>
          </a:xfrm>
          <a:prstGeom prst="rect">
            <a:avLst/>
          </a:prstGeom>
        </p:spPr>
        <p:txBody>
          <a:bodyPr vert="horz" wrap="square" lIns="0" tIns="30816" rIns="0" bIns="0" rtlCol="0">
            <a:spAutoFit/>
          </a:bodyPr>
          <a:lstStyle/>
          <a:p>
            <a:pPr marL="33619" marR="0" lvl="0" indent="0" algn="l" defTabSz="806867" rtl="0" eaLnBrk="1" fontAlgn="auto" latinLnBrk="0" hangingPunct="1">
              <a:lnSpc>
                <a:spcPct val="100000"/>
              </a:lnSpc>
              <a:spcBef>
                <a:spcPts val="243"/>
              </a:spcBef>
              <a:spcAft>
                <a:spcPts val="0"/>
              </a:spcAft>
              <a:buClrTx/>
              <a:buSzTx/>
              <a:buFontTx/>
              <a:buNone/>
              <a:tabLst/>
              <a:defRPr/>
            </a:pPr>
            <a:r>
              <a:rPr kumimoji="0" sz="662" b="1" i="0" u="none" strike="noStrike" kern="0" cap="none" spc="0" normalizeH="0" baseline="0" noProof="0">
                <a:ln>
                  <a:noFill/>
                </a:ln>
                <a:solidFill>
                  <a:srgbClr val="FFFFFF"/>
                </a:solidFill>
                <a:effectLst/>
                <a:uLnTx/>
                <a:uFillTx/>
                <a:latin typeface="Calibri"/>
                <a:ea typeface="+mn-ea"/>
                <a:cs typeface="Calibri"/>
              </a:rPr>
              <a:t>CITIZENS</a:t>
            </a:r>
            <a:r>
              <a:rPr kumimoji="0" sz="662" b="1" i="0" u="none" strike="noStrike" kern="0" cap="none" spc="146" normalizeH="0" baseline="0" noProof="0">
                <a:ln>
                  <a:noFill/>
                </a:ln>
                <a:solidFill>
                  <a:srgbClr val="FFFFFF"/>
                </a:solidFill>
                <a:effectLst/>
                <a:uLnTx/>
                <a:uFillTx/>
                <a:latin typeface="Calibri"/>
                <a:ea typeface="+mn-ea"/>
                <a:cs typeface="Calibri"/>
              </a:rPr>
              <a:t> </a:t>
            </a:r>
            <a:r>
              <a:rPr kumimoji="0" sz="662" b="1" i="0" u="none" strike="noStrike" kern="0" cap="none" spc="49" normalizeH="0" baseline="0" noProof="0">
                <a:ln>
                  <a:noFill/>
                </a:ln>
                <a:solidFill>
                  <a:srgbClr val="FFFFFF"/>
                </a:solidFill>
                <a:effectLst/>
                <a:uLnTx/>
                <a:uFillTx/>
                <a:latin typeface="Calibri"/>
                <a:ea typeface="+mn-ea"/>
                <a:cs typeface="Calibri"/>
              </a:rPr>
              <a:t>OF</a:t>
            </a:r>
            <a:r>
              <a:rPr kumimoji="0" sz="662" b="1" i="0" u="none" strike="noStrike" kern="0" cap="none" spc="150" normalizeH="0" baseline="0" noProof="0">
                <a:ln>
                  <a:noFill/>
                </a:ln>
                <a:solidFill>
                  <a:srgbClr val="FFFFFF"/>
                </a:solidFill>
                <a:effectLst/>
                <a:uLnTx/>
                <a:uFillTx/>
                <a:latin typeface="Calibri"/>
                <a:ea typeface="+mn-ea"/>
                <a:cs typeface="Calibri"/>
              </a:rPr>
              <a:t> </a:t>
            </a:r>
            <a:r>
              <a:rPr kumimoji="0" sz="662" b="1" i="0" u="none" strike="noStrike" kern="0" cap="none" spc="0" normalizeH="0" baseline="0" noProof="0">
                <a:ln>
                  <a:noFill/>
                </a:ln>
                <a:solidFill>
                  <a:srgbClr val="FFFFFF"/>
                </a:solidFill>
                <a:effectLst/>
                <a:uLnTx/>
                <a:uFillTx/>
                <a:latin typeface="Calibri"/>
                <a:ea typeface="+mn-ea"/>
                <a:cs typeface="Calibri"/>
              </a:rPr>
              <a:t>THE</a:t>
            </a:r>
            <a:r>
              <a:rPr kumimoji="0" sz="662" b="1" i="0" u="none" strike="noStrike" kern="0" cap="none" spc="146" normalizeH="0" baseline="0" noProof="0">
                <a:ln>
                  <a:noFill/>
                </a:ln>
                <a:solidFill>
                  <a:srgbClr val="FFFFFF"/>
                </a:solidFill>
                <a:effectLst/>
                <a:uLnTx/>
                <a:uFillTx/>
                <a:latin typeface="Calibri"/>
                <a:ea typeface="+mn-ea"/>
                <a:cs typeface="Calibri"/>
              </a:rPr>
              <a:t> </a:t>
            </a:r>
            <a:r>
              <a:rPr kumimoji="0" sz="662" b="1" i="0" u="none" strike="noStrike" kern="0" cap="none" spc="-18" normalizeH="0" baseline="0" noProof="0">
                <a:ln>
                  <a:noFill/>
                </a:ln>
                <a:solidFill>
                  <a:srgbClr val="FFFFFF"/>
                </a:solidFill>
                <a:effectLst/>
                <a:uLnTx/>
                <a:uFillTx/>
                <a:latin typeface="Calibri"/>
                <a:ea typeface="+mn-ea"/>
                <a:cs typeface="Calibri"/>
              </a:rPr>
              <a:t>WORLD</a:t>
            </a:r>
            <a:endParaRPr kumimoji="0" sz="662" b="0" i="0" u="none" strike="noStrike" kern="0" cap="none" spc="0" normalizeH="0" baseline="0" noProof="0">
              <a:ln>
                <a:noFill/>
              </a:ln>
              <a:solidFill>
                <a:sysClr val="windowText" lastClr="000000"/>
              </a:solidFill>
              <a:effectLst/>
              <a:uLnTx/>
              <a:uFillTx/>
              <a:latin typeface="Calibri"/>
              <a:ea typeface="+mn-ea"/>
              <a:cs typeface="Calibri"/>
            </a:endParaRPr>
          </a:p>
          <a:p>
            <a:pPr marL="33619" marR="0" lvl="0" indent="0" algn="l" defTabSz="806867" rtl="0" eaLnBrk="1" fontAlgn="auto" latinLnBrk="0" hangingPunct="1">
              <a:lnSpc>
                <a:spcPct val="100000"/>
              </a:lnSpc>
              <a:spcBef>
                <a:spcPts val="101"/>
              </a:spcBef>
              <a:spcAft>
                <a:spcPts val="0"/>
              </a:spcAft>
              <a:buClrTx/>
              <a:buSzTx/>
              <a:buFontTx/>
              <a:buNone/>
              <a:tabLst/>
              <a:defRPr/>
            </a:pPr>
            <a:r>
              <a:rPr kumimoji="0" sz="331" b="1" i="0" u="none" strike="noStrike" kern="0" cap="none" spc="0" normalizeH="0" baseline="11111" noProof="0">
                <a:ln>
                  <a:noFill/>
                </a:ln>
                <a:solidFill>
                  <a:srgbClr val="FFFFFF"/>
                </a:solidFill>
                <a:effectLst/>
                <a:uLnTx/>
                <a:uFillTx/>
                <a:latin typeface="Calibri"/>
                <a:ea typeface="+mn-ea"/>
                <a:cs typeface="Calibri"/>
              </a:rPr>
              <a:t>BEGIN</a:t>
            </a:r>
            <a:r>
              <a:rPr kumimoji="0" sz="331" b="1" i="0" u="none" strike="noStrike" kern="0" cap="none" spc="46" normalizeH="0" baseline="11111" noProof="0">
                <a:ln>
                  <a:noFill/>
                </a:ln>
                <a:solidFill>
                  <a:srgbClr val="FFFFFF"/>
                </a:solidFill>
                <a:effectLst/>
                <a:uLnTx/>
                <a:uFillTx/>
                <a:latin typeface="Calibri"/>
                <a:ea typeface="+mn-ea"/>
                <a:cs typeface="Calibri"/>
              </a:rPr>
              <a:t> </a:t>
            </a:r>
            <a:r>
              <a:rPr kumimoji="0" sz="353" b="1" i="0" u="none" strike="noStrike" kern="0" cap="none" spc="-44" normalizeH="0" baseline="0" noProof="0">
                <a:ln>
                  <a:noFill/>
                </a:ln>
                <a:solidFill>
                  <a:srgbClr val="F01428"/>
                </a:solidFill>
                <a:effectLst/>
                <a:uLnTx/>
                <a:uFillTx/>
                <a:latin typeface="Palatino Linotype"/>
                <a:ea typeface="+mn-ea"/>
                <a:cs typeface="Palatino Linotype"/>
              </a:rPr>
              <a:t>&gt;</a:t>
            </a:r>
            <a:endParaRPr kumimoji="0" sz="353" b="0" i="0" u="none" strike="noStrike" kern="0" cap="none" spc="0" normalizeH="0" baseline="0" noProof="0">
              <a:ln>
                <a:noFill/>
              </a:ln>
              <a:solidFill>
                <a:sysClr val="windowText" lastClr="000000"/>
              </a:solidFill>
              <a:effectLst/>
              <a:uLnTx/>
              <a:uFillTx/>
              <a:latin typeface="Palatino Linotype"/>
              <a:ea typeface="+mn-ea"/>
              <a:cs typeface="Palatino Linotype"/>
            </a:endParaRPr>
          </a:p>
        </p:txBody>
      </p:sp>
      <p:grpSp>
        <p:nvGrpSpPr>
          <p:cNvPr id="191" name="object 191"/>
          <p:cNvGrpSpPr/>
          <p:nvPr/>
        </p:nvGrpSpPr>
        <p:grpSpPr>
          <a:xfrm>
            <a:off x="2068288" y="157334"/>
            <a:ext cx="5731249" cy="4738407"/>
            <a:chOff x="464460" y="178311"/>
            <a:chExt cx="6495415" cy="5370195"/>
          </a:xfrm>
        </p:grpSpPr>
        <p:pic>
          <p:nvPicPr>
            <p:cNvPr id="192" name="object 192"/>
            <p:cNvPicPr/>
            <p:nvPr/>
          </p:nvPicPr>
          <p:blipFill>
            <a:blip r:embed="rId37" cstate="print"/>
            <a:stretch>
              <a:fillRect/>
            </a:stretch>
          </p:blipFill>
          <p:spPr>
            <a:xfrm>
              <a:off x="5579425" y="5003799"/>
              <a:ext cx="1380145" cy="544436"/>
            </a:xfrm>
            <a:prstGeom prst="rect">
              <a:avLst/>
            </a:prstGeom>
          </p:spPr>
        </p:pic>
        <p:pic>
          <p:nvPicPr>
            <p:cNvPr id="193" name="object 193"/>
            <p:cNvPicPr/>
            <p:nvPr/>
          </p:nvPicPr>
          <p:blipFill>
            <a:blip r:embed="rId38" cstate="print"/>
            <a:stretch>
              <a:fillRect/>
            </a:stretch>
          </p:blipFill>
          <p:spPr>
            <a:xfrm>
              <a:off x="464460" y="178311"/>
              <a:ext cx="144475" cy="141744"/>
            </a:xfrm>
            <a:prstGeom prst="rect">
              <a:avLst/>
            </a:prstGeom>
          </p:spPr>
        </p:pic>
        <p:pic>
          <p:nvPicPr>
            <p:cNvPr id="194" name="object 194"/>
            <p:cNvPicPr/>
            <p:nvPr/>
          </p:nvPicPr>
          <p:blipFill>
            <a:blip r:embed="rId39" cstate="print"/>
            <a:stretch>
              <a:fillRect/>
            </a:stretch>
          </p:blipFill>
          <p:spPr>
            <a:xfrm>
              <a:off x="830875" y="210381"/>
              <a:ext cx="76250" cy="73393"/>
            </a:xfrm>
            <a:prstGeom prst="rect">
              <a:avLst/>
            </a:prstGeom>
          </p:spPr>
        </p:pic>
        <p:pic>
          <p:nvPicPr>
            <p:cNvPr id="195" name="object 195"/>
            <p:cNvPicPr/>
            <p:nvPr/>
          </p:nvPicPr>
          <p:blipFill>
            <a:blip r:embed="rId40" cstate="print"/>
            <a:stretch>
              <a:fillRect/>
            </a:stretch>
          </p:blipFill>
          <p:spPr>
            <a:xfrm>
              <a:off x="669577" y="210375"/>
              <a:ext cx="83515" cy="73444"/>
            </a:xfrm>
            <a:prstGeom prst="rect">
              <a:avLst/>
            </a:prstGeom>
          </p:spPr>
        </p:pic>
        <p:sp>
          <p:nvSpPr>
            <p:cNvPr id="196" name="object 196"/>
            <p:cNvSpPr/>
            <p:nvPr/>
          </p:nvSpPr>
          <p:spPr>
            <a:xfrm>
              <a:off x="775957" y="210337"/>
              <a:ext cx="17780" cy="73660"/>
            </a:xfrm>
            <a:custGeom>
              <a:avLst/>
              <a:gdLst/>
              <a:ahLst/>
              <a:cxnLst/>
              <a:rect l="l" t="t" r="r" b="b"/>
              <a:pathLst>
                <a:path w="17779" h="73660">
                  <a:moveTo>
                    <a:pt x="17233" y="0"/>
                  </a:moveTo>
                  <a:lnTo>
                    <a:pt x="0" y="0"/>
                  </a:lnTo>
                  <a:lnTo>
                    <a:pt x="0" y="73444"/>
                  </a:lnTo>
                  <a:lnTo>
                    <a:pt x="17233" y="73444"/>
                  </a:lnTo>
                  <a:lnTo>
                    <a:pt x="17233"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97" name="object 197"/>
            <p:cNvPicPr/>
            <p:nvPr/>
          </p:nvPicPr>
          <p:blipFill>
            <a:blip r:embed="rId41" cstate="print"/>
            <a:stretch>
              <a:fillRect/>
            </a:stretch>
          </p:blipFill>
          <p:spPr>
            <a:xfrm>
              <a:off x="953857" y="208191"/>
              <a:ext cx="76517" cy="77927"/>
            </a:xfrm>
            <a:prstGeom prst="rect">
              <a:avLst/>
            </a:prstGeom>
          </p:spPr>
        </p:pic>
        <p:pic>
          <p:nvPicPr>
            <p:cNvPr id="198" name="object 198"/>
            <p:cNvPicPr/>
            <p:nvPr/>
          </p:nvPicPr>
          <p:blipFill>
            <a:blip r:embed="rId42" cstate="print"/>
            <a:stretch>
              <a:fillRect/>
            </a:stretch>
          </p:blipFill>
          <p:spPr>
            <a:xfrm>
              <a:off x="1051401" y="210375"/>
              <a:ext cx="83502" cy="73444"/>
            </a:xfrm>
            <a:prstGeom prst="rect">
              <a:avLst/>
            </a:prstGeom>
          </p:spPr>
        </p:pic>
        <p:pic>
          <p:nvPicPr>
            <p:cNvPr id="199" name="object 199"/>
            <p:cNvPicPr/>
            <p:nvPr/>
          </p:nvPicPr>
          <p:blipFill>
            <a:blip r:embed="rId43" cstate="print"/>
            <a:stretch>
              <a:fillRect/>
            </a:stretch>
          </p:blipFill>
          <p:spPr>
            <a:xfrm>
              <a:off x="1263714" y="210375"/>
              <a:ext cx="83515" cy="73444"/>
            </a:xfrm>
            <a:prstGeom prst="rect">
              <a:avLst/>
            </a:prstGeom>
          </p:spPr>
        </p:pic>
        <p:sp>
          <p:nvSpPr>
            <p:cNvPr id="200" name="object 200"/>
            <p:cNvSpPr/>
            <p:nvPr/>
          </p:nvSpPr>
          <p:spPr>
            <a:xfrm>
              <a:off x="1465212" y="210378"/>
              <a:ext cx="83820" cy="73660"/>
            </a:xfrm>
            <a:custGeom>
              <a:avLst/>
              <a:gdLst/>
              <a:ahLst/>
              <a:cxnLst/>
              <a:rect l="l" t="t" r="r" b="b"/>
              <a:pathLst>
                <a:path w="83819" h="73660">
                  <a:moveTo>
                    <a:pt x="51739" y="0"/>
                  </a:moveTo>
                  <a:lnTo>
                    <a:pt x="32194" y="0"/>
                  </a:lnTo>
                  <a:lnTo>
                    <a:pt x="0" y="73444"/>
                  </a:lnTo>
                  <a:lnTo>
                    <a:pt x="12484" y="73444"/>
                  </a:lnTo>
                  <a:lnTo>
                    <a:pt x="21145" y="53746"/>
                  </a:lnTo>
                  <a:lnTo>
                    <a:pt x="74993" y="53746"/>
                  </a:lnTo>
                  <a:lnTo>
                    <a:pt x="70795" y="44043"/>
                  </a:lnTo>
                  <a:lnTo>
                    <a:pt x="25387" y="44043"/>
                  </a:lnTo>
                  <a:lnTo>
                    <a:pt x="38163" y="14820"/>
                  </a:lnTo>
                  <a:lnTo>
                    <a:pt x="58152" y="14820"/>
                  </a:lnTo>
                  <a:lnTo>
                    <a:pt x="51739" y="0"/>
                  </a:lnTo>
                  <a:close/>
                </a:path>
                <a:path w="83819" h="73660">
                  <a:moveTo>
                    <a:pt x="74993" y="53746"/>
                  </a:moveTo>
                  <a:lnTo>
                    <a:pt x="55041" y="53746"/>
                  </a:lnTo>
                  <a:lnTo>
                    <a:pt x="63563" y="73444"/>
                  </a:lnTo>
                  <a:lnTo>
                    <a:pt x="83515" y="73444"/>
                  </a:lnTo>
                  <a:lnTo>
                    <a:pt x="74993" y="53746"/>
                  </a:lnTo>
                  <a:close/>
                </a:path>
                <a:path w="83819" h="73660">
                  <a:moveTo>
                    <a:pt x="58152" y="14820"/>
                  </a:moveTo>
                  <a:lnTo>
                    <a:pt x="38163" y="14820"/>
                  </a:lnTo>
                  <a:lnTo>
                    <a:pt x="50825" y="44043"/>
                  </a:lnTo>
                  <a:lnTo>
                    <a:pt x="70795" y="44043"/>
                  </a:lnTo>
                  <a:lnTo>
                    <a:pt x="58152" y="1482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201" name="object 201"/>
            <p:cNvPicPr/>
            <p:nvPr/>
          </p:nvPicPr>
          <p:blipFill>
            <a:blip r:embed="rId44" cstate="print"/>
            <a:stretch>
              <a:fillRect/>
            </a:stretch>
          </p:blipFill>
          <p:spPr>
            <a:xfrm>
              <a:off x="1159389" y="210385"/>
              <a:ext cx="79794" cy="73431"/>
            </a:xfrm>
            <a:prstGeom prst="rect">
              <a:avLst/>
            </a:prstGeom>
          </p:spPr>
        </p:pic>
        <p:sp>
          <p:nvSpPr>
            <p:cNvPr id="202" name="object 202"/>
            <p:cNvSpPr/>
            <p:nvPr/>
          </p:nvSpPr>
          <p:spPr>
            <a:xfrm>
              <a:off x="1371429" y="210384"/>
              <a:ext cx="75565" cy="73660"/>
            </a:xfrm>
            <a:custGeom>
              <a:avLst/>
              <a:gdLst/>
              <a:ahLst/>
              <a:cxnLst/>
              <a:rect l="l" t="t" r="r" b="b"/>
              <a:pathLst>
                <a:path w="75565" h="73660">
                  <a:moveTo>
                    <a:pt x="35547" y="0"/>
                  </a:moveTo>
                  <a:lnTo>
                    <a:pt x="0" y="0"/>
                  </a:lnTo>
                  <a:lnTo>
                    <a:pt x="0" y="73393"/>
                  </a:lnTo>
                  <a:lnTo>
                    <a:pt x="33858" y="73393"/>
                  </a:lnTo>
                  <a:lnTo>
                    <a:pt x="43015" y="72798"/>
                  </a:lnTo>
                  <a:lnTo>
                    <a:pt x="51111" y="70953"/>
                  </a:lnTo>
                  <a:lnTo>
                    <a:pt x="58139" y="67847"/>
                  </a:lnTo>
                  <a:lnTo>
                    <a:pt x="64096" y="63474"/>
                  </a:lnTo>
                  <a:lnTo>
                    <a:pt x="64523" y="62979"/>
                  </a:lnTo>
                  <a:lnTo>
                    <a:pt x="38874" y="62979"/>
                  </a:lnTo>
                  <a:lnTo>
                    <a:pt x="17183" y="62941"/>
                  </a:lnTo>
                  <a:lnTo>
                    <a:pt x="17183" y="10007"/>
                  </a:lnTo>
                  <a:lnTo>
                    <a:pt x="65586" y="10007"/>
                  </a:lnTo>
                  <a:lnTo>
                    <a:pt x="64846" y="9169"/>
                  </a:lnTo>
                  <a:lnTo>
                    <a:pt x="59207" y="5186"/>
                  </a:lnTo>
                  <a:lnTo>
                    <a:pt x="52444" y="2317"/>
                  </a:lnTo>
                  <a:lnTo>
                    <a:pt x="44557" y="582"/>
                  </a:lnTo>
                  <a:lnTo>
                    <a:pt x="35547" y="0"/>
                  </a:lnTo>
                  <a:close/>
                </a:path>
                <a:path w="75565" h="73660">
                  <a:moveTo>
                    <a:pt x="65586" y="10007"/>
                  </a:moveTo>
                  <a:lnTo>
                    <a:pt x="17183" y="10007"/>
                  </a:lnTo>
                  <a:lnTo>
                    <a:pt x="34188" y="10058"/>
                  </a:lnTo>
                  <a:lnTo>
                    <a:pt x="39179" y="10693"/>
                  </a:lnTo>
                  <a:lnTo>
                    <a:pt x="46088" y="13131"/>
                  </a:lnTo>
                  <a:lnTo>
                    <a:pt x="49009" y="15379"/>
                  </a:lnTo>
                  <a:lnTo>
                    <a:pt x="54978" y="23240"/>
                  </a:lnTo>
                  <a:lnTo>
                    <a:pt x="56730" y="29095"/>
                  </a:lnTo>
                  <a:lnTo>
                    <a:pt x="56680" y="45161"/>
                  </a:lnTo>
                  <a:lnTo>
                    <a:pt x="54483" y="51904"/>
                  </a:lnTo>
                  <a:lnTo>
                    <a:pt x="49999" y="56349"/>
                  </a:lnTo>
                  <a:lnTo>
                    <a:pt x="45580" y="60782"/>
                  </a:lnTo>
                  <a:lnTo>
                    <a:pt x="38874" y="62979"/>
                  </a:lnTo>
                  <a:lnTo>
                    <a:pt x="64523" y="62979"/>
                  </a:lnTo>
                  <a:lnTo>
                    <a:pt x="68833" y="57972"/>
                  </a:lnTo>
                  <a:lnTo>
                    <a:pt x="72226" y="51436"/>
                  </a:lnTo>
                  <a:lnTo>
                    <a:pt x="74278" y="43873"/>
                  </a:lnTo>
                  <a:lnTo>
                    <a:pt x="74993" y="35293"/>
                  </a:lnTo>
                  <a:lnTo>
                    <a:pt x="74370" y="27289"/>
                  </a:lnTo>
                  <a:lnTo>
                    <a:pt x="72477" y="20259"/>
                  </a:lnTo>
                  <a:lnTo>
                    <a:pt x="69305" y="14215"/>
                  </a:lnTo>
                  <a:lnTo>
                    <a:pt x="65586" y="10007"/>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03" name="object 203"/>
          <p:cNvSpPr txBox="1"/>
          <p:nvPr/>
        </p:nvSpPr>
        <p:spPr>
          <a:xfrm>
            <a:off x="8644608" y="153081"/>
            <a:ext cx="1228165" cy="119935"/>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tab pos="1160991" algn="l"/>
              </a:tabLst>
              <a:defRPr/>
            </a:pPr>
            <a:r>
              <a:rPr kumimoji="0" sz="706" b="1" i="0" u="none" strike="noStrike" kern="0" cap="none" spc="0" normalizeH="0" baseline="0" noProof="0">
                <a:ln>
                  <a:noFill/>
                </a:ln>
                <a:solidFill>
                  <a:sysClr val="windowText" lastClr="000000"/>
                </a:solidFill>
                <a:effectLst/>
                <a:uLnTx/>
                <a:uFillTx/>
                <a:latin typeface="Calibri"/>
                <a:ea typeface="+mn-ea"/>
                <a:cs typeface="Calibri"/>
              </a:rPr>
              <a:t>Overview</a:t>
            </a:r>
            <a:r>
              <a:rPr kumimoji="0" sz="706" b="1" i="0" u="none" strike="noStrike" kern="0" cap="none" spc="216" normalizeH="0" baseline="0" noProof="0">
                <a:ln>
                  <a:noFill/>
                </a:ln>
                <a:solidFill>
                  <a:sysClr val="windowText" lastClr="000000"/>
                </a:solidFill>
                <a:effectLst/>
                <a:uLnTx/>
                <a:uFillTx/>
                <a:latin typeface="Calibri"/>
                <a:ea typeface="+mn-ea"/>
                <a:cs typeface="Calibri"/>
              </a:rPr>
              <a:t> </a:t>
            </a:r>
            <a:r>
              <a:rPr kumimoji="0" sz="706" b="0" i="0" u="none" strike="noStrike" kern="0" cap="none" spc="-44" normalizeH="0" baseline="0" noProof="0">
                <a:ln>
                  <a:noFill/>
                </a:ln>
                <a:solidFill>
                  <a:sysClr val="windowText" lastClr="000000"/>
                </a:solidFill>
                <a:effectLst/>
                <a:uLnTx/>
                <a:uFillTx/>
                <a:latin typeface="Calibri"/>
                <a:ea typeface="+mn-ea"/>
                <a:cs typeface="Calibri"/>
              </a:rPr>
              <a:t>|</a:t>
            </a:r>
            <a:r>
              <a:rPr kumimoji="0" sz="706" b="0" i="0" u="none" strike="noStrike" kern="0" cap="none" spc="221" normalizeH="0" baseline="0" noProof="0">
                <a:ln>
                  <a:noFill/>
                </a:ln>
                <a:solidFill>
                  <a:sysClr val="windowText" lastClr="000000"/>
                </a:solidFill>
                <a:effectLst/>
                <a:uLnTx/>
                <a:uFillTx/>
                <a:latin typeface="Calibri"/>
                <a:ea typeface="+mn-ea"/>
                <a:cs typeface="Calibri"/>
              </a:rPr>
              <a:t> </a:t>
            </a:r>
            <a:r>
              <a:rPr kumimoji="0" sz="706" b="0" i="0" u="none" strike="noStrike" kern="0" cap="none" spc="0" normalizeH="0" baseline="0" noProof="0">
                <a:ln>
                  <a:noFill/>
                </a:ln>
                <a:solidFill>
                  <a:sysClr val="windowText" lastClr="000000"/>
                </a:solidFill>
                <a:effectLst/>
                <a:uLnTx/>
                <a:uFillTx/>
                <a:latin typeface="Calibri"/>
                <a:ea typeface="+mn-ea"/>
                <a:cs typeface="Calibri"/>
              </a:rPr>
              <a:t>MARCH</a:t>
            </a:r>
            <a:r>
              <a:rPr kumimoji="0" sz="706" b="0" i="0" u="none" strike="noStrike" kern="0" cap="none" spc="26" normalizeH="0" baseline="0" noProof="0">
                <a:ln>
                  <a:noFill/>
                </a:ln>
                <a:solidFill>
                  <a:sysClr val="windowText" lastClr="000000"/>
                </a:solidFill>
                <a:effectLst/>
                <a:uLnTx/>
                <a:uFillTx/>
                <a:latin typeface="Calibri"/>
                <a:ea typeface="+mn-ea"/>
                <a:cs typeface="Calibri"/>
              </a:rPr>
              <a:t> </a:t>
            </a:r>
            <a:r>
              <a:rPr kumimoji="0" sz="706" b="0" i="0" u="none" strike="noStrike" kern="0" cap="none" spc="-18" normalizeH="0" baseline="0" noProof="0">
                <a:ln>
                  <a:noFill/>
                </a:ln>
                <a:solidFill>
                  <a:sysClr val="windowText" lastClr="000000"/>
                </a:solidFill>
                <a:effectLst/>
                <a:uLnTx/>
                <a:uFillTx/>
                <a:latin typeface="Calibri"/>
                <a:ea typeface="+mn-ea"/>
                <a:cs typeface="Calibri"/>
              </a:rPr>
              <a:t>2022</a:t>
            </a:r>
            <a:r>
              <a:rPr kumimoji="0" sz="706" b="0" i="0" u="none" strike="noStrike" kern="0" cap="none" spc="0" normalizeH="0" baseline="0" noProof="0">
                <a:ln>
                  <a:noFill/>
                </a:ln>
                <a:solidFill>
                  <a:sysClr val="windowText" lastClr="000000"/>
                </a:solidFill>
                <a:effectLst/>
                <a:uLnTx/>
                <a:uFillTx/>
                <a:latin typeface="Calibri"/>
                <a:ea typeface="+mn-ea"/>
                <a:cs typeface="Calibri"/>
              </a:rPr>
              <a:t>	</a:t>
            </a:r>
            <a:r>
              <a:rPr kumimoji="0" sz="706" b="1" i="0" u="none" strike="noStrike" kern="0" cap="none" spc="31" normalizeH="0" baseline="0" noProof="0">
                <a:ln>
                  <a:noFill/>
                </a:ln>
                <a:solidFill>
                  <a:sysClr val="windowText" lastClr="000000"/>
                </a:solidFill>
                <a:effectLst/>
                <a:uLnTx/>
                <a:uFillTx/>
                <a:latin typeface="Calibri"/>
                <a:ea typeface="+mn-ea"/>
                <a:cs typeface="Calibri"/>
              </a:rPr>
              <a:t>4</a:t>
            </a:r>
            <a:endParaRPr kumimoji="0" sz="706"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04" name="Footer Placeholder 203">
            <a:extLst>
              <a:ext uri="{FF2B5EF4-FFF2-40B4-BE49-F238E27FC236}">
                <a16:creationId xmlns:a16="http://schemas.microsoft.com/office/drawing/2014/main" id="{135D1A76-275E-AC80-25A1-161A7987C5E9}"/>
              </a:ext>
            </a:extLst>
          </p:cNvPr>
          <p:cNvSpPr>
            <a:spLocks noGrp="1"/>
          </p:cNvSpPr>
          <p:nvPr>
            <p:ph type="ftr" sz="quarter" idx="5"/>
          </p:nvPr>
        </p:nvSpPr>
        <p:spPr/>
        <p:txBody>
          <a:bodyPr/>
          <a:lstStyle/>
          <a:p>
            <a:r>
              <a:rPr lang="en-CA"/>
              <a:t>Priveledged and Confidential</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658471" y="1"/>
            <a:ext cx="8875059" cy="6857999"/>
          </a:xfrm>
          <a:prstGeom prst="rect">
            <a:avLst/>
          </a:prstGeom>
        </p:spPr>
      </p:pic>
      <p:sp>
        <p:nvSpPr>
          <p:cNvPr id="3" name="object 3"/>
          <p:cNvSpPr txBox="1"/>
          <p:nvPr/>
        </p:nvSpPr>
        <p:spPr>
          <a:xfrm>
            <a:off x="6129618" y="1259091"/>
            <a:ext cx="3980890" cy="1980279"/>
          </a:xfrm>
          <a:prstGeom prst="rect">
            <a:avLst/>
          </a:prstGeom>
        </p:spPr>
        <p:txBody>
          <a:bodyPr vert="horz" wrap="square" lIns="0" tIns="121024" rIns="0" bIns="0" rtlCol="0">
            <a:spAutoFit/>
          </a:bodyPr>
          <a:lstStyle/>
          <a:p>
            <a:pPr marL="33619" marR="0" lvl="0" indent="0" algn="l" defTabSz="806867" rtl="0" eaLnBrk="1" fontAlgn="auto" latinLnBrk="0" hangingPunct="1">
              <a:lnSpc>
                <a:spcPct val="100000"/>
              </a:lnSpc>
              <a:spcBef>
                <a:spcPts val="953"/>
              </a:spcBef>
              <a:spcAft>
                <a:spcPts val="0"/>
              </a:spcAft>
              <a:buClrTx/>
              <a:buSzTx/>
              <a:buFontTx/>
              <a:buNone/>
              <a:tabLst/>
              <a:defRPr/>
            </a:pPr>
            <a:r>
              <a:rPr kumimoji="0" sz="1412" b="1" i="0" u="none" strike="noStrike" kern="0" cap="none" spc="-150" normalizeH="0" baseline="0" noProof="0">
                <a:ln>
                  <a:noFill/>
                </a:ln>
                <a:solidFill>
                  <a:srgbClr val="B79A81"/>
                </a:solidFill>
                <a:effectLst/>
                <a:uLnTx/>
                <a:uFillTx/>
                <a:latin typeface="Calibri"/>
                <a:ea typeface="+mn-ea"/>
                <a:cs typeface="Calibri"/>
              </a:rPr>
              <a:t>—</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33619" marR="0" lvl="0" indent="0" algn="l" defTabSz="806867" rtl="0" eaLnBrk="1" fontAlgn="auto" latinLnBrk="0" hangingPunct="1">
              <a:lnSpc>
                <a:spcPct val="100000"/>
              </a:lnSpc>
              <a:spcBef>
                <a:spcPts val="865"/>
              </a:spcBef>
              <a:spcAft>
                <a:spcPts val="0"/>
              </a:spcAft>
              <a:buClrTx/>
              <a:buSzTx/>
              <a:buFontTx/>
              <a:buNone/>
              <a:tabLst/>
              <a:defRPr/>
            </a:pPr>
            <a:r>
              <a:rPr kumimoji="0" sz="1412" b="1" i="0" u="none" strike="noStrike" kern="0" cap="none" spc="0" normalizeH="0" baseline="0" noProof="0">
                <a:ln>
                  <a:noFill/>
                </a:ln>
                <a:solidFill>
                  <a:sysClr val="windowText" lastClr="000000"/>
                </a:solidFill>
                <a:effectLst/>
                <a:uLnTx/>
                <a:uFillTx/>
                <a:latin typeface="Calibri"/>
                <a:ea typeface="+mn-ea"/>
                <a:cs typeface="Calibri"/>
              </a:rPr>
              <a:t>Fleet</a:t>
            </a:r>
            <a:r>
              <a:rPr kumimoji="0" sz="1412" b="1" i="0" u="none" strike="noStrike" kern="0" cap="none" spc="190" normalizeH="0" baseline="0" noProof="0">
                <a:ln>
                  <a:noFill/>
                </a:ln>
                <a:solidFill>
                  <a:sysClr val="windowText" lastClr="000000"/>
                </a:solidFill>
                <a:effectLst/>
                <a:uLnTx/>
                <a:uFillTx/>
                <a:latin typeface="Calibri"/>
                <a:ea typeface="+mn-ea"/>
                <a:cs typeface="Calibri"/>
              </a:rPr>
              <a:t> </a:t>
            </a:r>
            <a:r>
              <a:rPr kumimoji="0" sz="1412" b="1" i="0" u="none" strike="noStrike" kern="0" cap="none" spc="-9" normalizeH="0" baseline="0" noProof="0">
                <a:ln>
                  <a:noFill/>
                </a:ln>
                <a:solidFill>
                  <a:sysClr val="windowText" lastClr="000000"/>
                </a:solidFill>
                <a:effectLst/>
                <a:uLnTx/>
                <a:uFillTx/>
                <a:latin typeface="Calibri"/>
                <a:ea typeface="+mn-ea"/>
                <a:cs typeface="Calibri"/>
              </a:rPr>
              <a:t>Renewal</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33619" marR="316583" lvl="0" indent="0" algn="l" defTabSz="806867" rtl="0" eaLnBrk="1" fontAlgn="auto" latinLnBrk="0" hangingPunct="1">
              <a:lnSpc>
                <a:spcPts val="1059"/>
              </a:lnSpc>
              <a:spcBef>
                <a:spcPts val="282"/>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lee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odernizatio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rogram</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bega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2014</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b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dding</a:t>
            </a:r>
            <a:r>
              <a:rPr kumimoji="0" sz="927" b="0" i="0" u="none" strike="noStrike" kern="0" cap="none" spc="-9" normalizeH="0" baseline="0" noProof="0">
                <a:ln>
                  <a:noFill/>
                </a:ln>
                <a:solidFill>
                  <a:sysClr val="windowText" lastClr="000000"/>
                </a:solidFill>
                <a:effectLst/>
                <a:uLnTx/>
                <a:uFillTx/>
                <a:latin typeface="Calibri"/>
                <a:ea typeface="+mn-ea"/>
                <a:cs typeface="Calibri"/>
              </a:rPr>
              <a:t> next- generation,</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uel</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fficient</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craft</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ith</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dustry</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leading</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ustome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menitie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33619" marR="26896"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ultra-efficien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787</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Dreamliner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ow</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mpris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earl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50</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e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en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f</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wide </a:t>
            </a:r>
            <a:r>
              <a:rPr kumimoji="0" sz="927" b="0" i="0" u="none" strike="noStrike" kern="0" cap="none" spc="0" normalizeH="0" baseline="0" noProof="0">
                <a:ln>
                  <a:noFill/>
                </a:ln>
                <a:solidFill>
                  <a:sysClr val="windowText" lastClr="000000"/>
                </a:solidFill>
                <a:effectLst/>
                <a:uLnTx/>
                <a:uFillTx/>
                <a:latin typeface="Calibri"/>
                <a:ea typeface="+mn-ea"/>
                <a:cs typeface="Calibri"/>
              </a:rPr>
              <a:t>bod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lee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delive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pproximat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20</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e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en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improvemen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ue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efficiency </a:t>
            </a:r>
            <a:r>
              <a:rPr kumimoji="0" sz="927" b="0" i="0" u="none" strike="noStrike" kern="0" cap="none" spc="0" normalizeH="0" baseline="0" noProof="0">
                <a:ln>
                  <a:noFill/>
                </a:ln>
                <a:solidFill>
                  <a:sysClr val="windowText" lastClr="000000"/>
                </a:solidFill>
                <a:effectLst/>
                <a:uLnTx/>
                <a:uFillTx/>
                <a:latin typeface="Calibri"/>
                <a:ea typeface="+mn-ea"/>
                <a:cs typeface="Calibri"/>
              </a:rPr>
              <a:t>over</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craft</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y</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placed.</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bu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220-</a:t>
            </a:r>
            <a:r>
              <a:rPr kumimoji="0" sz="927" b="0" i="0" u="none" strike="noStrike" kern="0" cap="none" spc="44" normalizeH="0" baseline="0" noProof="0">
                <a:ln>
                  <a:noFill/>
                </a:ln>
                <a:solidFill>
                  <a:sysClr val="windowText" lastClr="000000"/>
                </a:solidFill>
                <a:effectLst/>
                <a:uLnTx/>
                <a:uFillTx/>
                <a:latin typeface="Calibri"/>
                <a:ea typeface="+mn-ea"/>
                <a:cs typeface="Calibri"/>
              </a:rPr>
              <a:t>300</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ormerly</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known</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the </a:t>
            </a:r>
            <a:r>
              <a:rPr kumimoji="0" sz="927" b="0" i="0" u="none" strike="noStrike" kern="0" cap="none" spc="-9" normalizeH="0" baseline="0" noProof="0">
                <a:ln>
                  <a:noFill/>
                </a:ln>
                <a:solidFill>
                  <a:sysClr val="windowText" lastClr="000000"/>
                </a:solidFill>
                <a:effectLst/>
                <a:uLnTx/>
                <a:uFillTx/>
                <a:latin typeface="Calibri"/>
                <a:ea typeface="+mn-ea"/>
                <a:cs typeface="Calibri"/>
              </a:rPr>
              <a:t>Bombardie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57" normalizeH="0" baseline="0" noProof="0">
                <a:ln>
                  <a:noFill/>
                </a:ln>
                <a:solidFill>
                  <a:sysClr val="windowText" lastClr="000000"/>
                </a:solidFill>
                <a:effectLst/>
                <a:uLnTx/>
                <a:uFillTx/>
                <a:latin typeface="Calibri"/>
                <a:ea typeface="+mn-ea"/>
                <a:cs typeface="Calibri"/>
              </a:rPr>
              <a:t>C</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erie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737</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AX</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8</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craft</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featur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imilar</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roduct</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pec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nd</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flight</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ntertainment</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787</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Dreamline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y</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re</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lso</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xpected</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verage </a:t>
            </a:r>
            <a:r>
              <a:rPr kumimoji="0" sz="927" b="0" i="0" u="none" strike="noStrike" kern="0" cap="none" spc="0" normalizeH="0" baseline="0" noProof="0">
                <a:ln>
                  <a:noFill/>
                </a:ln>
                <a:solidFill>
                  <a:sysClr val="windowText" lastClr="000000"/>
                </a:solidFill>
                <a:effectLst/>
                <a:uLnTx/>
                <a:uFillTx/>
                <a:latin typeface="Calibri"/>
                <a:ea typeface="+mn-ea"/>
                <a:cs typeface="Calibri"/>
              </a:rPr>
              <a:t>approximatel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20 pe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ent les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uel consumptio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er sea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 emi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20 per </a:t>
            </a:r>
            <a:r>
              <a:rPr kumimoji="0" sz="927" b="0" i="0" u="none" strike="noStrike" kern="0" cap="none" spc="-18" normalizeH="0" baseline="0" noProof="0">
                <a:ln>
                  <a:noFill/>
                </a:ln>
                <a:solidFill>
                  <a:sysClr val="windowText" lastClr="000000"/>
                </a:solidFill>
                <a:effectLst/>
                <a:uLnTx/>
                <a:uFillTx/>
                <a:latin typeface="Calibri"/>
                <a:ea typeface="+mn-ea"/>
                <a:cs typeface="Calibri"/>
              </a:rPr>
              <a:t>cent </a:t>
            </a:r>
            <a:r>
              <a:rPr kumimoji="0" sz="927" b="0" i="0" u="none" strike="noStrike" kern="0" cap="none" spc="0" normalizeH="0" baseline="0" noProof="0">
                <a:ln>
                  <a:noFill/>
                </a:ln>
                <a:solidFill>
                  <a:sysClr val="windowText" lastClr="000000"/>
                </a:solidFill>
                <a:effectLst/>
                <a:uLnTx/>
                <a:uFillTx/>
                <a:latin typeface="Calibri"/>
                <a:ea typeface="+mn-ea"/>
                <a:cs typeface="Calibri"/>
              </a:rPr>
              <a:t>les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49" normalizeH="0" baseline="0" noProof="0">
                <a:ln>
                  <a:noFill/>
                </a:ln>
                <a:solidFill>
                  <a:sysClr val="windowText" lastClr="000000"/>
                </a:solidFill>
                <a:effectLst/>
                <a:uLnTx/>
                <a:uFillTx/>
                <a:latin typeface="Calibri"/>
                <a:ea typeface="+mn-ea"/>
                <a:cs typeface="Calibri"/>
              </a:rPr>
              <a:t>CO</a:t>
            </a:r>
            <a:r>
              <a:rPr kumimoji="0" sz="794" b="0" i="0" u="none" strike="noStrike" kern="0" cap="none" spc="72" normalizeH="0" baseline="-13888" noProof="0">
                <a:ln>
                  <a:noFill/>
                </a:ln>
                <a:solidFill>
                  <a:sysClr val="windowText" lastClr="000000"/>
                </a:solidFill>
                <a:effectLst/>
                <a:uLnTx/>
                <a:uFillTx/>
                <a:latin typeface="Calibri"/>
                <a:ea typeface="+mn-ea"/>
                <a:cs typeface="Calibri"/>
              </a:rPr>
              <a:t>2</a:t>
            </a:r>
            <a:r>
              <a:rPr kumimoji="0" sz="794" b="0" i="0" u="none" strike="noStrike" kern="0" cap="none" spc="139" normalizeH="0" baseline="-13888"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50</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e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en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les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itroge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xid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a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craf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plac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4" name="object 4"/>
          <p:cNvGrpSpPr/>
          <p:nvPr/>
        </p:nvGrpSpPr>
        <p:grpSpPr>
          <a:xfrm>
            <a:off x="2068288" y="157333"/>
            <a:ext cx="956982" cy="125506"/>
            <a:chOff x="464460" y="178311"/>
            <a:chExt cx="1084580" cy="142240"/>
          </a:xfrm>
        </p:grpSpPr>
        <p:pic>
          <p:nvPicPr>
            <p:cNvPr id="5" name="object 5"/>
            <p:cNvPicPr/>
            <p:nvPr/>
          </p:nvPicPr>
          <p:blipFill>
            <a:blip r:embed="rId3" cstate="print"/>
            <a:stretch>
              <a:fillRect/>
            </a:stretch>
          </p:blipFill>
          <p:spPr>
            <a:xfrm>
              <a:off x="464460" y="178311"/>
              <a:ext cx="144475" cy="141744"/>
            </a:xfrm>
            <a:prstGeom prst="rect">
              <a:avLst/>
            </a:prstGeom>
          </p:spPr>
        </p:pic>
        <p:pic>
          <p:nvPicPr>
            <p:cNvPr id="6" name="object 6"/>
            <p:cNvPicPr/>
            <p:nvPr/>
          </p:nvPicPr>
          <p:blipFill>
            <a:blip r:embed="rId4" cstate="print"/>
            <a:stretch>
              <a:fillRect/>
            </a:stretch>
          </p:blipFill>
          <p:spPr>
            <a:xfrm>
              <a:off x="830875" y="210381"/>
              <a:ext cx="76250" cy="73393"/>
            </a:xfrm>
            <a:prstGeom prst="rect">
              <a:avLst/>
            </a:prstGeom>
          </p:spPr>
        </p:pic>
        <p:pic>
          <p:nvPicPr>
            <p:cNvPr id="7" name="object 7"/>
            <p:cNvPicPr/>
            <p:nvPr/>
          </p:nvPicPr>
          <p:blipFill>
            <a:blip r:embed="rId5" cstate="print"/>
            <a:stretch>
              <a:fillRect/>
            </a:stretch>
          </p:blipFill>
          <p:spPr>
            <a:xfrm>
              <a:off x="669577" y="210375"/>
              <a:ext cx="83515" cy="73444"/>
            </a:xfrm>
            <a:prstGeom prst="rect">
              <a:avLst/>
            </a:prstGeom>
          </p:spPr>
        </p:pic>
        <p:sp>
          <p:nvSpPr>
            <p:cNvPr id="8" name="object 8"/>
            <p:cNvSpPr/>
            <p:nvPr/>
          </p:nvSpPr>
          <p:spPr>
            <a:xfrm>
              <a:off x="775957" y="210337"/>
              <a:ext cx="17780" cy="73660"/>
            </a:xfrm>
            <a:custGeom>
              <a:avLst/>
              <a:gdLst/>
              <a:ahLst/>
              <a:cxnLst/>
              <a:rect l="l" t="t" r="r" b="b"/>
              <a:pathLst>
                <a:path w="17779" h="73660">
                  <a:moveTo>
                    <a:pt x="17233" y="0"/>
                  </a:moveTo>
                  <a:lnTo>
                    <a:pt x="0" y="0"/>
                  </a:lnTo>
                  <a:lnTo>
                    <a:pt x="0" y="73444"/>
                  </a:lnTo>
                  <a:lnTo>
                    <a:pt x="17233" y="73444"/>
                  </a:lnTo>
                  <a:lnTo>
                    <a:pt x="17233"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9" name="object 9"/>
            <p:cNvPicPr/>
            <p:nvPr/>
          </p:nvPicPr>
          <p:blipFill>
            <a:blip r:embed="rId6" cstate="print"/>
            <a:stretch>
              <a:fillRect/>
            </a:stretch>
          </p:blipFill>
          <p:spPr>
            <a:xfrm>
              <a:off x="953857" y="208191"/>
              <a:ext cx="76517" cy="77927"/>
            </a:xfrm>
            <a:prstGeom prst="rect">
              <a:avLst/>
            </a:prstGeom>
          </p:spPr>
        </p:pic>
        <p:pic>
          <p:nvPicPr>
            <p:cNvPr id="10" name="object 10"/>
            <p:cNvPicPr/>
            <p:nvPr/>
          </p:nvPicPr>
          <p:blipFill>
            <a:blip r:embed="rId7" cstate="print"/>
            <a:stretch>
              <a:fillRect/>
            </a:stretch>
          </p:blipFill>
          <p:spPr>
            <a:xfrm>
              <a:off x="1051401" y="210375"/>
              <a:ext cx="83502" cy="73444"/>
            </a:xfrm>
            <a:prstGeom prst="rect">
              <a:avLst/>
            </a:prstGeom>
          </p:spPr>
        </p:pic>
        <p:pic>
          <p:nvPicPr>
            <p:cNvPr id="11" name="object 11"/>
            <p:cNvPicPr/>
            <p:nvPr/>
          </p:nvPicPr>
          <p:blipFill>
            <a:blip r:embed="rId8" cstate="print"/>
            <a:stretch>
              <a:fillRect/>
            </a:stretch>
          </p:blipFill>
          <p:spPr>
            <a:xfrm>
              <a:off x="1263714" y="210375"/>
              <a:ext cx="83515" cy="73444"/>
            </a:xfrm>
            <a:prstGeom prst="rect">
              <a:avLst/>
            </a:prstGeom>
          </p:spPr>
        </p:pic>
        <p:sp>
          <p:nvSpPr>
            <p:cNvPr id="12" name="object 12"/>
            <p:cNvSpPr/>
            <p:nvPr/>
          </p:nvSpPr>
          <p:spPr>
            <a:xfrm>
              <a:off x="1465212" y="210378"/>
              <a:ext cx="83820" cy="73660"/>
            </a:xfrm>
            <a:custGeom>
              <a:avLst/>
              <a:gdLst/>
              <a:ahLst/>
              <a:cxnLst/>
              <a:rect l="l" t="t" r="r" b="b"/>
              <a:pathLst>
                <a:path w="83819" h="73660">
                  <a:moveTo>
                    <a:pt x="51739" y="0"/>
                  </a:moveTo>
                  <a:lnTo>
                    <a:pt x="32194" y="0"/>
                  </a:lnTo>
                  <a:lnTo>
                    <a:pt x="0" y="73444"/>
                  </a:lnTo>
                  <a:lnTo>
                    <a:pt x="12484" y="73444"/>
                  </a:lnTo>
                  <a:lnTo>
                    <a:pt x="21145" y="53746"/>
                  </a:lnTo>
                  <a:lnTo>
                    <a:pt x="74993" y="53746"/>
                  </a:lnTo>
                  <a:lnTo>
                    <a:pt x="70795" y="44043"/>
                  </a:lnTo>
                  <a:lnTo>
                    <a:pt x="25387" y="44043"/>
                  </a:lnTo>
                  <a:lnTo>
                    <a:pt x="38163" y="14820"/>
                  </a:lnTo>
                  <a:lnTo>
                    <a:pt x="58152" y="14820"/>
                  </a:lnTo>
                  <a:lnTo>
                    <a:pt x="51739" y="0"/>
                  </a:lnTo>
                  <a:close/>
                </a:path>
                <a:path w="83819" h="73660">
                  <a:moveTo>
                    <a:pt x="74993" y="53746"/>
                  </a:moveTo>
                  <a:lnTo>
                    <a:pt x="55041" y="53746"/>
                  </a:lnTo>
                  <a:lnTo>
                    <a:pt x="63563" y="73444"/>
                  </a:lnTo>
                  <a:lnTo>
                    <a:pt x="83515" y="73444"/>
                  </a:lnTo>
                  <a:lnTo>
                    <a:pt x="74993" y="53746"/>
                  </a:lnTo>
                  <a:close/>
                </a:path>
                <a:path w="83819" h="73660">
                  <a:moveTo>
                    <a:pt x="58152" y="14820"/>
                  </a:moveTo>
                  <a:lnTo>
                    <a:pt x="38163" y="14820"/>
                  </a:lnTo>
                  <a:lnTo>
                    <a:pt x="50825" y="44043"/>
                  </a:lnTo>
                  <a:lnTo>
                    <a:pt x="70795" y="44043"/>
                  </a:lnTo>
                  <a:lnTo>
                    <a:pt x="58152" y="1482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3" name="object 13"/>
            <p:cNvPicPr/>
            <p:nvPr/>
          </p:nvPicPr>
          <p:blipFill>
            <a:blip r:embed="rId9" cstate="print"/>
            <a:stretch>
              <a:fillRect/>
            </a:stretch>
          </p:blipFill>
          <p:spPr>
            <a:xfrm>
              <a:off x="1159389" y="210385"/>
              <a:ext cx="79794" cy="73431"/>
            </a:xfrm>
            <a:prstGeom prst="rect">
              <a:avLst/>
            </a:prstGeom>
          </p:spPr>
        </p:pic>
        <p:sp>
          <p:nvSpPr>
            <p:cNvPr id="14" name="object 14"/>
            <p:cNvSpPr/>
            <p:nvPr/>
          </p:nvSpPr>
          <p:spPr>
            <a:xfrm>
              <a:off x="1371429" y="210384"/>
              <a:ext cx="75565" cy="73660"/>
            </a:xfrm>
            <a:custGeom>
              <a:avLst/>
              <a:gdLst/>
              <a:ahLst/>
              <a:cxnLst/>
              <a:rect l="l" t="t" r="r" b="b"/>
              <a:pathLst>
                <a:path w="75565" h="73660">
                  <a:moveTo>
                    <a:pt x="35547" y="0"/>
                  </a:moveTo>
                  <a:lnTo>
                    <a:pt x="0" y="0"/>
                  </a:lnTo>
                  <a:lnTo>
                    <a:pt x="0" y="73393"/>
                  </a:lnTo>
                  <a:lnTo>
                    <a:pt x="33858" y="73393"/>
                  </a:lnTo>
                  <a:lnTo>
                    <a:pt x="43015" y="72798"/>
                  </a:lnTo>
                  <a:lnTo>
                    <a:pt x="51111" y="70953"/>
                  </a:lnTo>
                  <a:lnTo>
                    <a:pt x="58139" y="67847"/>
                  </a:lnTo>
                  <a:lnTo>
                    <a:pt x="64096" y="63474"/>
                  </a:lnTo>
                  <a:lnTo>
                    <a:pt x="64523" y="62979"/>
                  </a:lnTo>
                  <a:lnTo>
                    <a:pt x="38874" y="62979"/>
                  </a:lnTo>
                  <a:lnTo>
                    <a:pt x="17183" y="62941"/>
                  </a:lnTo>
                  <a:lnTo>
                    <a:pt x="17183" y="10007"/>
                  </a:lnTo>
                  <a:lnTo>
                    <a:pt x="65586" y="10007"/>
                  </a:lnTo>
                  <a:lnTo>
                    <a:pt x="64846" y="9169"/>
                  </a:lnTo>
                  <a:lnTo>
                    <a:pt x="59207" y="5186"/>
                  </a:lnTo>
                  <a:lnTo>
                    <a:pt x="52444" y="2317"/>
                  </a:lnTo>
                  <a:lnTo>
                    <a:pt x="44557" y="582"/>
                  </a:lnTo>
                  <a:lnTo>
                    <a:pt x="35547" y="0"/>
                  </a:lnTo>
                  <a:close/>
                </a:path>
                <a:path w="75565" h="73660">
                  <a:moveTo>
                    <a:pt x="65586" y="10007"/>
                  </a:moveTo>
                  <a:lnTo>
                    <a:pt x="17183" y="10007"/>
                  </a:lnTo>
                  <a:lnTo>
                    <a:pt x="34188" y="10058"/>
                  </a:lnTo>
                  <a:lnTo>
                    <a:pt x="39179" y="10693"/>
                  </a:lnTo>
                  <a:lnTo>
                    <a:pt x="46088" y="13131"/>
                  </a:lnTo>
                  <a:lnTo>
                    <a:pt x="49009" y="15379"/>
                  </a:lnTo>
                  <a:lnTo>
                    <a:pt x="54978" y="23240"/>
                  </a:lnTo>
                  <a:lnTo>
                    <a:pt x="56730" y="29095"/>
                  </a:lnTo>
                  <a:lnTo>
                    <a:pt x="56680" y="45161"/>
                  </a:lnTo>
                  <a:lnTo>
                    <a:pt x="54483" y="51904"/>
                  </a:lnTo>
                  <a:lnTo>
                    <a:pt x="49999" y="56349"/>
                  </a:lnTo>
                  <a:lnTo>
                    <a:pt x="45580" y="60782"/>
                  </a:lnTo>
                  <a:lnTo>
                    <a:pt x="38874" y="62979"/>
                  </a:lnTo>
                  <a:lnTo>
                    <a:pt x="64523" y="62979"/>
                  </a:lnTo>
                  <a:lnTo>
                    <a:pt x="68833" y="57972"/>
                  </a:lnTo>
                  <a:lnTo>
                    <a:pt x="72226" y="51436"/>
                  </a:lnTo>
                  <a:lnTo>
                    <a:pt x="74278" y="43873"/>
                  </a:lnTo>
                  <a:lnTo>
                    <a:pt x="74993" y="35293"/>
                  </a:lnTo>
                  <a:lnTo>
                    <a:pt x="74370" y="27289"/>
                  </a:lnTo>
                  <a:lnTo>
                    <a:pt x="72477" y="20259"/>
                  </a:lnTo>
                  <a:lnTo>
                    <a:pt x="69305" y="14215"/>
                  </a:lnTo>
                  <a:lnTo>
                    <a:pt x="65586" y="10007"/>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5" name="object 15"/>
          <p:cNvSpPr txBox="1"/>
          <p:nvPr/>
        </p:nvSpPr>
        <p:spPr>
          <a:xfrm>
            <a:off x="6152030" y="153081"/>
            <a:ext cx="3934385" cy="1116490"/>
          </a:xfrm>
          <a:prstGeom prst="rect">
            <a:avLst/>
          </a:prstGeom>
        </p:spPr>
        <p:txBody>
          <a:bodyPr vert="horz" wrap="square" lIns="0" tIns="11206" rIns="0" bIns="0" rtlCol="0">
            <a:spAutoFit/>
          </a:bodyPr>
          <a:lstStyle/>
          <a:p>
            <a:pPr marL="2510252" marR="0" lvl="0" indent="0" algn="l" defTabSz="806867" rtl="0" eaLnBrk="1" fontAlgn="auto" latinLnBrk="0" hangingPunct="1">
              <a:lnSpc>
                <a:spcPct val="100000"/>
              </a:lnSpc>
              <a:spcBef>
                <a:spcPts val="88"/>
              </a:spcBef>
              <a:spcAft>
                <a:spcPts val="0"/>
              </a:spcAft>
              <a:buClrTx/>
              <a:buSzTx/>
              <a:buFontTx/>
              <a:buNone/>
              <a:tabLst>
                <a:tab pos="3660036" algn="l"/>
              </a:tabLst>
              <a:defRPr/>
            </a:pPr>
            <a:r>
              <a:rPr kumimoji="0" sz="706" b="1" i="0" u="none" strike="noStrike" kern="0" cap="none" spc="0" normalizeH="0" baseline="0" noProof="0">
                <a:ln>
                  <a:noFill/>
                </a:ln>
                <a:solidFill>
                  <a:sysClr val="windowText" lastClr="000000"/>
                </a:solidFill>
                <a:effectLst/>
                <a:uLnTx/>
                <a:uFillTx/>
                <a:latin typeface="Calibri"/>
                <a:ea typeface="+mn-ea"/>
                <a:cs typeface="Calibri"/>
              </a:rPr>
              <a:t>Overview</a:t>
            </a:r>
            <a:r>
              <a:rPr kumimoji="0" sz="706" b="1" i="0" u="none" strike="noStrike" kern="0" cap="none" spc="216" normalizeH="0" baseline="0" noProof="0">
                <a:ln>
                  <a:noFill/>
                </a:ln>
                <a:solidFill>
                  <a:sysClr val="windowText" lastClr="000000"/>
                </a:solidFill>
                <a:effectLst/>
                <a:uLnTx/>
                <a:uFillTx/>
                <a:latin typeface="Calibri"/>
                <a:ea typeface="+mn-ea"/>
                <a:cs typeface="Calibri"/>
              </a:rPr>
              <a:t> </a:t>
            </a:r>
            <a:r>
              <a:rPr kumimoji="0" sz="706" b="0" i="0" u="none" strike="noStrike" kern="0" cap="none" spc="-44" normalizeH="0" baseline="0" noProof="0">
                <a:ln>
                  <a:noFill/>
                </a:ln>
                <a:solidFill>
                  <a:sysClr val="windowText" lastClr="000000"/>
                </a:solidFill>
                <a:effectLst/>
                <a:uLnTx/>
                <a:uFillTx/>
                <a:latin typeface="Calibri"/>
                <a:ea typeface="+mn-ea"/>
                <a:cs typeface="Calibri"/>
              </a:rPr>
              <a:t>|</a:t>
            </a:r>
            <a:r>
              <a:rPr kumimoji="0" sz="706" b="0" i="0" u="none" strike="noStrike" kern="0" cap="none" spc="221" normalizeH="0" baseline="0" noProof="0">
                <a:ln>
                  <a:noFill/>
                </a:ln>
                <a:solidFill>
                  <a:sysClr val="windowText" lastClr="000000"/>
                </a:solidFill>
                <a:effectLst/>
                <a:uLnTx/>
                <a:uFillTx/>
                <a:latin typeface="Calibri"/>
                <a:ea typeface="+mn-ea"/>
                <a:cs typeface="Calibri"/>
              </a:rPr>
              <a:t> </a:t>
            </a:r>
            <a:r>
              <a:rPr kumimoji="0" sz="706" b="0" i="0" u="none" strike="noStrike" kern="0" cap="none" spc="0" normalizeH="0" baseline="0" noProof="0">
                <a:ln>
                  <a:noFill/>
                </a:ln>
                <a:solidFill>
                  <a:sysClr val="windowText" lastClr="000000"/>
                </a:solidFill>
                <a:effectLst/>
                <a:uLnTx/>
                <a:uFillTx/>
                <a:latin typeface="Calibri"/>
                <a:ea typeface="+mn-ea"/>
                <a:cs typeface="Calibri"/>
              </a:rPr>
              <a:t>MARCH</a:t>
            </a:r>
            <a:r>
              <a:rPr kumimoji="0" sz="706" b="0" i="0" u="none" strike="noStrike" kern="0" cap="none" spc="26" normalizeH="0" baseline="0" noProof="0">
                <a:ln>
                  <a:noFill/>
                </a:ln>
                <a:solidFill>
                  <a:sysClr val="windowText" lastClr="000000"/>
                </a:solidFill>
                <a:effectLst/>
                <a:uLnTx/>
                <a:uFillTx/>
                <a:latin typeface="Calibri"/>
                <a:ea typeface="+mn-ea"/>
                <a:cs typeface="Calibri"/>
              </a:rPr>
              <a:t> </a:t>
            </a:r>
            <a:r>
              <a:rPr kumimoji="0" sz="706" b="0" i="0" u="none" strike="noStrike" kern="0" cap="none" spc="-18" normalizeH="0" baseline="0" noProof="0">
                <a:ln>
                  <a:noFill/>
                </a:ln>
                <a:solidFill>
                  <a:sysClr val="windowText" lastClr="000000"/>
                </a:solidFill>
                <a:effectLst/>
                <a:uLnTx/>
                <a:uFillTx/>
                <a:latin typeface="Calibri"/>
                <a:ea typeface="+mn-ea"/>
                <a:cs typeface="Calibri"/>
              </a:rPr>
              <a:t>2022</a:t>
            </a:r>
            <a:r>
              <a:rPr kumimoji="0" sz="706" b="0" i="0" u="none" strike="noStrike" kern="0" cap="none" spc="0" normalizeH="0" baseline="0" noProof="0">
                <a:ln>
                  <a:noFill/>
                </a:ln>
                <a:solidFill>
                  <a:sysClr val="windowText" lastClr="000000"/>
                </a:solidFill>
                <a:effectLst/>
                <a:uLnTx/>
                <a:uFillTx/>
                <a:latin typeface="Calibri"/>
                <a:ea typeface="+mn-ea"/>
                <a:cs typeface="Calibri"/>
              </a:rPr>
              <a:t>	</a:t>
            </a:r>
            <a:r>
              <a:rPr kumimoji="0" sz="706" b="1" i="0" u="none" strike="noStrike" kern="0" cap="none" spc="-44" normalizeH="0" baseline="0" noProof="0">
                <a:ln>
                  <a:noFill/>
                </a:ln>
                <a:solidFill>
                  <a:sysClr val="windowText" lastClr="000000"/>
                </a:solidFill>
                <a:effectLst/>
                <a:uLnTx/>
                <a:uFillTx/>
                <a:latin typeface="Calibri"/>
                <a:ea typeface="+mn-ea"/>
                <a:cs typeface="Calibri"/>
              </a:rPr>
              <a:t>5</a:t>
            </a:r>
            <a:endParaRPr kumimoji="0" sz="706"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806867" rtl="0" eaLnBrk="1" fontAlgn="auto" latinLnBrk="0" hangingPunct="1">
              <a:lnSpc>
                <a:spcPct val="100000"/>
              </a:lnSpc>
              <a:spcBef>
                <a:spcPts val="0"/>
              </a:spcBef>
              <a:spcAft>
                <a:spcPts val="0"/>
              </a:spcAft>
              <a:buClrTx/>
              <a:buSzTx/>
              <a:buFontTx/>
              <a:buNone/>
              <a:tabLst/>
              <a:defRPr/>
            </a:pPr>
            <a:endParaRPr kumimoji="0" sz="114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ct val="100000"/>
              </a:lnSpc>
              <a:spcBef>
                <a:spcPts val="0"/>
              </a:spcBef>
              <a:spcAft>
                <a:spcPts val="0"/>
              </a:spcAft>
              <a:buClrTx/>
              <a:buSzTx/>
              <a:buFontTx/>
              <a:buNone/>
              <a:tabLst/>
              <a:defRPr/>
            </a:pPr>
            <a:r>
              <a:rPr kumimoji="0" sz="1412" b="1" i="0" u="none" strike="noStrike" kern="0" cap="none" spc="0" normalizeH="0" baseline="0" noProof="0">
                <a:ln>
                  <a:noFill/>
                </a:ln>
                <a:solidFill>
                  <a:sysClr val="windowText" lastClr="000000"/>
                </a:solidFill>
                <a:effectLst/>
                <a:uLnTx/>
                <a:uFillTx/>
                <a:latin typeface="Calibri"/>
                <a:ea typeface="+mn-ea"/>
                <a:cs typeface="Calibri"/>
              </a:rPr>
              <a:t>Principal</a:t>
            </a:r>
            <a:r>
              <a:rPr kumimoji="0" sz="1412" b="1" i="0" u="none" strike="noStrike" kern="0" cap="none" spc="247" normalizeH="0" baseline="0" noProof="0">
                <a:ln>
                  <a:noFill/>
                </a:ln>
                <a:solidFill>
                  <a:sysClr val="windowText" lastClr="000000"/>
                </a:solidFill>
                <a:effectLst/>
                <a:uLnTx/>
                <a:uFillTx/>
                <a:latin typeface="Calibri"/>
                <a:ea typeface="+mn-ea"/>
                <a:cs typeface="Calibri"/>
              </a:rPr>
              <a:t> </a:t>
            </a:r>
            <a:r>
              <a:rPr kumimoji="0" sz="1412" b="1" i="0" u="none" strike="noStrike" kern="0" cap="none" spc="44" normalizeH="0" baseline="0" noProof="0">
                <a:ln>
                  <a:noFill/>
                </a:ln>
                <a:solidFill>
                  <a:sysClr val="windowText" lastClr="000000"/>
                </a:solidFill>
                <a:effectLst/>
                <a:uLnTx/>
                <a:uFillTx/>
                <a:latin typeface="Calibri"/>
                <a:ea typeface="+mn-ea"/>
                <a:cs typeface="Calibri"/>
              </a:rPr>
              <a:t>Hubs</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282"/>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s thre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ubs, </a:t>
            </a:r>
            <a:r>
              <a:rPr kumimoji="0" sz="927" b="0" i="0" u="none" strike="noStrike" kern="0" cap="none" spc="-9" normalizeH="0" baseline="0" noProof="0">
                <a:ln>
                  <a:noFill/>
                </a:ln>
                <a:solidFill>
                  <a:sysClr val="windowText" lastClr="000000"/>
                </a:solidFill>
                <a:effectLst/>
                <a:uLnTx/>
                <a:uFillTx/>
                <a:latin typeface="Calibri"/>
                <a:ea typeface="+mn-ea"/>
                <a:cs typeface="Calibri"/>
              </a:rPr>
              <a:t>Toronto</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66" normalizeH="0" baseline="0" noProof="0">
                <a:ln>
                  <a:noFill/>
                </a:ln>
                <a:solidFill>
                  <a:sysClr val="windowText" lastClr="000000"/>
                </a:solidFill>
                <a:effectLst/>
                <a:uLnTx/>
                <a:uFillTx/>
                <a:latin typeface="Calibri"/>
                <a:ea typeface="+mn-ea"/>
                <a:cs typeface="Calibri"/>
              </a:rPr>
              <a:t>(</a:t>
            </a:r>
            <a:r>
              <a:rPr kumimoji="0" sz="927" b="1" i="0" u="none" strike="noStrike" kern="0" cap="none" spc="66" normalizeH="0" baseline="0" noProof="0">
                <a:ln>
                  <a:noFill/>
                </a:ln>
                <a:solidFill>
                  <a:sysClr val="windowText" lastClr="000000"/>
                </a:solidFill>
                <a:effectLst/>
                <a:uLnTx/>
                <a:uFillTx/>
                <a:latin typeface="Calibri"/>
                <a:ea typeface="+mn-ea"/>
                <a:cs typeface="Calibri"/>
              </a:rPr>
              <a:t>YYZ</a:t>
            </a:r>
            <a:r>
              <a:rPr kumimoji="0" sz="927" b="0" i="0" u="none" strike="noStrike" kern="0" cap="none" spc="66" normalizeH="0" baseline="0" noProof="0">
                <a:ln>
                  <a:noFill/>
                </a:ln>
                <a:solidFill>
                  <a:sysClr val="windowText" lastClr="000000"/>
                </a:solidFill>
                <a:effectLst/>
                <a:uLnTx/>
                <a:uFillTx/>
                <a:latin typeface="Calibri"/>
                <a:ea typeface="+mn-ea"/>
                <a:cs typeface="Calibri"/>
              </a:rPr>
              <a:t>),</a:t>
            </a:r>
            <a:r>
              <a:rPr kumimoji="0" sz="927" b="0" i="0" u="none" strike="noStrike" kern="0" cap="none" spc="0" normalizeH="0" baseline="0" noProof="0">
                <a:ln>
                  <a:noFill/>
                </a:ln>
                <a:solidFill>
                  <a:sysClr val="windowText" lastClr="000000"/>
                </a:solidFill>
                <a:effectLst/>
                <a:uLnTx/>
                <a:uFillTx/>
                <a:latin typeface="Calibri"/>
                <a:ea typeface="+mn-ea"/>
                <a:cs typeface="Calibri"/>
              </a:rPr>
              <a:t> 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rimary globa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hub,</a:t>
            </a:r>
            <a:r>
              <a:rPr kumimoji="0" sz="927" b="0" i="0" u="none" strike="noStrike" kern="0" cap="none" spc="0"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Montrea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t>
            </a:r>
            <a:r>
              <a:rPr kumimoji="0" sz="927" b="1" i="0" u="none" strike="noStrike" kern="0" cap="none" spc="-9" normalizeH="0" baseline="0" noProof="0">
                <a:ln>
                  <a:noFill/>
                </a:ln>
                <a:solidFill>
                  <a:sysClr val="windowText" lastClr="000000"/>
                </a:solidFill>
                <a:effectLst/>
                <a:uLnTx/>
                <a:uFillTx/>
                <a:latin typeface="Calibri"/>
                <a:ea typeface="+mn-ea"/>
                <a:cs typeface="Calibri"/>
              </a:rPr>
              <a:t>YUL</a:t>
            </a:r>
            <a:r>
              <a:rPr kumimoji="0" sz="927" b="0" i="0" u="none" strike="noStrike" kern="0" cap="none" spc="-9" normalizeH="0" baseline="0" noProof="0">
                <a:ln>
                  <a:noFill/>
                </a:ln>
                <a:solidFill>
                  <a:sysClr val="windowText" lastClr="000000"/>
                </a:solidFill>
                <a:effectLst/>
                <a:uLnTx/>
                <a:uFillTx/>
                <a:latin typeface="Calibri"/>
                <a:ea typeface="+mn-ea"/>
                <a:cs typeface="Calibri"/>
              </a:rPr>
              <a:t>),</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rincipal</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gateway</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rench</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the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ternational</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arket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Vancouver</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07356"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44" normalizeH="0" baseline="0" noProof="0">
                <a:ln>
                  <a:noFill/>
                </a:ln>
                <a:solidFill>
                  <a:sysClr val="windowText" lastClr="000000"/>
                </a:solidFill>
                <a:effectLst/>
                <a:uLnTx/>
                <a:uFillTx/>
                <a:latin typeface="Calibri"/>
                <a:ea typeface="+mn-ea"/>
                <a:cs typeface="Calibri"/>
              </a:rPr>
              <a:t>(</a:t>
            </a:r>
            <a:r>
              <a:rPr kumimoji="0" sz="927" b="1" i="0" u="none" strike="noStrike" kern="0" cap="none" spc="44" normalizeH="0" baseline="0" noProof="0">
                <a:ln>
                  <a:noFill/>
                </a:ln>
                <a:solidFill>
                  <a:sysClr val="windowText" lastClr="000000"/>
                </a:solidFill>
                <a:effectLst/>
                <a:uLnTx/>
                <a:uFillTx/>
                <a:latin typeface="Calibri"/>
                <a:ea typeface="+mn-ea"/>
                <a:cs typeface="Calibri"/>
              </a:rPr>
              <a:t>YVR</a:t>
            </a:r>
            <a:r>
              <a:rPr kumimoji="0" sz="927" b="0" i="0" u="none" strike="noStrike" kern="0" cap="none" spc="44" normalizeH="0" baseline="0" noProof="0">
                <a:ln>
                  <a:noFill/>
                </a:ln>
                <a:solidFill>
                  <a:sysClr val="windowText" lastClr="000000"/>
                </a:solidFill>
                <a:effectLst/>
                <a:uLnTx/>
                <a:uFillTx/>
                <a:latin typeface="Calibri"/>
                <a:ea typeface="+mn-ea"/>
                <a:cs typeface="Calibri"/>
              </a:rPr>
              <a:t>),</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irline’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remie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gateway</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ia-Pacific,</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ffe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anada </a:t>
            </a:r>
            <a:r>
              <a:rPr kumimoji="0" sz="927" b="0" i="0" u="none" strike="noStrike" kern="0" cap="none" spc="0" normalizeH="0" baseline="0" noProof="0">
                <a:ln>
                  <a:noFill/>
                </a:ln>
                <a:solidFill>
                  <a:sysClr val="windowText" lastClr="000000"/>
                </a:solidFill>
                <a:effectLst/>
                <a:uLnTx/>
                <a:uFillTx/>
                <a:latin typeface="Calibri"/>
                <a:ea typeface="+mn-ea"/>
                <a:cs typeface="Calibri"/>
              </a:rPr>
              <a:t>customer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onvenient </a:t>
            </a:r>
            <a:r>
              <a:rPr kumimoji="0" sz="927" b="0" i="0" u="none" strike="noStrike" kern="0" cap="none" spc="0" normalizeH="0" baseline="0" noProof="0">
                <a:ln>
                  <a:noFill/>
                </a:ln>
                <a:solidFill>
                  <a:sysClr val="windowText" lastClr="000000"/>
                </a:solidFill>
                <a:effectLst/>
                <a:uLnTx/>
                <a:uFillTx/>
                <a:latin typeface="Calibri"/>
                <a:ea typeface="+mn-ea"/>
                <a:cs typeface="Calibri"/>
              </a:rPr>
              <a:t>connection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unde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roof.</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6" name="Footer Placeholder 15">
            <a:extLst>
              <a:ext uri="{FF2B5EF4-FFF2-40B4-BE49-F238E27FC236}">
                <a16:creationId xmlns:a16="http://schemas.microsoft.com/office/drawing/2014/main" id="{63EAE654-C3D5-F972-DD04-A1D63A054D29}"/>
              </a:ext>
            </a:extLst>
          </p:cNvPr>
          <p:cNvSpPr>
            <a:spLocks noGrp="1"/>
          </p:cNvSpPr>
          <p:nvPr>
            <p:ph type="ftr" sz="quarter" idx="5"/>
          </p:nvPr>
        </p:nvSpPr>
        <p:spPr/>
        <p:txBody>
          <a:bodyPr/>
          <a:lstStyle/>
          <a:p>
            <a:r>
              <a:rPr lang="en-CA"/>
              <a:t>Priveledged and Confidential</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58471" y="0"/>
            <a:ext cx="8875059" cy="6858000"/>
            <a:chOff x="0" y="0"/>
            <a:chExt cx="10058400" cy="7772400"/>
          </a:xfrm>
        </p:grpSpPr>
        <p:pic>
          <p:nvPicPr>
            <p:cNvPr id="3" name="object 3"/>
            <p:cNvPicPr/>
            <p:nvPr/>
          </p:nvPicPr>
          <p:blipFill>
            <a:blip r:embed="rId2" cstate="print"/>
            <a:stretch>
              <a:fillRect/>
            </a:stretch>
          </p:blipFill>
          <p:spPr>
            <a:xfrm>
              <a:off x="0" y="0"/>
              <a:ext cx="10058400" cy="4165600"/>
            </a:xfrm>
            <a:prstGeom prst="rect">
              <a:avLst/>
            </a:prstGeom>
          </p:spPr>
        </p:pic>
        <p:sp>
          <p:nvSpPr>
            <p:cNvPr id="4" name="object 4"/>
            <p:cNvSpPr/>
            <p:nvPr/>
          </p:nvSpPr>
          <p:spPr>
            <a:xfrm>
              <a:off x="0" y="0"/>
              <a:ext cx="10058400" cy="4165600"/>
            </a:xfrm>
            <a:custGeom>
              <a:avLst/>
              <a:gdLst/>
              <a:ahLst/>
              <a:cxnLst/>
              <a:rect l="l" t="t" r="r" b="b"/>
              <a:pathLst>
                <a:path w="10058400" h="4165600">
                  <a:moveTo>
                    <a:pt x="10058400" y="0"/>
                  </a:moveTo>
                  <a:lnTo>
                    <a:pt x="0" y="0"/>
                  </a:lnTo>
                  <a:lnTo>
                    <a:pt x="0" y="4165600"/>
                  </a:lnTo>
                  <a:lnTo>
                    <a:pt x="10058400" y="4165600"/>
                  </a:lnTo>
                  <a:lnTo>
                    <a:pt x="10058400" y="0"/>
                  </a:lnTo>
                  <a:close/>
                </a:path>
              </a:pathLst>
            </a:custGeom>
            <a:solidFill>
              <a:srgbClr val="262626"/>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 name="object 5"/>
            <p:cNvPicPr/>
            <p:nvPr/>
          </p:nvPicPr>
          <p:blipFill>
            <a:blip r:embed="rId3" cstate="print"/>
            <a:stretch>
              <a:fillRect/>
            </a:stretch>
          </p:blipFill>
          <p:spPr>
            <a:xfrm>
              <a:off x="0" y="3962400"/>
              <a:ext cx="10058400" cy="3810000"/>
            </a:xfrm>
            <a:prstGeom prst="rect">
              <a:avLst/>
            </a:prstGeom>
          </p:spPr>
        </p:pic>
      </p:grpSp>
      <p:sp>
        <p:nvSpPr>
          <p:cNvPr id="6" name="object 6"/>
          <p:cNvSpPr txBox="1"/>
          <p:nvPr/>
        </p:nvSpPr>
        <p:spPr>
          <a:xfrm>
            <a:off x="2057083" y="399547"/>
            <a:ext cx="2505635" cy="2691962"/>
          </a:xfrm>
          <a:prstGeom prst="rect">
            <a:avLst/>
          </a:prstGeom>
        </p:spPr>
        <p:txBody>
          <a:bodyPr vert="horz" wrap="square" lIns="0" tIns="50426" rIns="0" bIns="0" rtlCol="0">
            <a:spAutoFit/>
          </a:bodyPr>
          <a:lstStyle/>
          <a:p>
            <a:pPr marL="11206" marR="0" lvl="0" indent="0" algn="l" defTabSz="806867" rtl="0" eaLnBrk="1" fontAlgn="auto" latinLnBrk="0" hangingPunct="1">
              <a:lnSpc>
                <a:spcPct val="100000"/>
              </a:lnSpc>
              <a:spcBef>
                <a:spcPts val="397"/>
              </a:spcBef>
              <a:spcAft>
                <a:spcPts val="0"/>
              </a:spcAft>
              <a:buClrTx/>
              <a:buSzTx/>
              <a:buFontTx/>
              <a:buNone/>
              <a:tabLst/>
              <a:defRPr/>
            </a:pPr>
            <a:r>
              <a:rPr kumimoji="0" sz="1412" b="1" i="0" u="none" strike="noStrike" kern="0" cap="none" spc="0" normalizeH="0" baseline="0" noProof="0">
                <a:ln>
                  <a:noFill/>
                </a:ln>
                <a:solidFill>
                  <a:srgbClr val="B79A81"/>
                </a:solidFill>
                <a:effectLst/>
                <a:uLnTx/>
                <a:uFillTx/>
                <a:latin typeface="Calibri"/>
                <a:ea typeface="+mn-ea"/>
                <a:cs typeface="Calibri"/>
              </a:rPr>
              <a:t>Premium</a:t>
            </a:r>
            <a:r>
              <a:rPr kumimoji="0" sz="1412" b="1" i="0" u="none" strike="noStrike" kern="0" cap="none" spc="159" normalizeH="0" baseline="0" noProof="0">
                <a:ln>
                  <a:noFill/>
                </a:ln>
                <a:solidFill>
                  <a:srgbClr val="B79A81"/>
                </a:solidFill>
                <a:effectLst/>
                <a:uLnTx/>
                <a:uFillTx/>
                <a:latin typeface="Calibri"/>
                <a:ea typeface="+mn-ea"/>
                <a:cs typeface="Calibri"/>
              </a:rPr>
              <a:t> </a:t>
            </a:r>
            <a:r>
              <a:rPr kumimoji="0" sz="1412" b="1" i="0" u="none" strike="noStrike" kern="0" cap="none" spc="44" normalizeH="0" baseline="0" noProof="0">
                <a:ln>
                  <a:noFill/>
                </a:ln>
                <a:solidFill>
                  <a:srgbClr val="B79A81"/>
                </a:solidFill>
                <a:effectLst/>
                <a:uLnTx/>
                <a:uFillTx/>
                <a:latin typeface="Calibri"/>
                <a:ea typeface="+mn-ea"/>
                <a:cs typeface="Calibri"/>
              </a:rPr>
              <a:t>Offerings</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1206" marR="178183" lvl="0" indent="0" algn="l" defTabSz="806867" rtl="0" eaLnBrk="1" fontAlgn="auto" latinLnBrk="0" hangingPunct="1">
              <a:lnSpc>
                <a:spcPts val="1059"/>
              </a:lnSpc>
              <a:spcBef>
                <a:spcPts val="282"/>
              </a:spcBef>
              <a:spcAft>
                <a:spcPts val="0"/>
              </a:spcAft>
              <a:buClrTx/>
              <a:buSzTx/>
              <a:buFontTx/>
              <a:buNone/>
              <a:tabLst/>
              <a:defRPr/>
            </a:pPr>
            <a:r>
              <a:rPr kumimoji="0" sz="927" b="1" i="0" u="none" strike="noStrike" kern="0" cap="none" spc="0" normalizeH="0" baseline="0" noProof="0">
                <a:ln>
                  <a:noFill/>
                </a:ln>
                <a:solidFill>
                  <a:srgbClr val="FFFFFF"/>
                </a:solidFill>
                <a:effectLst/>
                <a:uLnTx/>
                <a:uFillTx/>
                <a:latin typeface="Calibri"/>
                <a:ea typeface="+mn-ea"/>
                <a:cs typeface="Calibri"/>
              </a:rPr>
              <a:t>Air</a:t>
            </a:r>
            <a:r>
              <a:rPr kumimoji="0" sz="927" b="1" i="0" u="none" strike="noStrike" kern="0" cap="none" spc="137"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Canada</a:t>
            </a:r>
            <a:r>
              <a:rPr kumimoji="0" sz="927" b="1" i="0" u="none" strike="noStrike" kern="0" cap="none" spc="141"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Signature</a:t>
            </a:r>
            <a:r>
              <a:rPr kumimoji="0" sz="927" b="1" i="0" u="none" strike="noStrike" kern="0" cap="none" spc="141"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Service</a:t>
            </a:r>
            <a:r>
              <a:rPr kumimoji="0" sz="927" b="1" i="0" u="none" strike="noStrike" kern="0" cap="none" spc="16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s</a:t>
            </a:r>
            <a:r>
              <a:rPr kumimoji="0" sz="927" b="0" i="0" u="none" strike="noStrike" kern="0" cap="none" spc="16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a:t>
            </a:r>
            <a:r>
              <a:rPr kumimoji="0" sz="927" b="0" i="0" u="none" strike="noStrike" kern="0" cap="none" spc="16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end-</a:t>
            </a:r>
            <a:r>
              <a:rPr kumimoji="0" sz="927" b="0" i="0" u="none" strike="noStrike" kern="0" cap="none" spc="-22" normalizeH="0" baseline="0" noProof="0">
                <a:ln>
                  <a:noFill/>
                </a:ln>
                <a:solidFill>
                  <a:srgbClr val="FFFFFF"/>
                </a:solidFill>
                <a:effectLst/>
                <a:uLnTx/>
                <a:uFillTx/>
                <a:latin typeface="Calibri"/>
                <a:ea typeface="+mn-ea"/>
                <a:cs typeface="Calibri"/>
              </a:rPr>
              <a:t>to- </a:t>
            </a:r>
            <a:r>
              <a:rPr kumimoji="0" sz="927" b="0" i="0" u="none" strike="noStrike" kern="0" cap="none" spc="0" normalizeH="0" baseline="0" noProof="0">
                <a:ln>
                  <a:noFill/>
                </a:ln>
                <a:solidFill>
                  <a:srgbClr val="FFFFFF"/>
                </a:solidFill>
                <a:effectLst/>
                <a:uLnTx/>
                <a:uFillTx/>
                <a:latin typeface="Calibri"/>
                <a:ea typeface="+mn-ea"/>
                <a:cs typeface="Calibri"/>
              </a:rPr>
              <a:t>end</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premium</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rvic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with</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lie-flat</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ats,</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access </a:t>
            </a:r>
            <a:r>
              <a:rPr kumimoji="0" sz="927" b="0" i="0" u="none" strike="noStrike" kern="0" cap="none" spc="0" normalizeH="0" baseline="0" noProof="0">
                <a:ln>
                  <a:noFill/>
                </a:ln>
                <a:solidFill>
                  <a:srgbClr val="FFFFFF"/>
                </a:solidFill>
                <a:effectLst/>
                <a:uLnTx/>
                <a:uFillTx/>
                <a:latin typeface="Calibri"/>
                <a:ea typeface="+mn-ea"/>
                <a:cs typeface="Calibri"/>
              </a:rPr>
              <a:t>to airport concierg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rvices at</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any </a:t>
            </a:r>
            <a:r>
              <a:rPr kumimoji="0" sz="927" b="0" i="0" u="none" strike="noStrike" kern="0" cap="none" spc="-9" normalizeH="0" baseline="0" noProof="0">
                <a:ln>
                  <a:noFill/>
                </a:ln>
                <a:solidFill>
                  <a:srgbClr val="FFFFFF"/>
                </a:solidFill>
                <a:effectLst/>
                <a:uLnTx/>
                <a:uFillTx/>
                <a:latin typeface="Calibri"/>
                <a:ea typeface="+mn-ea"/>
                <a:cs typeface="Calibri"/>
              </a:rPr>
              <a:t>airports, </a:t>
            </a:r>
            <a:r>
              <a:rPr kumimoji="0" sz="927" b="0" i="0" u="none" strike="noStrike" kern="0" cap="none" spc="0" normalizeH="0" baseline="0" noProof="0">
                <a:ln>
                  <a:noFill/>
                </a:ln>
                <a:solidFill>
                  <a:srgbClr val="FFFFFF"/>
                </a:solidFill>
                <a:effectLst/>
                <a:uLnTx/>
                <a:uFillTx/>
                <a:latin typeface="Calibri"/>
                <a:ea typeface="+mn-ea"/>
                <a:cs typeface="Calibri"/>
              </a:rPr>
              <a:t>expedited check-in and</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curity </a:t>
            </a:r>
            <a:r>
              <a:rPr kumimoji="0" sz="927" b="0" i="0" u="none" strike="noStrike" kern="0" cap="none" spc="-9" normalizeH="0" baseline="0" noProof="0">
                <a:ln>
                  <a:noFill/>
                </a:ln>
                <a:solidFill>
                  <a:srgbClr val="FFFFFF"/>
                </a:solidFill>
                <a:effectLst/>
                <a:uLnTx/>
                <a:uFillTx/>
                <a:latin typeface="Calibri"/>
                <a:ea typeface="+mn-ea"/>
                <a:cs typeface="Calibri"/>
              </a:rPr>
              <a:t>clearance (wher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available),</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priority</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baggag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handling</a:t>
            </a:r>
            <a:r>
              <a:rPr kumimoji="0" sz="927" b="0" i="0" u="none" strike="noStrike" kern="0" cap="none" spc="441"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preferential</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boarding.</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ustomer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lso</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18" normalizeH="0" baseline="0" noProof="0">
                <a:ln>
                  <a:noFill/>
                </a:ln>
                <a:solidFill>
                  <a:srgbClr val="FFFFFF"/>
                </a:solidFill>
                <a:effectLst/>
                <a:uLnTx/>
                <a:uFillTx/>
                <a:latin typeface="Calibri"/>
                <a:ea typeface="+mn-ea"/>
                <a:cs typeface="Calibri"/>
              </a:rPr>
              <a:t>enjoy</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rgbClr val="FFFFFF"/>
                </a:solidFill>
                <a:effectLst/>
                <a:uLnTx/>
                <a:uFillTx/>
                <a:latin typeface="Calibri"/>
                <a:ea typeface="+mn-ea"/>
                <a:cs typeface="Calibri"/>
              </a:rPr>
              <a:t>Air</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nada</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Mapl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Leaf</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Loung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pre-flight</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access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exclusiv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ir</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nada</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ignatur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Suit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20172" lvl="0" indent="0" algn="l" defTabSz="806867" rtl="0" eaLnBrk="1" fontAlgn="auto" latinLnBrk="0" hangingPunct="1">
              <a:lnSpc>
                <a:spcPts val="1059"/>
              </a:lnSpc>
              <a:spcBef>
                <a:spcPts val="529"/>
              </a:spcBef>
              <a:spcAft>
                <a:spcPts val="0"/>
              </a:spcAft>
              <a:buClrTx/>
              <a:buSzTx/>
              <a:buFontTx/>
              <a:buNone/>
              <a:tabLst/>
              <a:defRPr/>
            </a:pPr>
            <a:r>
              <a:rPr kumimoji="0" sz="927" b="1" i="0" u="none" strike="noStrike" kern="0" cap="none" spc="0" normalizeH="0" baseline="0" noProof="0">
                <a:ln>
                  <a:noFill/>
                </a:ln>
                <a:solidFill>
                  <a:srgbClr val="FFFFFF"/>
                </a:solidFill>
                <a:effectLst/>
                <a:uLnTx/>
                <a:uFillTx/>
                <a:latin typeface="Calibri"/>
                <a:ea typeface="+mn-ea"/>
                <a:cs typeface="Calibri"/>
              </a:rPr>
              <a:t>Premium</a:t>
            </a:r>
            <a:r>
              <a:rPr kumimoji="0" sz="927" b="1" i="0" u="none" strike="noStrike" kern="0" cap="none" spc="132"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Economy</a:t>
            </a:r>
            <a:r>
              <a:rPr kumimoji="0" sz="927" b="1" i="0" u="none" strike="noStrike" kern="0" cap="none" spc="137"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cabin</a:t>
            </a:r>
            <a:r>
              <a:rPr kumimoji="0" sz="927" b="1" i="0" u="none" strike="noStrike" kern="0" cap="none" spc="15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features</a:t>
            </a:r>
            <a:r>
              <a:rPr kumimoji="0" sz="927" b="0" i="0" u="none" strike="noStrike" kern="0" cap="none" spc="15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enhanced </a:t>
            </a:r>
            <a:r>
              <a:rPr kumimoji="0" sz="927" b="0" i="0" u="none" strike="noStrike" kern="0" cap="none" spc="0" normalizeH="0" baseline="0" noProof="0">
                <a:ln>
                  <a:noFill/>
                </a:ln>
                <a:solidFill>
                  <a:srgbClr val="FFFFFF"/>
                </a:solidFill>
                <a:effectLst/>
                <a:uLnTx/>
                <a:uFillTx/>
                <a:latin typeface="Calibri"/>
                <a:ea typeface="+mn-ea"/>
                <a:cs typeface="Calibri"/>
              </a:rPr>
              <a:t>comfort and amenities and is offered on all </a:t>
            </a:r>
            <a:r>
              <a:rPr kumimoji="0" sz="927" b="0" i="0" u="none" strike="noStrike" kern="0" cap="none" spc="-18" normalizeH="0" baseline="0" noProof="0">
                <a:ln>
                  <a:noFill/>
                </a:ln>
                <a:solidFill>
                  <a:srgbClr val="FFFFFF"/>
                </a:solidFill>
                <a:effectLst/>
                <a:uLnTx/>
                <a:uFillTx/>
                <a:latin typeface="Calibri"/>
                <a:ea typeface="+mn-ea"/>
                <a:cs typeface="Calibri"/>
              </a:rPr>
              <a:t>wide- </a:t>
            </a:r>
            <a:r>
              <a:rPr kumimoji="0" sz="927" b="0" i="0" u="none" strike="noStrike" kern="0" cap="none" spc="0" normalizeH="0" baseline="0" noProof="0">
                <a:ln>
                  <a:noFill/>
                </a:ln>
                <a:solidFill>
                  <a:srgbClr val="FFFFFF"/>
                </a:solidFill>
                <a:effectLst/>
                <a:uLnTx/>
                <a:uFillTx/>
                <a:latin typeface="Calibri"/>
                <a:ea typeface="+mn-ea"/>
                <a:cs typeface="Calibri"/>
              </a:rPr>
              <a:t>body</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ircraft:</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787</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Dreamliners,</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Boeing</a:t>
            </a:r>
            <a:r>
              <a:rPr kumimoji="0" sz="927" b="0" i="0" u="none" strike="noStrike" kern="0" cap="none" spc="-9" normalizeH="0" baseline="0" noProof="0">
                <a:ln>
                  <a:noFill/>
                </a:ln>
                <a:solidFill>
                  <a:srgbClr val="FFFFFF"/>
                </a:solidFill>
                <a:effectLst/>
                <a:uLnTx/>
                <a:uFillTx/>
                <a:latin typeface="Calibri"/>
                <a:ea typeface="+mn-ea"/>
                <a:cs typeface="Calibri"/>
              </a:rPr>
              <a:t> 777-300ERs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9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200LRs,</a:t>
            </a:r>
            <a:r>
              <a:rPr kumimoji="0" sz="927" b="0" i="0" u="none" strike="noStrike" kern="0" cap="none" spc="97"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97"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irbus</a:t>
            </a:r>
            <a:r>
              <a:rPr kumimoji="0" sz="927" b="0" i="0" u="none" strike="noStrike" kern="0" cap="none" spc="9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330-</a:t>
            </a:r>
            <a:r>
              <a:rPr kumimoji="0" sz="927" b="0" i="0" u="none" strike="noStrike" kern="0" cap="none" spc="-18" normalizeH="0" baseline="0" noProof="0">
                <a:ln>
                  <a:noFill/>
                </a:ln>
                <a:solidFill>
                  <a:srgbClr val="FFFFFF"/>
                </a:solidFill>
                <a:effectLst/>
                <a:uLnTx/>
                <a:uFillTx/>
                <a:latin typeface="Calibri"/>
                <a:ea typeface="+mn-ea"/>
                <a:cs typeface="Calibri"/>
              </a:rPr>
              <a:t>300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20172" lvl="0" indent="0" algn="l" defTabSz="806867" rtl="0" eaLnBrk="1" fontAlgn="auto" latinLnBrk="0" hangingPunct="1">
              <a:lnSpc>
                <a:spcPts val="1059"/>
              </a:lnSpc>
              <a:spcBef>
                <a:spcPts val="529"/>
              </a:spcBef>
              <a:spcAft>
                <a:spcPts val="0"/>
              </a:spcAft>
              <a:buClrTx/>
              <a:buSzTx/>
              <a:buFontTx/>
              <a:buNone/>
              <a:tabLst/>
              <a:defRPr/>
            </a:pPr>
            <a:r>
              <a:rPr kumimoji="0" sz="927" b="1" i="0" u="none" strike="noStrike" kern="0" cap="none" spc="0" normalizeH="0" baseline="0" noProof="0">
                <a:ln>
                  <a:noFill/>
                </a:ln>
                <a:solidFill>
                  <a:srgbClr val="FFFFFF"/>
                </a:solidFill>
                <a:effectLst/>
                <a:uLnTx/>
                <a:uFillTx/>
                <a:latin typeface="Calibri"/>
                <a:ea typeface="+mn-ea"/>
                <a:cs typeface="Calibri"/>
              </a:rPr>
              <a:t>Preferred</a:t>
            </a:r>
            <a:r>
              <a:rPr kumimoji="0" sz="927" b="1" i="0" u="none" strike="noStrike" kern="0" cap="none" spc="13" normalizeH="0" baseline="0" noProof="0">
                <a:ln>
                  <a:noFill/>
                </a:ln>
                <a:solidFill>
                  <a:srgbClr val="FFFFFF"/>
                </a:solidFill>
                <a:effectLst/>
                <a:uLnTx/>
                <a:uFillTx/>
                <a:latin typeface="Calibri"/>
                <a:ea typeface="+mn-ea"/>
                <a:cs typeface="Calibri"/>
              </a:rPr>
              <a:t> </a:t>
            </a:r>
            <a:r>
              <a:rPr kumimoji="0" sz="927" b="1" i="0" u="none" strike="noStrike" kern="0" cap="none" spc="49" normalizeH="0" baseline="0" noProof="0">
                <a:ln>
                  <a:noFill/>
                </a:ln>
                <a:solidFill>
                  <a:srgbClr val="FFFFFF"/>
                </a:solidFill>
                <a:effectLst/>
                <a:uLnTx/>
                <a:uFillTx/>
                <a:latin typeface="Calibri"/>
                <a:ea typeface="+mn-ea"/>
                <a:cs typeface="Calibri"/>
              </a:rPr>
              <a:t>Seats</a:t>
            </a:r>
            <a:r>
              <a:rPr kumimoji="0" sz="927" b="1" i="0" u="none" strike="noStrike" kern="0" cap="none" spc="26"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re</a:t>
            </a:r>
            <a:r>
              <a:rPr kumimoji="0" sz="927" b="0" i="0" u="none" strike="noStrike" kern="0" cap="none" spc="26"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ffered</a:t>
            </a:r>
            <a:r>
              <a:rPr kumimoji="0" sz="927" b="0" i="0" u="none" strike="noStrike" kern="0" cap="none" spc="26"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n</a:t>
            </a:r>
            <a:r>
              <a:rPr kumimoji="0" sz="927" b="0" i="0" u="none" strike="noStrike" kern="0" cap="none" spc="26"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26"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Economy</a:t>
            </a:r>
            <a:r>
              <a:rPr kumimoji="0" sz="927" b="0" i="0" u="none" strike="noStrike" kern="0" cap="none" spc="26" normalizeH="0" baseline="0" noProof="0">
                <a:ln>
                  <a:noFill/>
                </a:ln>
                <a:solidFill>
                  <a:srgbClr val="FFFFFF"/>
                </a:solidFill>
                <a:effectLst/>
                <a:uLnTx/>
                <a:uFillTx/>
                <a:latin typeface="Calibri"/>
                <a:ea typeface="+mn-ea"/>
                <a:cs typeface="Calibri"/>
              </a:rPr>
              <a:t> </a:t>
            </a:r>
            <a:r>
              <a:rPr kumimoji="0" sz="927" b="0" i="0" u="none" strike="noStrike" kern="0" cap="none" spc="-18" normalizeH="0" baseline="0" noProof="0">
                <a:ln>
                  <a:noFill/>
                </a:ln>
                <a:solidFill>
                  <a:srgbClr val="FFFFFF"/>
                </a:solidFill>
                <a:effectLst/>
                <a:uLnTx/>
                <a:uFillTx/>
                <a:latin typeface="Calibri"/>
                <a:ea typeface="+mn-ea"/>
                <a:cs typeface="Calibri"/>
              </a:rPr>
              <a:t>cabin </a:t>
            </a:r>
            <a:r>
              <a:rPr kumimoji="0" sz="927" b="0" i="0" u="none" strike="noStrike" kern="0" cap="none" spc="0" normalizeH="0" baseline="0" noProof="0">
                <a:ln>
                  <a:noFill/>
                </a:ln>
                <a:solidFill>
                  <a:srgbClr val="FFFFFF"/>
                </a:solidFill>
                <a:effectLst/>
                <a:uLnTx/>
                <a:uFillTx/>
                <a:latin typeface="Calibri"/>
                <a:ea typeface="+mn-ea"/>
                <a:cs typeface="Calibri"/>
              </a:rPr>
              <a:t>for</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ose who would</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like extra spac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between</a:t>
            </a:r>
            <a:r>
              <a:rPr kumimoji="0" sz="927" b="0" i="0" u="none" strike="noStrike" kern="0" cap="none" spc="441"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at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up</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10 cm</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or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 </a:t>
            </a:r>
            <a:r>
              <a:rPr kumimoji="0" sz="927" b="0" i="0" u="none" strike="noStrike" kern="0" cap="none" spc="-9" normalizeH="0" baseline="0" noProof="0">
                <a:ln>
                  <a:noFill/>
                </a:ln>
                <a:solidFill>
                  <a:srgbClr val="FFFFFF"/>
                </a:solidFill>
                <a:effectLst/>
                <a:uLnTx/>
                <a:uFillTx/>
                <a:latin typeface="Calibri"/>
                <a:ea typeface="+mn-ea"/>
                <a:cs typeface="Calibri"/>
              </a:rPr>
              <a:t>convenienc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18" normalizeH="0" baseline="0" noProof="0">
                <a:ln>
                  <a:noFill/>
                </a:ln>
                <a:solidFill>
                  <a:srgbClr val="FFFFFF"/>
                </a:solidFill>
                <a:effectLst/>
                <a:uLnTx/>
                <a:uFillTx/>
                <a:latin typeface="Calibri"/>
                <a:ea typeface="+mn-ea"/>
                <a:cs typeface="Calibri"/>
              </a:rPr>
              <a:t>board </a:t>
            </a:r>
            <a:r>
              <a:rPr kumimoji="0" sz="927" b="0" i="0" u="none" strike="noStrike" kern="0" cap="none" spc="0" normalizeH="0" baseline="0" noProof="0">
                <a:ln>
                  <a:noFill/>
                </a:ln>
                <a:solidFill>
                  <a:srgbClr val="FFFFFF"/>
                </a:solidFill>
                <a:effectLst/>
                <a:uLnTx/>
                <a:uFillTx/>
                <a:latin typeface="Calibri"/>
                <a:ea typeface="+mn-ea"/>
                <a:cs typeface="Calibri"/>
              </a:rPr>
              <a:t>earlier</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exit</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ooner</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n</a:t>
            </a:r>
            <a:r>
              <a:rPr kumimoji="0" sz="927" b="0" i="0" u="none" strike="noStrike" kern="0" cap="none" spc="-9" normalizeH="0" baseline="0" noProof="0">
                <a:ln>
                  <a:noFill/>
                </a:ln>
                <a:solidFill>
                  <a:srgbClr val="FFFFFF"/>
                </a:solidFill>
                <a:effectLst/>
                <a:uLnTx/>
                <a:uFillTx/>
                <a:latin typeface="Calibri"/>
                <a:ea typeface="+mn-ea"/>
                <a:cs typeface="Calibri"/>
              </a:rPr>
              <a:t> arrival.</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7" name="object 7"/>
          <p:cNvSpPr txBox="1"/>
          <p:nvPr/>
        </p:nvSpPr>
        <p:spPr>
          <a:xfrm>
            <a:off x="4744360" y="453612"/>
            <a:ext cx="2474259" cy="2624776"/>
          </a:xfrm>
          <a:prstGeom prst="rect">
            <a:avLst/>
          </a:prstGeom>
        </p:spPr>
        <p:txBody>
          <a:bodyPr vert="horz" wrap="square" lIns="0" tIns="21291" rIns="0" bIns="0" rtlCol="0">
            <a:spAutoFit/>
          </a:bodyPr>
          <a:lstStyle/>
          <a:p>
            <a:pPr marL="11206" marR="136719" lvl="0" indent="0" algn="l" defTabSz="806867" rtl="0" eaLnBrk="1" fontAlgn="auto" latinLnBrk="0" hangingPunct="1">
              <a:lnSpc>
                <a:spcPts val="1059"/>
              </a:lnSpc>
              <a:spcBef>
                <a:spcPts val="168"/>
              </a:spcBef>
              <a:spcAft>
                <a:spcPts val="0"/>
              </a:spcAft>
              <a:buClrTx/>
              <a:buSzTx/>
              <a:buFontTx/>
              <a:buNone/>
              <a:tabLst/>
              <a:defRPr/>
            </a:pP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124"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Air</a:t>
            </a:r>
            <a:r>
              <a:rPr kumimoji="0" sz="927" b="1" i="0" u="none" strike="noStrike" kern="0" cap="none" spc="101"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Canada</a:t>
            </a:r>
            <a:r>
              <a:rPr kumimoji="0" sz="927" b="1" i="0" u="none" strike="noStrike" kern="0" cap="none" spc="101"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Signature</a:t>
            </a:r>
            <a:r>
              <a:rPr kumimoji="0" sz="927" b="1" i="0" u="none" strike="noStrike" kern="0" cap="none" spc="106"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Suite</a:t>
            </a:r>
            <a:r>
              <a:rPr kumimoji="0" sz="927" b="1" i="0" u="none" strike="noStrike" kern="0" cap="none" spc="12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has</a:t>
            </a:r>
            <a:r>
              <a:rPr kumimoji="0" sz="927" b="0" i="0" u="none" strike="noStrike" kern="0" cap="none" spc="12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raised</a:t>
            </a:r>
            <a:r>
              <a:rPr kumimoji="0" sz="927" b="0" i="0" u="none" strike="noStrike" kern="0" cap="none" spc="124" normalizeH="0" baseline="0" noProof="0">
                <a:ln>
                  <a:noFill/>
                </a:ln>
                <a:solidFill>
                  <a:srgbClr val="FFFFFF"/>
                </a:solidFill>
                <a:effectLst/>
                <a:uLnTx/>
                <a:uFillTx/>
                <a:latin typeface="Calibri"/>
                <a:ea typeface="+mn-ea"/>
                <a:cs typeface="Calibri"/>
              </a:rPr>
              <a:t> </a:t>
            </a:r>
            <a:r>
              <a:rPr kumimoji="0" sz="927" b="0" i="0" u="none" strike="noStrike" kern="0" cap="none" spc="-22" normalizeH="0" baseline="0" noProof="0">
                <a:ln>
                  <a:noFill/>
                </a:ln>
                <a:solidFill>
                  <a:srgbClr val="FFFFFF"/>
                </a:solidFill>
                <a:effectLst/>
                <a:uLnTx/>
                <a:uFillTx/>
                <a:latin typeface="Calibri"/>
                <a:ea typeface="+mn-ea"/>
                <a:cs typeface="Calibri"/>
              </a:rPr>
              <a:t>the </a:t>
            </a:r>
            <a:r>
              <a:rPr kumimoji="0" sz="927" b="0" i="0" u="none" strike="noStrike" kern="0" cap="none" spc="0" normalizeH="0" baseline="0" noProof="0">
                <a:ln>
                  <a:noFill/>
                </a:ln>
                <a:solidFill>
                  <a:srgbClr val="FFFFFF"/>
                </a:solidFill>
                <a:effectLst/>
                <a:uLnTx/>
                <a:uFillTx/>
                <a:latin typeface="Calibri"/>
                <a:ea typeface="+mn-ea"/>
                <a:cs typeface="Calibri"/>
              </a:rPr>
              <a:t>bar</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with</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ts</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five-star</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dining</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experience,</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setting</a:t>
            </a:r>
            <a:r>
              <a:rPr kumimoji="0" sz="927" b="0" i="0" u="none" strike="noStrike" kern="0" cap="none" spc="441"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new</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tandard</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for</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premium</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ravel</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n</a:t>
            </a:r>
            <a:r>
              <a:rPr kumimoji="0" sz="927" b="0" i="0" u="none" strike="noStrike" kern="0" cap="none" spc="-18" normalizeH="0" baseline="0" noProof="0">
                <a:ln>
                  <a:noFill/>
                </a:ln>
                <a:solidFill>
                  <a:srgbClr val="FFFFFF"/>
                </a:solidFill>
                <a:effectLst/>
                <a:uLnTx/>
                <a:uFillTx/>
                <a:latin typeface="Calibri"/>
                <a:ea typeface="+mn-ea"/>
                <a:cs typeface="Calibri"/>
              </a:rPr>
              <a:t> North </a:t>
            </a:r>
            <a:r>
              <a:rPr kumimoji="0" sz="927" b="0" i="0" u="none" strike="noStrike" kern="0" cap="none" spc="0" normalizeH="0" baseline="0" noProof="0">
                <a:ln>
                  <a:noFill/>
                </a:ln>
                <a:solidFill>
                  <a:srgbClr val="FFFFFF"/>
                </a:solidFill>
                <a:effectLst/>
                <a:uLnTx/>
                <a:uFillTx/>
                <a:latin typeface="Calibri"/>
                <a:ea typeface="+mn-ea"/>
                <a:cs typeface="Calibri"/>
              </a:rPr>
              <a:t>America.</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t</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s</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located</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n</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erminal</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88" normalizeH="0" baseline="0" noProof="0">
                <a:ln>
                  <a:noFill/>
                </a:ln>
                <a:solidFill>
                  <a:srgbClr val="FFFFFF"/>
                </a:solidFill>
                <a:effectLst/>
                <a:uLnTx/>
                <a:uFillTx/>
                <a:latin typeface="Calibri"/>
                <a:ea typeface="+mn-ea"/>
                <a:cs typeface="Calibri"/>
              </a:rPr>
              <a:t>1</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t</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Toronto</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9" normalizeH="0" baseline="0" noProof="0">
                <a:ln>
                  <a:noFill/>
                </a:ln>
                <a:solidFill>
                  <a:srgbClr val="FFFFFF"/>
                </a:solidFill>
                <a:effectLst/>
                <a:uLnTx/>
                <a:uFillTx/>
                <a:latin typeface="Calibri"/>
                <a:ea typeface="+mn-ea"/>
                <a:cs typeface="Calibri"/>
              </a:rPr>
              <a:t>Pearson</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t</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Vancouver</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nternational</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irport</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22" normalizeH="0" baseline="0" noProof="0">
                <a:ln>
                  <a:noFill/>
                </a:ln>
                <a:solidFill>
                  <a:srgbClr val="FFFFFF"/>
                </a:solidFill>
                <a:effectLst/>
                <a:uLnTx/>
                <a:uFillTx/>
                <a:latin typeface="Calibri"/>
                <a:ea typeface="+mn-ea"/>
                <a:cs typeface="Calibri"/>
              </a:rPr>
              <a:t>for </a:t>
            </a:r>
            <a:r>
              <a:rPr kumimoji="0" sz="927" b="0" i="0" u="none" strike="noStrike" kern="0" cap="none" spc="0" normalizeH="0" baseline="0" noProof="0">
                <a:ln>
                  <a:noFill/>
                </a:ln>
                <a:solidFill>
                  <a:srgbClr val="FFFFFF"/>
                </a:solidFill>
                <a:effectLst/>
                <a:uLnTx/>
                <a:uFillTx/>
                <a:latin typeface="Calibri"/>
                <a:ea typeface="+mn-ea"/>
                <a:cs typeface="Calibri"/>
              </a:rPr>
              <a:t>select</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ignature</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rvice</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ustomer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ravelling</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22" normalizeH="0" baseline="0" noProof="0">
                <a:ln>
                  <a:noFill/>
                </a:ln>
                <a:solidFill>
                  <a:srgbClr val="FFFFFF"/>
                </a:solidFill>
                <a:effectLst/>
                <a:uLnTx/>
                <a:uFillTx/>
                <a:latin typeface="Calibri"/>
                <a:ea typeface="+mn-ea"/>
                <a:cs typeface="Calibri"/>
              </a:rPr>
              <a:t>to </a:t>
            </a:r>
            <a:r>
              <a:rPr kumimoji="0" sz="927" b="0" i="0" u="none" strike="noStrike" kern="0" cap="none" spc="0" normalizeH="0" baseline="0" noProof="0">
                <a:ln>
                  <a:noFill/>
                </a:ln>
                <a:solidFill>
                  <a:srgbClr val="FFFFFF"/>
                </a:solidFill>
                <a:effectLst/>
                <a:uLnTx/>
                <a:uFillTx/>
                <a:latin typeface="Calibri"/>
                <a:ea typeface="+mn-ea"/>
                <a:cs typeface="Calibri"/>
              </a:rPr>
              <a:t>international</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destination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7845" lvl="0" indent="0" algn="l" defTabSz="806867" rtl="0" eaLnBrk="1" fontAlgn="auto" latinLnBrk="0" hangingPunct="1">
              <a:lnSpc>
                <a:spcPts val="1059"/>
              </a:lnSpc>
              <a:spcBef>
                <a:spcPts val="529"/>
              </a:spcBef>
              <a:spcAft>
                <a:spcPts val="0"/>
              </a:spcAft>
              <a:buClrTx/>
              <a:buSzTx/>
              <a:buFontTx/>
              <a:buNone/>
              <a:tabLst/>
              <a:defRPr/>
            </a:pPr>
            <a:r>
              <a:rPr kumimoji="0" sz="927" b="1" i="0" u="none" strike="noStrike" kern="0" cap="none" spc="0" normalizeH="0" baseline="0" noProof="0">
                <a:ln>
                  <a:noFill/>
                </a:ln>
                <a:solidFill>
                  <a:srgbClr val="FFFFFF"/>
                </a:solidFill>
                <a:effectLst/>
                <a:uLnTx/>
                <a:uFillTx/>
                <a:latin typeface="Calibri"/>
                <a:ea typeface="+mn-ea"/>
                <a:cs typeface="Calibri"/>
              </a:rPr>
              <a:t>Maple</a:t>
            </a:r>
            <a:r>
              <a:rPr kumimoji="0" sz="927" b="1" i="0" u="none" strike="noStrike" kern="0" cap="none" spc="44"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Leaf</a:t>
            </a:r>
            <a:r>
              <a:rPr kumimoji="0" sz="927" b="1" i="0" u="none" strike="noStrike" kern="0" cap="none" spc="44"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Lounges</a:t>
            </a:r>
            <a:r>
              <a:rPr kumimoji="0" sz="927" b="1" i="0" u="none" strike="noStrike" kern="0" cap="none" spc="6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re</a:t>
            </a:r>
            <a:r>
              <a:rPr kumimoji="0" sz="927" b="0" i="0" u="none" strike="noStrike" kern="0" cap="none" spc="6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a:t>
            </a:r>
            <a:r>
              <a:rPr kumimoji="0" sz="927" b="0" i="0" u="none" strike="noStrike" kern="0" cap="none" spc="66"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omfortable</a:t>
            </a:r>
            <a:r>
              <a:rPr kumimoji="0" sz="927" b="0" i="0" u="none" strike="noStrike" kern="0" cap="none" spc="6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way</a:t>
            </a:r>
            <a:r>
              <a:rPr kumimoji="0" sz="927" b="0" i="0" u="none" strike="noStrike" kern="0" cap="none" spc="62" normalizeH="0" baseline="0" noProof="0">
                <a:ln>
                  <a:noFill/>
                </a:ln>
                <a:solidFill>
                  <a:srgbClr val="FFFFFF"/>
                </a:solidFill>
                <a:effectLst/>
                <a:uLnTx/>
                <a:uFillTx/>
                <a:latin typeface="Calibri"/>
                <a:ea typeface="+mn-ea"/>
                <a:cs typeface="Calibri"/>
              </a:rPr>
              <a:t> </a:t>
            </a:r>
            <a:r>
              <a:rPr kumimoji="0" sz="927" b="0" i="0" u="none" strike="noStrike" kern="0" cap="none" spc="-22" normalizeH="0" baseline="0" noProof="0">
                <a:ln>
                  <a:noFill/>
                </a:ln>
                <a:solidFill>
                  <a:srgbClr val="FFFFFF"/>
                </a:solidFill>
                <a:effectLst/>
                <a:uLnTx/>
                <a:uFillTx/>
                <a:latin typeface="Calibri"/>
                <a:ea typeface="+mn-ea"/>
                <a:cs typeface="Calibri"/>
              </a:rPr>
              <a:t>to </a:t>
            </a:r>
            <a:r>
              <a:rPr kumimoji="0" sz="927" b="0" i="0" u="none" strike="noStrike" kern="0" cap="none" spc="0" normalizeH="0" baseline="0" noProof="0">
                <a:ln>
                  <a:noFill/>
                </a:ln>
                <a:solidFill>
                  <a:srgbClr val="FFFFFF"/>
                </a:solidFill>
                <a:effectLst/>
                <a:uLnTx/>
                <a:uFillTx/>
                <a:latin typeface="Calibri"/>
                <a:ea typeface="+mn-ea"/>
                <a:cs typeface="Calibri"/>
              </a:rPr>
              <a:t>relax</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r</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atch</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up</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n</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work</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befor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ake-off</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18" normalizeH="0" baseline="0" noProof="0">
                <a:ln>
                  <a:noFill/>
                </a:ln>
                <a:solidFill>
                  <a:srgbClr val="FFFFFF"/>
                </a:solidFill>
                <a:effectLst/>
                <a:uLnTx/>
                <a:uFillTx/>
                <a:latin typeface="Calibri"/>
                <a:ea typeface="+mn-ea"/>
                <a:cs typeface="Calibri"/>
              </a:rPr>
              <a:t>with </a:t>
            </a:r>
            <a:r>
              <a:rPr kumimoji="0" sz="927" b="0" i="0" u="none" strike="noStrike" kern="0" cap="none" spc="0" normalizeH="0" baseline="0" noProof="0">
                <a:ln>
                  <a:noFill/>
                </a:ln>
                <a:solidFill>
                  <a:srgbClr val="FFFFFF"/>
                </a:solidFill>
                <a:effectLst/>
                <a:uLnTx/>
                <a:uFillTx/>
                <a:latin typeface="Calibri"/>
                <a:ea typeface="+mn-ea"/>
                <a:cs typeface="Calibri"/>
              </a:rPr>
              <a:t>services</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menitie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ak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pre-</a:t>
            </a:r>
            <a:r>
              <a:rPr kumimoji="0" sz="927" b="0" i="0" u="none" strike="noStrike" kern="0" cap="none" spc="-9" normalizeH="0" baseline="0" noProof="0">
                <a:ln>
                  <a:noFill/>
                </a:ln>
                <a:solidFill>
                  <a:srgbClr val="FFFFFF"/>
                </a:solidFill>
                <a:effectLst/>
                <a:uLnTx/>
                <a:uFillTx/>
                <a:latin typeface="Calibri"/>
                <a:ea typeface="+mn-ea"/>
                <a:cs typeface="Calibri"/>
              </a:rPr>
              <a:t>flight experience</a:t>
            </a:r>
            <a:r>
              <a:rPr kumimoji="0" sz="927" b="0" i="0" u="none" strike="noStrike" kern="0" cap="none" spc="0" normalizeH="0" baseline="0" noProof="0">
                <a:ln>
                  <a:noFill/>
                </a:ln>
                <a:solidFill>
                  <a:srgbClr val="FFFFFF"/>
                </a:solidFill>
                <a:effectLst/>
                <a:uLnTx/>
                <a:uFillTx/>
                <a:latin typeface="Calibri"/>
                <a:ea typeface="+mn-ea"/>
                <a:cs typeface="Calibri"/>
              </a:rPr>
              <a:t> mor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pleasurabl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productive. </a:t>
            </a:r>
            <a:r>
              <a:rPr kumimoji="0" sz="927" b="0" i="0" u="none" strike="noStrike" kern="0" cap="none" spc="0" normalizeH="0" baseline="0" noProof="0">
                <a:ln>
                  <a:noFill/>
                </a:ln>
                <a:solidFill>
                  <a:srgbClr val="FFFFFF"/>
                </a:solidFill>
                <a:effectLst/>
                <a:uLnTx/>
                <a:uFillTx/>
                <a:latin typeface="Calibri"/>
                <a:ea typeface="+mn-ea"/>
                <a:cs typeface="Calibri"/>
              </a:rPr>
              <a:t>Loung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rvice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ls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ffer</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veral</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touchless feature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ncluding presentation of all </a:t>
            </a:r>
            <a:r>
              <a:rPr kumimoji="0" sz="927" b="0" i="0" u="none" strike="noStrike" kern="0" cap="none" spc="-9" normalizeH="0" baseline="0" noProof="0">
                <a:ln>
                  <a:noFill/>
                </a:ln>
                <a:solidFill>
                  <a:srgbClr val="FFFFFF"/>
                </a:solidFill>
                <a:effectLst/>
                <a:uLnTx/>
                <a:uFillTx/>
                <a:latin typeface="Calibri"/>
                <a:ea typeface="+mn-ea"/>
                <a:cs typeface="Calibri"/>
              </a:rPr>
              <a:t>reading </a:t>
            </a:r>
            <a:r>
              <a:rPr kumimoji="0" sz="927" b="0" i="0" u="none" strike="noStrike" kern="0" cap="none" spc="0" normalizeH="0" baseline="0" noProof="0">
                <a:ln>
                  <a:noFill/>
                </a:ln>
                <a:solidFill>
                  <a:srgbClr val="FFFFFF"/>
                </a:solidFill>
                <a:effectLst/>
                <a:uLnTx/>
                <a:uFillTx/>
                <a:latin typeface="Calibri"/>
                <a:ea typeface="+mn-ea"/>
                <a:cs typeface="Calibri"/>
              </a:rPr>
              <a:t>materials</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n</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digital</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format</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rough</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PressReader</a:t>
            </a:r>
            <a:r>
              <a:rPr kumimoji="0" sz="927" b="0" i="0" u="none" strike="noStrike" kern="0" cap="none" spc="441"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31"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ur</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1" u="none" strike="noStrike" kern="0" cap="none" spc="0" normalizeH="0" baseline="0" noProof="0">
                <a:ln>
                  <a:noFill/>
                </a:ln>
                <a:solidFill>
                  <a:srgbClr val="FFFFFF"/>
                </a:solidFill>
                <a:effectLst/>
                <a:uLnTx/>
                <a:uFillTx/>
                <a:latin typeface="Calibri"/>
                <a:ea typeface="+mn-ea"/>
                <a:cs typeface="Calibri"/>
              </a:rPr>
              <a:t>AC</a:t>
            </a:r>
            <a:r>
              <a:rPr kumimoji="0" sz="927" b="0" i="1" u="none" strike="noStrike" kern="0" cap="none" spc="-49" normalizeH="0" baseline="0" noProof="0">
                <a:ln>
                  <a:noFill/>
                </a:ln>
                <a:solidFill>
                  <a:srgbClr val="FFFFFF"/>
                </a:solidFill>
                <a:effectLst/>
                <a:uLnTx/>
                <a:uFillTx/>
                <a:latin typeface="Calibri"/>
                <a:ea typeface="+mn-ea"/>
                <a:cs typeface="Calibri"/>
              </a:rPr>
              <a:t> </a:t>
            </a:r>
            <a:r>
              <a:rPr kumimoji="0" sz="927" b="0" i="1" u="none" strike="noStrike" kern="0" cap="none" spc="-124" normalizeH="0" baseline="0" noProof="0">
                <a:ln>
                  <a:noFill/>
                </a:ln>
                <a:solidFill>
                  <a:srgbClr val="FFFFFF"/>
                </a:solidFill>
                <a:effectLst/>
                <a:uLnTx/>
                <a:uFillTx/>
                <a:latin typeface="Calibri"/>
                <a:ea typeface="+mn-ea"/>
                <a:cs typeface="Calibri"/>
              </a:rPr>
              <a:t>@</a:t>
            </a:r>
            <a:r>
              <a:rPr kumimoji="0" sz="927" b="0" i="1" u="none" strike="noStrike" kern="0" cap="none" spc="-35" normalizeH="0" baseline="0" noProof="0">
                <a:ln>
                  <a:noFill/>
                </a:ln>
                <a:solidFill>
                  <a:srgbClr val="FFFFFF"/>
                </a:solidFill>
                <a:effectLst/>
                <a:uLnTx/>
                <a:uFillTx/>
                <a:latin typeface="Calibri"/>
                <a:ea typeface="+mn-ea"/>
                <a:cs typeface="Calibri"/>
              </a:rPr>
              <a:t> </a:t>
            </a:r>
            <a:r>
              <a:rPr kumimoji="0" sz="927" b="0" i="1" u="none" strike="noStrike" kern="0" cap="none" spc="-18" normalizeH="0" baseline="0" noProof="0">
                <a:ln>
                  <a:noFill/>
                </a:ln>
                <a:solidFill>
                  <a:srgbClr val="FFFFFF"/>
                </a:solidFill>
                <a:effectLst/>
                <a:uLnTx/>
                <a:uFillTx/>
                <a:latin typeface="Calibri"/>
                <a:ea typeface="+mn-ea"/>
                <a:cs typeface="Calibri"/>
              </a:rPr>
              <a:t>La</a:t>
            </a:r>
            <a:r>
              <a:rPr kumimoji="0" sz="927" b="0" i="1" u="none" strike="noStrike" kern="0" cap="none" spc="-35" normalizeH="0" baseline="0" noProof="0">
                <a:ln>
                  <a:noFill/>
                </a:ln>
                <a:solidFill>
                  <a:srgbClr val="FFFFFF"/>
                </a:solidFill>
                <a:effectLst/>
                <a:uLnTx/>
                <a:uFillTx/>
                <a:latin typeface="Calibri"/>
                <a:ea typeface="+mn-ea"/>
                <a:cs typeface="Calibri"/>
              </a:rPr>
              <a:t> </a:t>
            </a:r>
            <a:r>
              <a:rPr kumimoji="0" sz="927" b="0" i="1" u="none" strike="noStrike" kern="0" cap="none" spc="-18" normalizeH="0" baseline="0" noProof="0">
                <a:ln>
                  <a:noFill/>
                </a:ln>
                <a:solidFill>
                  <a:srgbClr val="FFFFFF"/>
                </a:solidFill>
                <a:effectLst/>
                <a:uLnTx/>
                <a:uFillTx/>
                <a:latin typeface="Calibri"/>
                <a:ea typeface="+mn-ea"/>
                <a:cs typeface="Calibri"/>
              </a:rPr>
              <a:t>Table</a:t>
            </a:r>
            <a:r>
              <a:rPr kumimoji="0" sz="927" b="0" i="1"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menu</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rdering</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pp</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18" normalizeH="0" baseline="0" noProof="0">
                <a:ln>
                  <a:noFill/>
                </a:ln>
                <a:solidFill>
                  <a:srgbClr val="FFFFFF"/>
                </a:solidFill>
                <a:effectLst/>
                <a:uLnTx/>
                <a:uFillTx/>
                <a:latin typeface="Calibri"/>
                <a:ea typeface="+mn-ea"/>
                <a:cs typeface="Calibri"/>
              </a:rPr>
              <a:t>that </a:t>
            </a:r>
            <a:r>
              <a:rPr kumimoji="0" sz="927" b="0" i="0" u="none" strike="noStrike" kern="0" cap="none" spc="0" normalizeH="0" baseline="0" noProof="0">
                <a:ln>
                  <a:noFill/>
                </a:ln>
                <a:solidFill>
                  <a:srgbClr val="FFFFFF"/>
                </a:solidFill>
                <a:effectLst/>
                <a:uLnTx/>
                <a:uFillTx/>
                <a:latin typeface="Calibri"/>
                <a:ea typeface="+mn-ea"/>
                <a:cs typeface="Calibri"/>
              </a:rPr>
              <a:t>allow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ustomer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order</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hot</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nacks</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directly</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18" normalizeH="0" baseline="0" noProof="0">
                <a:ln>
                  <a:noFill/>
                </a:ln>
                <a:solidFill>
                  <a:srgbClr val="FFFFFF"/>
                </a:solidFill>
                <a:effectLst/>
                <a:uLnTx/>
                <a:uFillTx/>
                <a:latin typeface="Calibri"/>
                <a:ea typeface="+mn-ea"/>
                <a:cs typeface="Calibri"/>
              </a:rPr>
              <a:t>from </a:t>
            </a:r>
            <a:r>
              <a:rPr kumimoji="0" sz="927" b="0" i="0" u="none" strike="noStrike" kern="0" cap="none" spc="0" normalizeH="0" baseline="0" noProof="0">
                <a:ln>
                  <a:noFill/>
                </a:ln>
                <a:solidFill>
                  <a:srgbClr val="FFFFFF"/>
                </a:solidFill>
                <a:effectLst/>
                <a:uLnTx/>
                <a:uFillTx/>
                <a:latin typeface="Calibri"/>
                <a:ea typeface="+mn-ea"/>
                <a:cs typeface="Calibri"/>
              </a:rPr>
              <a:t>their seat</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by</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imply</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canning</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44" normalizeH="0" baseline="0" noProof="0">
                <a:ln>
                  <a:noFill/>
                </a:ln>
                <a:solidFill>
                  <a:srgbClr val="FFFFFF"/>
                </a:solidFill>
                <a:effectLst/>
                <a:uLnTx/>
                <a:uFillTx/>
                <a:latin typeface="Calibri"/>
                <a:ea typeface="+mn-ea"/>
                <a:cs typeface="Calibri"/>
              </a:rPr>
              <a:t>QR</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od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r </a:t>
            </a:r>
            <a:r>
              <a:rPr kumimoji="0" sz="927" b="0" i="0" u="none" strike="noStrike" kern="0" cap="none" spc="-9" normalizeH="0" baseline="0" noProof="0">
                <a:ln>
                  <a:noFill/>
                </a:ln>
                <a:solidFill>
                  <a:srgbClr val="FFFFFF"/>
                </a:solidFill>
                <a:effectLst/>
                <a:uLnTx/>
                <a:uFillTx/>
                <a:latin typeface="Calibri"/>
                <a:ea typeface="+mn-ea"/>
                <a:cs typeface="Calibri"/>
              </a:rPr>
              <a:t>tapping </a:t>
            </a:r>
            <a:r>
              <a:rPr kumimoji="0" sz="927" b="0" i="0" u="none" strike="noStrike" kern="0" cap="none" spc="0" normalizeH="0" baseline="0" noProof="0">
                <a:ln>
                  <a:noFill/>
                </a:ln>
                <a:solidFill>
                  <a:srgbClr val="FFFFFF"/>
                </a:solidFill>
                <a:effectLst/>
                <a:uLnTx/>
                <a:uFillTx/>
                <a:latin typeface="Calibri"/>
                <a:ea typeface="+mn-ea"/>
                <a:cs typeface="Calibri"/>
              </a:rPr>
              <a:t>an</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44" normalizeH="0" baseline="0" noProof="0">
                <a:ln>
                  <a:noFill/>
                </a:ln>
                <a:solidFill>
                  <a:srgbClr val="FFFFFF"/>
                </a:solidFill>
                <a:effectLst/>
                <a:uLnTx/>
                <a:uFillTx/>
                <a:latin typeface="Calibri"/>
                <a:ea typeface="+mn-ea"/>
                <a:cs typeface="Calibri"/>
              </a:rPr>
              <a:t>NFC</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chip.</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8" name="object 8"/>
          <p:cNvSpPr txBox="1"/>
          <p:nvPr/>
        </p:nvSpPr>
        <p:spPr>
          <a:xfrm>
            <a:off x="7431635" y="453612"/>
            <a:ext cx="2493309" cy="1637326"/>
          </a:xfrm>
          <a:prstGeom prst="rect">
            <a:avLst/>
          </a:prstGeom>
        </p:spPr>
        <p:txBody>
          <a:bodyPr vert="horz" wrap="square" lIns="0" tIns="21291" rIns="0" bIns="0" rtlCol="0">
            <a:spAutoFit/>
          </a:bodyPr>
          <a:lstStyle/>
          <a:p>
            <a:pPr marL="11206" marR="39223" lvl="0" indent="0" algn="l" defTabSz="806867" rtl="0" eaLnBrk="1" fontAlgn="auto" latinLnBrk="0" hangingPunct="1">
              <a:lnSpc>
                <a:spcPts val="1059"/>
              </a:lnSpc>
              <a:spcBef>
                <a:spcPts val="168"/>
              </a:spcBef>
              <a:spcAft>
                <a:spcPts val="0"/>
              </a:spcAft>
              <a:buClrTx/>
              <a:buSzTx/>
              <a:buFontTx/>
              <a:buNone/>
              <a:tabLst/>
              <a:defRPr/>
            </a:pPr>
            <a:r>
              <a:rPr kumimoji="0" sz="927" b="1" i="0" u="none" strike="noStrike" kern="0" cap="none" spc="0" normalizeH="0" baseline="0" noProof="0">
                <a:ln>
                  <a:noFill/>
                </a:ln>
                <a:solidFill>
                  <a:srgbClr val="FFFFFF"/>
                </a:solidFill>
                <a:effectLst/>
                <a:uLnTx/>
                <a:uFillTx/>
                <a:latin typeface="Calibri"/>
                <a:ea typeface="+mn-ea"/>
                <a:cs typeface="Calibri"/>
              </a:rPr>
              <a:t>Air</a:t>
            </a:r>
            <a:r>
              <a:rPr kumimoji="0" sz="927" b="1" i="0" u="none" strike="noStrike" kern="0" cap="none" spc="62"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Canada</a:t>
            </a:r>
            <a:r>
              <a:rPr kumimoji="0" sz="927" b="1" i="0" u="none" strike="noStrike" kern="0" cap="none" spc="62"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Café</a:t>
            </a:r>
            <a:r>
              <a:rPr kumimoji="0" sz="927" b="0" i="0" u="none" strike="noStrike" kern="0" cap="none" spc="0" normalizeH="0" baseline="0" noProof="0">
                <a:ln>
                  <a:noFill/>
                </a:ln>
                <a:solidFill>
                  <a:srgbClr val="FFFFFF"/>
                </a:solidFill>
                <a:effectLst/>
                <a:uLnTx/>
                <a:uFillTx/>
                <a:latin typeface="Calibri"/>
                <a:ea typeface="+mn-ea"/>
                <a:cs typeface="Calibri"/>
              </a:rPr>
              <a:t>,</a:t>
            </a:r>
            <a:r>
              <a:rPr kumimoji="0" sz="927" b="0" i="0" u="none" strike="noStrike" kern="0" cap="none" spc="7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t</a:t>
            </a:r>
            <a:r>
              <a:rPr kumimoji="0" sz="927" b="0" i="0" u="none" strike="noStrike" kern="0" cap="none" spc="7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Toronto</a:t>
            </a:r>
            <a:r>
              <a:rPr kumimoji="0" sz="927" b="0" i="0" u="none" strike="noStrike" kern="0" cap="none" spc="7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Pearson</a:t>
            </a:r>
            <a:r>
              <a:rPr kumimoji="0" sz="927" b="0" i="0" u="none" strike="noStrike" kern="0" cap="none" spc="7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ffers</a:t>
            </a:r>
            <a:r>
              <a:rPr kumimoji="0" sz="927" b="0" i="0" u="none" strike="noStrike" kern="0" cap="none" spc="79" normalizeH="0" baseline="0" noProof="0">
                <a:ln>
                  <a:noFill/>
                </a:ln>
                <a:solidFill>
                  <a:srgbClr val="FFFFFF"/>
                </a:solidFill>
                <a:effectLst/>
                <a:uLnTx/>
                <a:uFillTx/>
                <a:latin typeface="Calibri"/>
                <a:ea typeface="+mn-ea"/>
                <a:cs typeface="Calibri"/>
              </a:rPr>
              <a:t> </a:t>
            </a:r>
            <a:r>
              <a:rPr kumimoji="0" sz="927" b="0" i="0" u="none" strike="noStrike" kern="0" cap="none" spc="-44" normalizeH="0" baseline="0" noProof="0">
                <a:ln>
                  <a:noFill/>
                </a:ln>
                <a:solidFill>
                  <a:srgbClr val="FFFFFF"/>
                </a:solidFill>
                <a:effectLst/>
                <a:uLnTx/>
                <a:uFillTx/>
                <a:latin typeface="Calibri"/>
                <a:ea typeface="+mn-ea"/>
                <a:cs typeface="Calibri"/>
              </a:rPr>
              <a:t>a</a:t>
            </a:r>
            <a:r>
              <a:rPr kumimoji="0" sz="927" b="0" i="0" u="none" strike="noStrike" kern="0" cap="none" spc="441"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wide selection</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f</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pecialty </a:t>
            </a:r>
            <a:r>
              <a:rPr kumimoji="0" sz="927" b="0" i="0" u="none" strike="noStrike" kern="0" cap="none" spc="-9" normalizeH="0" baseline="0" noProof="0">
                <a:ln>
                  <a:noFill/>
                </a:ln>
                <a:solidFill>
                  <a:srgbClr val="FFFFFF"/>
                </a:solidFill>
                <a:effectLst/>
                <a:uLnTx/>
                <a:uFillTx/>
                <a:latin typeface="Calibri"/>
                <a:ea typeface="+mn-ea"/>
                <a:cs typeface="Calibri"/>
              </a:rPr>
              <a:t>beverage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grab </a:t>
            </a:r>
            <a:r>
              <a:rPr kumimoji="0" sz="927" b="0" i="0" u="none" strike="noStrike" kern="0" cap="none" spc="-22" normalizeH="0" baseline="0" noProof="0">
                <a:ln>
                  <a:noFill/>
                </a:ln>
                <a:solidFill>
                  <a:srgbClr val="FFFFFF"/>
                </a:solidFill>
                <a:effectLst/>
                <a:uLnTx/>
                <a:uFillTx/>
                <a:latin typeface="Calibri"/>
                <a:ea typeface="+mn-ea"/>
                <a:cs typeface="Calibri"/>
              </a:rPr>
              <a:t>and </a:t>
            </a:r>
            <a:r>
              <a:rPr kumimoji="0" sz="927" b="0" i="0" u="none" strike="noStrike" kern="0" cap="none" spc="0" normalizeH="0" baseline="0" noProof="0">
                <a:ln>
                  <a:noFill/>
                </a:ln>
                <a:solidFill>
                  <a:srgbClr val="FFFFFF"/>
                </a:solidFill>
                <a:effectLst/>
                <a:uLnTx/>
                <a:uFillTx/>
                <a:latin typeface="Calibri"/>
                <a:ea typeface="+mn-ea"/>
                <a:cs typeface="Calibri"/>
              </a:rPr>
              <a:t>go</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r</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be</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enjoyed</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with</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omplimentary</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Wi-Fi</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n</a:t>
            </a:r>
            <a:r>
              <a:rPr kumimoji="0" sz="927" b="0" i="0" u="none" strike="noStrike" kern="0" cap="none" spc="13" normalizeH="0" baseline="0" noProof="0">
                <a:ln>
                  <a:noFill/>
                </a:ln>
                <a:solidFill>
                  <a:srgbClr val="FFFFFF"/>
                </a:solidFill>
                <a:effectLst/>
                <a:uLnTx/>
                <a:uFillTx/>
                <a:latin typeface="Calibri"/>
                <a:ea typeface="+mn-ea"/>
                <a:cs typeface="Calibri"/>
              </a:rPr>
              <a:t> </a:t>
            </a:r>
            <a:r>
              <a:rPr kumimoji="0" sz="927" b="0" i="0" u="none" strike="noStrike" kern="0" cap="none" spc="-44" normalizeH="0" baseline="0" noProof="0">
                <a:ln>
                  <a:noFill/>
                </a:ln>
                <a:solidFill>
                  <a:srgbClr val="FFFFFF"/>
                </a:solidFill>
                <a:effectLst/>
                <a:uLnTx/>
                <a:uFillTx/>
                <a:latin typeface="Calibri"/>
                <a:ea typeface="+mn-ea"/>
                <a:cs typeface="Calibri"/>
              </a:rPr>
              <a:t>a</a:t>
            </a:r>
            <a:r>
              <a:rPr kumimoji="0" sz="927" b="0" i="0" u="none" strike="noStrike" kern="0" cap="none" spc="0" normalizeH="0" baseline="0" noProof="0">
                <a:ln>
                  <a:noFill/>
                </a:ln>
                <a:solidFill>
                  <a:srgbClr val="FFFFFF"/>
                </a:solidFill>
                <a:effectLst/>
                <a:uLnTx/>
                <a:uFillTx/>
                <a:latin typeface="Calibri"/>
                <a:ea typeface="+mn-ea"/>
                <a:cs typeface="Calibri"/>
              </a:rPr>
              <a:t> relaxed,</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bistro-type</a:t>
            </a:r>
            <a:r>
              <a:rPr kumimoji="0" sz="927" b="0" i="0" u="none" strike="noStrike" kern="0" cap="none" spc="26"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setting.</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529"/>
              </a:spcBef>
              <a:spcAft>
                <a:spcPts val="0"/>
              </a:spcAft>
              <a:buClrTx/>
              <a:buSzTx/>
              <a:buFontTx/>
              <a:buNone/>
              <a:tabLst/>
              <a:defRPr/>
            </a:pPr>
            <a:r>
              <a:rPr kumimoji="0" sz="927" b="1" i="0" u="none" strike="noStrike" kern="0" cap="none" spc="0" normalizeH="0" baseline="0" noProof="0">
                <a:ln>
                  <a:noFill/>
                </a:ln>
                <a:solidFill>
                  <a:srgbClr val="FFFFFF"/>
                </a:solidFill>
                <a:effectLst/>
                <a:uLnTx/>
                <a:uFillTx/>
                <a:latin typeface="Calibri"/>
                <a:ea typeface="+mn-ea"/>
                <a:cs typeface="Calibri"/>
              </a:rPr>
              <a:t>Air</a:t>
            </a:r>
            <a:r>
              <a:rPr kumimoji="0" sz="927" b="1" i="0" u="none" strike="noStrike" kern="0" cap="none" spc="106"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Canada</a:t>
            </a:r>
            <a:r>
              <a:rPr kumimoji="0" sz="927" b="1" i="0" u="none" strike="noStrike" kern="0" cap="none" spc="106" normalizeH="0" baseline="0" noProof="0">
                <a:ln>
                  <a:noFill/>
                </a:ln>
                <a:solidFill>
                  <a:srgbClr val="FFFFFF"/>
                </a:solidFill>
                <a:effectLst/>
                <a:uLnTx/>
                <a:uFillTx/>
                <a:latin typeface="Calibri"/>
                <a:ea typeface="+mn-ea"/>
                <a:cs typeface="Calibri"/>
              </a:rPr>
              <a:t> </a:t>
            </a:r>
            <a:r>
              <a:rPr kumimoji="0" sz="927" b="1" i="0" u="none" strike="noStrike" kern="0" cap="none" spc="0" normalizeH="0" baseline="0" noProof="0">
                <a:ln>
                  <a:noFill/>
                </a:ln>
                <a:solidFill>
                  <a:srgbClr val="FFFFFF"/>
                </a:solidFill>
                <a:effectLst/>
                <a:uLnTx/>
                <a:uFillTx/>
                <a:latin typeface="Calibri"/>
                <a:ea typeface="+mn-ea"/>
                <a:cs typeface="Calibri"/>
              </a:rPr>
              <a:t>Concierge</a:t>
            </a:r>
            <a:r>
              <a:rPr kumimoji="0" sz="927" b="1" i="0" u="none" strike="noStrike" kern="0" cap="none" spc="12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rvices</a:t>
            </a:r>
            <a:r>
              <a:rPr kumimoji="0" sz="927" b="0" i="0" u="none" strike="noStrike" kern="0" cap="none" spc="12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t</a:t>
            </a:r>
            <a:r>
              <a:rPr kumimoji="0" sz="927" b="0" i="0" u="none" strike="noStrike" kern="0" cap="none" spc="12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50</a:t>
            </a:r>
            <a:r>
              <a:rPr kumimoji="0" sz="927" b="0" i="0" u="none" strike="noStrike" kern="0" cap="none" spc="12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airports </a:t>
            </a:r>
            <a:r>
              <a:rPr kumimoji="0" sz="927" b="0" i="0" u="none" strike="noStrike" kern="0" cap="none" spc="0" normalizeH="0" baseline="0" noProof="0">
                <a:ln>
                  <a:noFill/>
                </a:ln>
                <a:solidFill>
                  <a:srgbClr val="FFFFFF"/>
                </a:solidFill>
                <a:effectLst/>
                <a:uLnTx/>
                <a:uFillTx/>
                <a:latin typeface="Calibri"/>
                <a:ea typeface="+mn-ea"/>
                <a:cs typeface="Calibri"/>
              </a:rPr>
              <a:t>worldwide</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re</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vailable</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o</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eroplan</a:t>
            </a:r>
            <a:r>
              <a:rPr kumimoji="0" sz="927" b="0" i="0" u="none" strike="noStrike" kern="0" cap="none" spc="-18"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uper</a:t>
            </a:r>
            <a:r>
              <a:rPr kumimoji="0" sz="927" b="0" i="0" u="none" strike="noStrike" kern="0" cap="none" spc="-22" normalizeH="0" baseline="0" noProof="0">
                <a:ln>
                  <a:noFill/>
                </a:ln>
                <a:solidFill>
                  <a:srgbClr val="FFFFFF"/>
                </a:solidFill>
                <a:effectLst/>
                <a:uLnTx/>
                <a:uFillTx/>
                <a:latin typeface="Calibri"/>
                <a:ea typeface="+mn-ea"/>
                <a:cs typeface="Calibri"/>
              </a:rPr>
              <a:t> </a:t>
            </a:r>
            <a:r>
              <a:rPr kumimoji="0" sz="927" b="0" i="0" u="none" strike="noStrike" kern="0" cap="none" spc="-18" normalizeH="0" baseline="0" noProof="0">
                <a:ln>
                  <a:noFill/>
                </a:ln>
                <a:solidFill>
                  <a:srgbClr val="FFFFFF"/>
                </a:solidFill>
                <a:effectLst/>
                <a:uLnTx/>
                <a:uFillTx/>
                <a:latin typeface="Calibri"/>
                <a:ea typeface="+mn-ea"/>
                <a:cs typeface="Calibri"/>
              </a:rPr>
              <a:t>Elite </a:t>
            </a:r>
            <a:r>
              <a:rPr kumimoji="0" sz="927" b="0" i="0" u="none" strike="noStrike" kern="0" cap="none" spc="-9" normalizeH="0" baseline="0" noProof="0">
                <a:ln>
                  <a:noFill/>
                </a:ln>
                <a:solidFill>
                  <a:srgbClr val="FFFFFF"/>
                </a:solidFill>
                <a:effectLst/>
                <a:uLnTx/>
                <a:uFillTx/>
                <a:latin typeface="Calibri"/>
                <a:ea typeface="+mn-ea"/>
                <a:cs typeface="Calibri"/>
              </a:rPr>
              <a:t>Member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n day</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of</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ravel at</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h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irport, </a:t>
            </a:r>
            <a:r>
              <a:rPr kumimoji="0" sz="927" b="0" i="0" u="none" strike="noStrike" kern="0" cap="none" spc="-22" normalizeH="0" baseline="0" noProof="0">
                <a:ln>
                  <a:noFill/>
                </a:ln>
                <a:solidFill>
                  <a:srgbClr val="FFFFFF"/>
                </a:solidFill>
                <a:effectLst/>
                <a:uLnTx/>
                <a:uFillTx/>
                <a:latin typeface="Calibri"/>
                <a:ea typeface="+mn-ea"/>
                <a:cs typeface="Calibri"/>
              </a:rPr>
              <a:t>to </a:t>
            </a:r>
            <a:r>
              <a:rPr kumimoji="0" sz="927" b="0" i="0" u="none" strike="noStrike" kern="0" cap="none" spc="0" normalizeH="0" baseline="0" noProof="0">
                <a:ln>
                  <a:noFill/>
                </a:ln>
                <a:solidFill>
                  <a:srgbClr val="FFFFFF"/>
                </a:solidFill>
                <a:effectLst/>
                <a:uLnTx/>
                <a:uFillTx/>
                <a:latin typeface="Calibri"/>
                <a:ea typeface="+mn-ea"/>
                <a:cs typeface="Calibri"/>
              </a:rPr>
              <a:t>Signatur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rvic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ustomers.</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Concierges</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re</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22" normalizeH="0" baseline="0" noProof="0">
                <a:ln>
                  <a:noFill/>
                </a:ln>
                <a:solidFill>
                  <a:srgbClr val="FFFFFF"/>
                </a:solidFill>
                <a:effectLst/>
                <a:uLnTx/>
                <a:uFillTx/>
                <a:latin typeface="Calibri"/>
                <a:ea typeface="+mn-ea"/>
                <a:cs typeface="Calibri"/>
              </a:rPr>
              <a:t>an </a:t>
            </a:r>
            <a:r>
              <a:rPr kumimoji="0" sz="927" b="0" i="0" u="none" strike="noStrike" kern="0" cap="none" spc="0" normalizeH="0" baseline="0" noProof="0">
                <a:ln>
                  <a:noFill/>
                </a:ln>
                <a:solidFill>
                  <a:srgbClr val="FFFFFF"/>
                </a:solidFill>
                <a:effectLst/>
                <a:uLnTx/>
                <a:uFillTx/>
                <a:latin typeface="Calibri"/>
                <a:ea typeface="+mn-ea"/>
                <a:cs typeface="Calibri"/>
              </a:rPr>
              <a:t>immediat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resourc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in-person</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t</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lect</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airports</a:t>
            </a:r>
            <a:r>
              <a:rPr kumimoji="0" sz="927" b="0" i="0" u="none" strike="noStrike" kern="0" cap="none" spc="441"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 by</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phone</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24/7</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for all</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travel</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4"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irport-</a:t>
            </a:r>
            <a:r>
              <a:rPr kumimoji="0" sz="927" b="0" i="0" u="none" strike="noStrike" kern="0" cap="none" spc="-9" normalizeH="0" baseline="0" noProof="0">
                <a:ln>
                  <a:noFill/>
                </a:ln>
                <a:solidFill>
                  <a:srgbClr val="FFFFFF"/>
                </a:solidFill>
                <a:effectLst/>
                <a:uLnTx/>
                <a:uFillTx/>
                <a:latin typeface="Calibri"/>
                <a:ea typeface="+mn-ea"/>
                <a:cs typeface="Calibri"/>
              </a:rPr>
              <a:t>related </a:t>
            </a:r>
            <a:r>
              <a:rPr kumimoji="0" sz="927" b="0" i="0" u="none" strike="noStrike" kern="0" cap="none" spc="0" normalizeH="0" baseline="0" noProof="0">
                <a:ln>
                  <a:noFill/>
                </a:ln>
                <a:solidFill>
                  <a:srgbClr val="FFFFFF"/>
                </a:solidFill>
                <a:effectLst/>
                <a:uLnTx/>
                <a:uFillTx/>
                <a:latin typeface="Calibri"/>
                <a:ea typeface="+mn-ea"/>
                <a:cs typeface="Calibri"/>
              </a:rPr>
              <a:t>matters,</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personalized</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services</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0" normalizeH="0" baseline="0" noProof="0">
                <a:ln>
                  <a:noFill/>
                </a:ln>
                <a:solidFill>
                  <a:srgbClr val="FFFFFF"/>
                </a:solidFill>
                <a:effectLst/>
                <a:uLnTx/>
                <a:uFillTx/>
                <a:latin typeface="Calibri"/>
                <a:ea typeface="+mn-ea"/>
                <a:cs typeface="Calibri"/>
              </a:rPr>
              <a:t>and</a:t>
            </a:r>
            <a:r>
              <a:rPr kumimoji="0" sz="927" b="0" i="0" u="none" strike="noStrike" kern="0" cap="none" spc="9" normalizeH="0" baseline="0" noProof="0">
                <a:ln>
                  <a:noFill/>
                </a:ln>
                <a:solidFill>
                  <a:srgbClr val="FFFFFF"/>
                </a:solidFill>
                <a:effectLst/>
                <a:uLnTx/>
                <a:uFillTx/>
                <a:latin typeface="Calibri"/>
                <a:ea typeface="+mn-ea"/>
                <a:cs typeface="Calibri"/>
              </a:rPr>
              <a:t> </a:t>
            </a:r>
            <a:r>
              <a:rPr kumimoji="0" sz="927" b="0" i="0" u="none" strike="noStrike" kern="0" cap="none" spc="-9" normalizeH="0" baseline="0" noProof="0">
                <a:ln>
                  <a:noFill/>
                </a:ln>
                <a:solidFill>
                  <a:srgbClr val="FFFFFF"/>
                </a:solidFill>
                <a:effectLst/>
                <a:uLnTx/>
                <a:uFillTx/>
                <a:latin typeface="Calibri"/>
                <a:ea typeface="+mn-ea"/>
                <a:cs typeface="Calibri"/>
              </a:rPr>
              <a:t>priority.</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9" name="object 9"/>
          <p:cNvGrpSpPr/>
          <p:nvPr/>
        </p:nvGrpSpPr>
        <p:grpSpPr>
          <a:xfrm>
            <a:off x="2068288" y="157333"/>
            <a:ext cx="956982" cy="125506"/>
            <a:chOff x="464460" y="178311"/>
            <a:chExt cx="1084580" cy="142240"/>
          </a:xfrm>
        </p:grpSpPr>
        <p:pic>
          <p:nvPicPr>
            <p:cNvPr id="10" name="object 10"/>
            <p:cNvPicPr/>
            <p:nvPr/>
          </p:nvPicPr>
          <p:blipFill>
            <a:blip r:embed="rId4" cstate="print"/>
            <a:stretch>
              <a:fillRect/>
            </a:stretch>
          </p:blipFill>
          <p:spPr>
            <a:xfrm>
              <a:off x="464460" y="178311"/>
              <a:ext cx="144475" cy="141744"/>
            </a:xfrm>
            <a:prstGeom prst="rect">
              <a:avLst/>
            </a:prstGeom>
          </p:spPr>
        </p:pic>
        <p:pic>
          <p:nvPicPr>
            <p:cNvPr id="11" name="object 11"/>
            <p:cNvPicPr/>
            <p:nvPr/>
          </p:nvPicPr>
          <p:blipFill>
            <a:blip r:embed="rId5" cstate="print"/>
            <a:stretch>
              <a:fillRect/>
            </a:stretch>
          </p:blipFill>
          <p:spPr>
            <a:xfrm>
              <a:off x="830875" y="210381"/>
              <a:ext cx="76250" cy="73393"/>
            </a:xfrm>
            <a:prstGeom prst="rect">
              <a:avLst/>
            </a:prstGeom>
          </p:spPr>
        </p:pic>
        <p:pic>
          <p:nvPicPr>
            <p:cNvPr id="12" name="object 12"/>
            <p:cNvPicPr/>
            <p:nvPr/>
          </p:nvPicPr>
          <p:blipFill>
            <a:blip r:embed="rId6" cstate="print"/>
            <a:stretch>
              <a:fillRect/>
            </a:stretch>
          </p:blipFill>
          <p:spPr>
            <a:xfrm>
              <a:off x="669577" y="210375"/>
              <a:ext cx="83515" cy="73444"/>
            </a:xfrm>
            <a:prstGeom prst="rect">
              <a:avLst/>
            </a:prstGeom>
          </p:spPr>
        </p:pic>
        <p:sp>
          <p:nvSpPr>
            <p:cNvPr id="13" name="object 13"/>
            <p:cNvSpPr/>
            <p:nvPr/>
          </p:nvSpPr>
          <p:spPr>
            <a:xfrm>
              <a:off x="775957" y="210337"/>
              <a:ext cx="17780" cy="73660"/>
            </a:xfrm>
            <a:custGeom>
              <a:avLst/>
              <a:gdLst/>
              <a:ahLst/>
              <a:cxnLst/>
              <a:rect l="l" t="t" r="r" b="b"/>
              <a:pathLst>
                <a:path w="17779" h="73660">
                  <a:moveTo>
                    <a:pt x="17233" y="0"/>
                  </a:moveTo>
                  <a:lnTo>
                    <a:pt x="0" y="0"/>
                  </a:lnTo>
                  <a:lnTo>
                    <a:pt x="0" y="73444"/>
                  </a:lnTo>
                  <a:lnTo>
                    <a:pt x="17233" y="73444"/>
                  </a:lnTo>
                  <a:lnTo>
                    <a:pt x="17233"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4" name="object 14"/>
            <p:cNvPicPr/>
            <p:nvPr/>
          </p:nvPicPr>
          <p:blipFill>
            <a:blip r:embed="rId7" cstate="print"/>
            <a:stretch>
              <a:fillRect/>
            </a:stretch>
          </p:blipFill>
          <p:spPr>
            <a:xfrm>
              <a:off x="953857" y="208191"/>
              <a:ext cx="76517" cy="77927"/>
            </a:xfrm>
            <a:prstGeom prst="rect">
              <a:avLst/>
            </a:prstGeom>
          </p:spPr>
        </p:pic>
        <p:pic>
          <p:nvPicPr>
            <p:cNvPr id="15" name="object 15"/>
            <p:cNvPicPr/>
            <p:nvPr/>
          </p:nvPicPr>
          <p:blipFill>
            <a:blip r:embed="rId8" cstate="print"/>
            <a:stretch>
              <a:fillRect/>
            </a:stretch>
          </p:blipFill>
          <p:spPr>
            <a:xfrm>
              <a:off x="1051401" y="210375"/>
              <a:ext cx="83502" cy="73444"/>
            </a:xfrm>
            <a:prstGeom prst="rect">
              <a:avLst/>
            </a:prstGeom>
          </p:spPr>
        </p:pic>
        <p:pic>
          <p:nvPicPr>
            <p:cNvPr id="16" name="object 16"/>
            <p:cNvPicPr/>
            <p:nvPr/>
          </p:nvPicPr>
          <p:blipFill>
            <a:blip r:embed="rId9" cstate="print"/>
            <a:stretch>
              <a:fillRect/>
            </a:stretch>
          </p:blipFill>
          <p:spPr>
            <a:xfrm>
              <a:off x="1263714" y="210375"/>
              <a:ext cx="83515" cy="73444"/>
            </a:xfrm>
            <a:prstGeom prst="rect">
              <a:avLst/>
            </a:prstGeom>
          </p:spPr>
        </p:pic>
        <p:sp>
          <p:nvSpPr>
            <p:cNvPr id="17" name="object 17"/>
            <p:cNvSpPr/>
            <p:nvPr/>
          </p:nvSpPr>
          <p:spPr>
            <a:xfrm>
              <a:off x="1465212" y="210378"/>
              <a:ext cx="83820" cy="73660"/>
            </a:xfrm>
            <a:custGeom>
              <a:avLst/>
              <a:gdLst/>
              <a:ahLst/>
              <a:cxnLst/>
              <a:rect l="l" t="t" r="r" b="b"/>
              <a:pathLst>
                <a:path w="83819" h="73660">
                  <a:moveTo>
                    <a:pt x="51739" y="0"/>
                  </a:moveTo>
                  <a:lnTo>
                    <a:pt x="32194" y="0"/>
                  </a:lnTo>
                  <a:lnTo>
                    <a:pt x="0" y="73444"/>
                  </a:lnTo>
                  <a:lnTo>
                    <a:pt x="12484" y="73444"/>
                  </a:lnTo>
                  <a:lnTo>
                    <a:pt x="21145" y="53746"/>
                  </a:lnTo>
                  <a:lnTo>
                    <a:pt x="74993" y="53746"/>
                  </a:lnTo>
                  <a:lnTo>
                    <a:pt x="70795" y="44043"/>
                  </a:lnTo>
                  <a:lnTo>
                    <a:pt x="25387" y="44043"/>
                  </a:lnTo>
                  <a:lnTo>
                    <a:pt x="38163" y="14820"/>
                  </a:lnTo>
                  <a:lnTo>
                    <a:pt x="58152" y="14820"/>
                  </a:lnTo>
                  <a:lnTo>
                    <a:pt x="51739" y="0"/>
                  </a:lnTo>
                  <a:close/>
                </a:path>
                <a:path w="83819" h="73660">
                  <a:moveTo>
                    <a:pt x="74993" y="53746"/>
                  </a:moveTo>
                  <a:lnTo>
                    <a:pt x="55041" y="53746"/>
                  </a:lnTo>
                  <a:lnTo>
                    <a:pt x="63563" y="73444"/>
                  </a:lnTo>
                  <a:lnTo>
                    <a:pt x="83515" y="73444"/>
                  </a:lnTo>
                  <a:lnTo>
                    <a:pt x="74993" y="53746"/>
                  </a:lnTo>
                  <a:close/>
                </a:path>
                <a:path w="83819" h="73660">
                  <a:moveTo>
                    <a:pt x="58152" y="14820"/>
                  </a:moveTo>
                  <a:lnTo>
                    <a:pt x="38163" y="14820"/>
                  </a:lnTo>
                  <a:lnTo>
                    <a:pt x="50825" y="44043"/>
                  </a:lnTo>
                  <a:lnTo>
                    <a:pt x="70795" y="44043"/>
                  </a:lnTo>
                  <a:lnTo>
                    <a:pt x="58152" y="1482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8" name="object 18"/>
            <p:cNvPicPr/>
            <p:nvPr/>
          </p:nvPicPr>
          <p:blipFill>
            <a:blip r:embed="rId10" cstate="print"/>
            <a:stretch>
              <a:fillRect/>
            </a:stretch>
          </p:blipFill>
          <p:spPr>
            <a:xfrm>
              <a:off x="1159389" y="210385"/>
              <a:ext cx="79794" cy="73431"/>
            </a:xfrm>
            <a:prstGeom prst="rect">
              <a:avLst/>
            </a:prstGeom>
          </p:spPr>
        </p:pic>
        <p:sp>
          <p:nvSpPr>
            <p:cNvPr id="19" name="object 19"/>
            <p:cNvSpPr/>
            <p:nvPr/>
          </p:nvSpPr>
          <p:spPr>
            <a:xfrm>
              <a:off x="1371429" y="210384"/>
              <a:ext cx="75565" cy="73660"/>
            </a:xfrm>
            <a:custGeom>
              <a:avLst/>
              <a:gdLst/>
              <a:ahLst/>
              <a:cxnLst/>
              <a:rect l="l" t="t" r="r" b="b"/>
              <a:pathLst>
                <a:path w="75565" h="73660">
                  <a:moveTo>
                    <a:pt x="35547" y="0"/>
                  </a:moveTo>
                  <a:lnTo>
                    <a:pt x="0" y="0"/>
                  </a:lnTo>
                  <a:lnTo>
                    <a:pt x="0" y="73393"/>
                  </a:lnTo>
                  <a:lnTo>
                    <a:pt x="33858" y="73393"/>
                  </a:lnTo>
                  <a:lnTo>
                    <a:pt x="43015" y="72798"/>
                  </a:lnTo>
                  <a:lnTo>
                    <a:pt x="51111" y="70953"/>
                  </a:lnTo>
                  <a:lnTo>
                    <a:pt x="58139" y="67847"/>
                  </a:lnTo>
                  <a:lnTo>
                    <a:pt x="64096" y="63474"/>
                  </a:lnTo>
                  <a:lnTo>
                    <a:pt x="64523" y="62979"/>
                  </a:lnTo>
                  <a:lnTo>
                    <a:pt x="38874" y="62979"/>
                  </a:lnTo>
                  <a:lnTo>
                    <a:pt x="17183" y="62941"/>
                  </a:lnTo>
                  <a:lnTo>
                    <a:pt x="17183" y="10007"/>
                  </a:lnTo>
                  <a:lnTo>
                    <a:pt x="65586" y="10007"/>
                  </a:lnTo>
                  <a:lnTo>
                    <a:pt x="64846" y="9169"/>
                  </a:lnTo>
                  <a:lnTo>
                    <a:pt x="59207" y="5186"/>
                  </a:lnTo>
                  <a:lnTo>
                    <a:pt x="52444" y="2317"/>
                  </a:lnTo>
                  <a:lnTo>
                    <a:pt x="44557" y="582"/>
                  </a:lnTo>
                  <a:lnTo>
                    <a:pt x="35547" y="0"/>
                  </a:lnTo>
                  <a:close/>
                </a:path>
                <a:path w="75565" h="73660">
                  <a:moveTo>
                    <a:pt x="65586" y="10007"/>
                  </a:moveTo>
                  <a:lnTo>
                    <a:pt x="17183" y="10007"/>
                  </a:lnTo>
                  <a:lnTo>
                    <a:pt x="34188" y="10058"/>
                  </a:lnTo>
                  <a:lnTo>
                    <a:pt x="39179" y="10693"/>
                  </a:lnTo>
                  <a:lnTo>
                    <a:pt x="46088" y="13131"/>
                  </a:lnTo>
                  <a:lnTo>
                    <a:pt x="49009" y="15379"/>
                  </a:lnTo>
                  <a:lnTo>
                    <a:pt x="54978" y="23240"/>
                  </a:lnTo>
                  <a:lnTo>
                    <a:pt x="56730" y="29095"/>
                  </a:lnTo>
                  <a:lnTo>
                    <a:pt x="56680" y="45161"/>
                  </a:lnTo>
                  <a:lnTo>
                    <a:pt x="54483" y="51904"/>
                  </a:lnTo>
                  <a:lnTo>
                    <a:pt x="49999" y="56349"/>
                  </a:lnTo>
                  <a:lnTo>
                    <a:pt x="45580" y="60782"/>
                  </a:lnTo>
                  <a:lnTo>
                    <a:pt x="38874" y="62979"/>
                  </a:lnTo>
                  <a:lnTo>
                    <a:pt x="64523" y="62979"/>
                  </a:lnTo>
                  <a:lnTo>
                    <a:pt x="68833" y="57972"/>
                  </a:lnTo>
                  <a:lnTo>
                    <a:pt x="72226" y="51436"/>
                  </a:lnTo>
                  <a:lnTo>
                    <a:pt x="74278" y="43873"/>
                  </a:lnTo>
                  <a:lnTo>
                    <a:pt x="74993" y="35293"/>
                  </a:lnTo>
                  <a:lnTo>
                    <a:pt x="74370" y="27289"/>
                  </a:lnTo>
                  <a:lnTo>
                    <a:pt x="72477" y="20259"/>
                  </a:lnTo>
                  <a:lnTo>
                    <a:pt x="69305" y="14215"/>
                  </a:lnTo>
                  <a:lnTo>
                    <a:pt x="65586" y="10007"/>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0" name="object 20"/>
          <p:cNvSpPr txBox="1"/>
          <p:nvPr/>
        </p:nvSpPr>
        <p:spPr>
          <a:xfrm>
            <a:off x="8647298" y="153081"/>
            <a:ext cx="1225363" cy="119935"/>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tab pos="1160991" algn="l"/>
              </a:tabLst>
              <a:defRPr/>
            </a:pPr>
            <a:r>
              <a:rPr kumimoji="0" sz="706" b="1" i="0" u="none" strike="noStrike" kern="0" cap="none" spc="0" normalizeH="0" baseline="0" noProof="0">
                <a:ln>
                  <a:noFill/>
                </a:ln>
                <a:solidFill>
                  <a:srgbClr val="A6A6A6"/>
                </a:solidFill>
                <a:effectLst/>
                <a:uLnTx/>
                <a:uFillTx/>
                <a:latin typeface="Calibri"/>
                <a:ea typeface="+mn-ea"/>
                <a:cs typeface="Calibri"/>
              </a:rPr>
              <a:t>Overview</a:t>
            </a:r>
            <a:r>
              <a:rPr kumimoji="0" sz="706" b="1" i="0" u="none" strike="noStrike" kern="0" cap="none" spc="216" normalizeH="0" baseline="0" noProof="0">
                <a:ln>
                  <a:noFill/>
                </a:ln>
                <a:solidFill>
                  <a:srgbClr val="A6A6A6"/>
                </a:solidFill>
                <a:effectLst/>
                <a:uLnTx/>
                <a:uFillTx/>
                <a:latin typeface="Calibri"/>
                <a:ea typeface="+mn-ea"/>
                <a:cs typeface="Calibri"/>
              </a:rPr>
              <a:t> </a:t>
            </a:r>
            <a:r>
              <a:rPr kumimoji="0" sz="706" b="0" i="0" u="none" strike="noStrike" kern="0" cap="none" spc="-44" normalizeH="0" baseline="0" noProof="0">
                <a:ln>
                  <a:noFill/>
                </a:ln>
                <a:solidFill>
                  <a:srgbClr val="A6A6A6"/>
                </a:solidFill>
                <a:effectLst/>
                <a:uLnTx/>
                <a:uFillTx/>
                <a:latin typeface="Calibri"/>
                <a:ea typeface="+mn-ea"/>
                <a:cs typeface="Calibri"/>
              </a:rPr>
              <a:t>|</a:t>
            </a:r>
            <a:r>
              <a:rPr kumimoji="0" sz="706" b="0" i="0" u="none" strike="noStrike" kern="0" cap="none" spc="221" normalizeH="0" baseline="0" noProof="0">
                <a:ln>
                  <a:noFill/>
                </a:ln>
                <a:solidFill>
                  <a:srgbClr val="A6A6A6"/>
                </a:solidFill>
                <a:effectLst/>
                <a:uLnTx/>
                <a:uFillTx/>
                <a:latin typeface="Calibri"/>
                <a:ea typeface="+mn-ea"/>
                <a:cs typeface="Calibri"/>
              </a:rPr>
              <a:t> </a:t>
            </a:r>
            <a:r>
              <a:rPr kumimoji="0" sz="706" b="0" i="0" u="none" strike="noStrike" kern="0" cap="none" spc="0" normalizeH="0" baseline="0" noProof="0">
                <a:ln>
                  <a:noFill/>
                </a:ln>
                <a:solidFill>
                  <a:srgbClr val="A6A6A6"/>
                </a:solidFill>
                <a:effectLst/>
                <a:uLnTx/>
                <a:uFillTx/>
                <a:latin typeface="Calibri"/>
                <a:ea typeface="+mn-ea"/>
                <a:cs typeface="Calibri"/>
              </a:rPr>
              <a:t>MARCH</a:t>
            </a:r>
            <a:r>
              <a:rPr kumimoji="0" sz="706" b="0" i="0" u="none" strike="noStrike" kern="0" cap="none" spc="26" normalizeH="0" baseline="0" noProof="0">
                <a:ln>
                  <a:noFill/>
                </a:ln>
                <a:solidFill>
                  <a:srgbClr val="A6A6A6"/>
                </a:solidFill>
                <a:effectLst/>
                <a:uLnTx/>
                <a:uFillTx/>
                <a:latin typeface="Calibri"/>
                <a:ea typeface="+mn-ea"/>
                <a:cs typeface="Calibri"/>
              </a:rPr>
              <a:t> </a:t>
            </a:r>
            <a:r>
              <a:rPr kumimoji="0" sz="706" b="0" i="0" u="none" strike="noStrike" kern="0" cap="none" spc="-18" normalizeH="0" baseline="0" noProof="0">
                <a:ln>
                  <a:noFill/>
                </a:ln>
                <a:solidFill>
                  <a:srgbClr val="A6A6A6"/>
                </a:solidFill>
                <a:effectLst/>
                <a:uLnTx/>
                <a:uFillTx/>
                <a:latin typeface="Calibri"/>
                <a:ea typeface="+mn-ea"/>
                <a:cs typeface="Calibri"/>
              </a:rPr>
              <a:t>2022</a:t>
            </a:r>
            <a:r>
              <a:rPr kumimoji="0" sz="706" b="0" i="0" u="none" strike="noStrike" kern="0" cap="none" spc="0" normalizeH="0" baseline="0" noProof="0">
                <a:ln>
                  <a:noFill/>
                </a:ln>
                <a:solidFill>
                  <a:srgbClr val="A6A6A6"/>
                </a:solidFill>
                <a:effectLst/>
                <a:uLnTx/>
                <a:uFillTx/>
                <a:latin typeface="Calibri"/>
                <a:ea typeface="+mn-ea"/>
                <a:cs typeface="Calibri"/>
              </a:rPr>
              <a:t>	</a:t>
            </a:r>
            <a:r>
              <a:rPr kumimoji="0" sz="706" b="1" i="0" u="none" strike="noStrike" kern="0" cap="none" spc="9" normalizeH="0" baseline="0" noProof="0">
                <a:ln>
                  <a:noFill/>
                </a:ln>
                <a:solidFill>
                  <a:srgbClr val="A6A6A6"/>
                </a:solidFill>
                <a:effectLst/>
                <a:uLnTx/>
                <a:uFillTx/>
                <a:latin typeface="Calibri"/>
                <a:ea typeface="+mn-ea"/>
                <a:cs typeface="Calibri"/>
              </a:rPr>
              <a:t>6</a:t>
            </a:r>
            <a:endParaRPr kumimoji="0" sz="706"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1" name="Footer Placeholder 20">
            <a:extLst>
              <a:ext uri="{FF2B5EF4-FFF2-40B4-BE49-F238E27FC236}">
                <a16:creationId xmlns:a16="http://schemas.microsoft.com/office/drawing/2014/main" id="{19D5D7DC-B3B5-34A8-4231-06D15A572493}"/>
              </a:ext>
            </a:extLst>
          </p:cNvPr>
          <p:cNvSpPr>
            <a:spLocks noGrp="1"/>
          </p:cNvSpPr>
          <p:nvPr>
            <p:ph type="ftr" sz="quarter" idx="5"/>
          </p:nvPr>
        </p:nvSpPr>
        <p:spPr/>
        <p:txBody>
          <a:bodyPr/>
          <a:lstStyle/>
          <a:p>
            <a:r>
              <a:rPr lang="en-CA"/>
              <a:t>Priveledged and Confidential</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0" name="object 10"/>
          <p:cNvGrpSpPr/>
          <p:nvPr/>
        </p:nvGrpSpPr>
        <p:grpSpPr>
          <a:xfrm>
            <a:off x="3709735" y="3120965"/>
            <a:ext cx="3151654" cy="2085975"/>
            <a:chOff x="2324766" y="3537093"/>
            <a:chExt cx="3571875" cy="2364105"/>
          </a:xfrm>
        </p:grpSpPr>
        <p:sp>
          <p:nvSpPr>
            <p:cNvPr id="11" name="object 11"/>
            <p:cNvSpPr/>
            <p:nvPr/>
          </p:nvSpPr>
          <p:spPr>
            <a:xfrm>
              <a:off x="4084320" y="5147666"/>
              <a:ext cx="0" cy="698500"/>
            </a:xfrm>
            <a:custGeom>
              <a:avLst/>
              <a:gdLst/>
              <a:ahLst/>
              <a:cxnLst/>
              <a:rect l="l" t="t" r="r" b="b"/>
              <a:pathLst>
                <a:path h="698500">
                  <a:moveTo>
                    <a:pt x="0" y="698500"/>
                  </a:moveTo>
                  <a:lnTo>
                    <a:pt x="0" y="0"/>
                  </a:lnTo>
                </a:path>
              </a:pathLst>
            </a:custGeom>
            <a:ln w="12700">
              <a:solidFill>
                <a:srgbClr val="B79A81"/>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2" name="object 12"/>
            <p:cNvPicPr/>
            <p:nvPr/>
          </p:nvPicPr>
          <p:blipFill>
            <a:blip r:embed="rId2" cstate="print"/>
            <a:stretch>
              <a:fillRect/>
            </a:stretch>
          </p:blipFill>
          <p:spPr>
            <a:xfrm>
              <a:off x="4016057" y="3537093"/>
              <a:ext cx="1880235" cy="2363724"/>
            </a:xfrm>
            <a:prstGeom prst="rect">
              <a:avLst/>
            </a:prstGeom>
          </p:spPr>
        </p:pic>
        <p:pic>
          <p:nvPicPr>
            <p:cNvPr id="13" name="object 13"/>
            <p:cNvPicPr/>
            <p:nvPr/>
          </p:nvPicPr>
          <p:blipFill>
            <a:blip r:embed="rId3" cstate="print"/>
            <a:stretch>
              <a:fillRect/>
            </a:stretch>
          </p:blipFill>
          <p:spPr>
            <a:xfrm>
              <a:off x="2324766" y="3557119"/>
              <a:ext cx="1896236" cy="1920239"/>
            </a:xfrm>
            <a:prstGeom prst="rect">
              <a:avLst/>
            </a:prstGeom>
          </p:spPr>
        </p:pic>
      </p:grpSp>
      <p:pic>
        <p:nvPicPr>
          <p:cNvPr id="2" name="object 2"/>
          <p:cNvPicPr/>
          <p:nvPr/>
        </p:nvPicPr>
        <p:blipFill>
          <a:blip r:embed="rId4" cstate="print"/>
          <a:stretch>
            <a:fillRect/>
          </a:stretch>
        </p:blipFill>
        <p:spPr>
          <a:xfrm>
            <a:off x="2061883" y="493059"/>
            <a:ext cx="3506724" cy="2308412"/>
          </a:xfrm>
          <a:prstGeom prst="rect">
            <a:avLst/>
          </a:prstGeom>
        </p:spPr>
      </p:pic>
      <p:sp>
        <p:nvSpPr>
          <p:cNvPr id="3" name="object 3"/>
          <p:cNvSpPr txBox="1"/>
          <p:nvPr/>
        </p:nvSpPr>
        <p:spPr>
          <a:xfrm>
            <a:off x="4896971" y="493059"/>
            <a:ext cx="5233147" cy="1610505"/>
          </a:xfrm>
          <a:prstGeom prst="rect">
            <a:avLst/>
          </a:prstGeom>
          <a:solidFill>
            <a:srgbClr val="C4BDB6"/>
          </a:solidFill>
        </p:spPr>
        <p:txBody>
          <a:bodyPr vert="horz" wrap="square" lIns="0" tIns="0" rIns="0" bIns="0" rtlCol="0">
            <a:spAutoFit/>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765"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806867" rtl="0" eaLnBrk="1" fontAlgn="auto" latinLnBrk="0" hangingPunct="1">
              <a:lnSpc>
                <a:spcPct val="100000"/>
              </a:lnSpc>
              <a:spcBef>
                <a:spcPts val="0"/>
              </a:spcBef>
              <a:spcAft>
                <a:spcPts val="0"/>
              </a:spcAft>
              <a:buClrTx/>
              <a:buSzTx/>
              <a:buFontTx/>
              <a:buNone/>
              <a:tabLst/>
              <a:defRPr/>
            </a:pPr>
            <a:endParaRPr kumimoji="0" sz="1765"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0" marR="0" lvl="0" indent="0" algn="l" defTabSz="806867" rtl="0" eaLnBrk="1" fontAlgn="auto" latinLnBrk="0" hangingPunct="1">
              <a:lnSpc>
                <a:spcPct val="100000"/>
              </a:lnSpc>
              <a:spcBef>
                <a:spcPts val="22"/>
              </a:spcBef>
              <a:spcAft>
                <a:spcPts val="0"/>
              </a:spcAft>
              <a:buClrTx/>
              <a:buSzTx/>
              <a:buFontTx/>
              <a:buNone/>
              <a:tabLst/>
              <a:defRPr/>
            </a:pPr>
            <a:endParaRPr kumimoji="0" sz="1368"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1344778" marR="0" lvl="0" indent="0" algn="l" defTabSz="806867" rtl="0" eaLnBrk="1" fontAlgn="auto" latinLnBrk="0" hangingPunct="1">
              <a:lnSpc>
                <a:spcPct val="100000"/>
              </a:lnSpc>
              <a:spcBef>
                <a:spcPts val="0"/>
              </a:spcBef>
              <a:spcAft>
                <a:spcPts val="0"/>
              </a:spcAft>
              <a:buClrTx/>
              <a:buSzTx/>
              <a:buFontTx/>
              <a:buNone/>
              <a:tabLst/>
              <a:defRPr/>
            </a:pPr>
            <a:r>
              <a:rPr kumimoji="0" sz="1412" b="1" i="0" u="none" strike="noStrike" kern="0" cap="none" spc="57" normalizeH="0" baseline="0" noProof="0">
                <a:ln>
                  <a:noFill/>
                </a:ln>
                <a:solidFill>
                  <a:sysClr val="windowText" lastClr="000000"/>
                </a:solidFill>
                <a:effectLst/>
                <a:uLnTx/>
                <a:uFillTx/>
                <a:latin typeface="Calibri"/>
                <a:ea typeface="+mn-ea"/>
                <a:cs typeface="Calibri"/>
              </a:rPr>
              <a:t>Culinary</a:t>
            </a:r>
            <a:r>
              <a:rPr kumimoji="0" sz="1412" b="1" i="0" u="none" strike="noStrike" kern="0" cap="none" spc="49" normalizeH="0" baseline="0" noProof="0">
                <a:ln>
                  <a:noFill/>
                </a:ln>
                <a:solidFill>
                  <a:sysClr val="windowText" lastClr="000000"/>
                </a:solidFill>
                <a:effectLst/>
                <a:uLnTx/>
                <a:uFillTx/>
                <a:latin typeface="Calibri"/>
                <a:ea typeface="+mn-ea"/>
                <a:cs typeface="Calibri"/>
              </a:rPr>
              <a:t> </a:t>
            </a:r>
            <a:r>
              <a:rPr kumimoji="0" sz="1412" b="1" i="0" u="none" strike="noStrike" kern="0" cap="none" spc="0" normalizeH="0" baseline="0" noProof="0">
                <a:ln>
                  <a:noFill/>
                </a:ln>
                <a:solidFill>
                  <a:sysClr val="windowText" lastClr="000000"/>
                </a:solidFill>
                <a:effectLst/>
                <a:uLnTx/>
                <a:uFillTx/>
                <a:latin typeface="Calibri"/>
                <a:ea typeface="+mn-ea"/>
                <a:cs typeface="Calibri"/>
              </a:rPr>
              <a:t>and</a:t>
            </a:r>
            <a:r>
              <a:rPr kumimoji="0" sz="1412" b="1" i="0" u="none" strike="noStrike" kern="0" cap="none" spc="53" normalizeH="0" baseline="0" noProof="0">
                <a:ln>
                  <a:noFill/>
                </a:ln>
                <a:solidFill>
                  <a:sysClr val="windowText" lastClr="000000"/>
                </a:solidFill>
                <a:effectLst/>
                <a:uLnTx/>
                <a:uFillTx/>
                <a:latin typeface="Calibri"/>
                <a:ea typeface="+mn-ea"/>
                <a:cs typeface="Calibri"/>
              </a:rPr>
              <a:t> </a:t>
            </a:r>
            <a:r>
              <a:rPr kumimoji="0" sz="1412" b="1" i="0" u="none" strike="noStrike" kern="0" cap="none" spc="0" normalizeH="0" baseline="0" noProof="0">
                <a:ln>
                  <a:noFill/>
                </a:ln>
                <a:solidFill>
                  <a:sysClr val="windowText" lastClr="000000"/>
                </a:solidFill>
                <a:effectLst/>
                <a:uLnTx/>
                <a:uFillTx/>
                <a:latin typeface="Calibri"/>
                <a:ea typeface="+mn-ea"/>
                <a:cs typeface="Calibri"/>
              </a:rPr>
              <a:t>Wine</a:t>
            </a:r>
            <a:r>
              <a:rPr kumimoji="0" sz="1412" b="1" i="0" u="none" strike="noStrike" kern="0" cap="none" spc="53" normalizeH="0" baseline="0" noProof="0">
                <a:ln>
                  <a:noFill/>
                </a:ln>
                <a:solidFill>
                  <a:sysClr val="windowText" lastClr="000000"/>
                </a:solidFill>
                <a:effectLst/>
                <a:uLnTx/>
                <a:uFillTx/>
                <a:latin typeface="Calibri"/>
                <a:ea typeface="+mn-ea"/>
                <a:cs typeface="Calibri"/>
              </a:rPr>
              <a:t> </a:t>
            </a:r>
            <a:r>
              <a:rPr kumimoji="0" sz="1412" b="1" i="0" u="none" strike="noStrike" kern="0" cap="none" spc="-9" normalizeH="0" baseline="0" noProof="0">
                <a:ln>
                  <a:noFill/>
                </a:ln>
                <a:solidFill>
                  <a:sysClr val="windowText" lastClr="000000"/>
                </a:solidFill>
                <a:effectLst/>
                <a:uLnTx/>
                <a:uFillTx/>
                <a:latin typeface="Calibri"/>
                <a:ea typeface="+mn-ea"/>
                <a:cs typeface="Calibri"/>
              </a:rPr>
              <a:t>Talent</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344778" marR="382141" lvl="0" indent="0" algn="l" defTabSz="806867" rtl="0" eaLnBrk="1" fontAlgn="auto" latinLnBrk="0" hangingPunct="1">
              <a:lnSpc>
                <a:spcPct val="107100"/>
              </a:lnSpc>
              <a:spcBef>
                <a:spcPts val="318"/>
              </a:spcBef>
              <a:spcAft>
                <a:spcPts val="0"/>
              </a:spcAft>
              <a:buClrTx/>
              <a:buSzTx/>
              <a:buFontTx/>
              <a:buNone/>
              <a:tabLst/>
              <a:defRPr/>
            </a:pPr>
            <a:r>
              <a:rPr kumimoji="0" sz="1235" b="0" i="0" u="none" strike="noStrike" kern="0" cap="none" spc="0" normalizeH="0" baseline="0" noProof="0">
                <a:ln>
                  <a:noFill/>
                </a:ln>
                <a:solidFill>
                  <a:sysClr val="windowText" lastClr="000000"/>
                </a:solidFill>
                <a:effectLst/>
                <a:uLnTx/>
                <a:uFillTx/>
                <a:latin typeface="Calibri"/>
                <a:ea typeface="+mn-ea"/>
                <a:cs typeface="Calibri"/>
              </a:rPr>
              <a:t>Air</a:t>
            </a:r>
            <a:r>
              <a:rPr kumimoji="0" sz="1235" b="0" i="0" u="none" strike="noStrike" kern="0" cap="none" spc="-35" normalizeH="0" baseline="0" noProof="0">
                <a:ln>
                  <a:noFill/>
                </a:ln>
                <a:solidFill>
                  <a:sysClr val="windowText" lastClr="000000"/>
                </a:solidFill>
                <a:effectLst/>
                <a:uLnTx/>
                <a:uFillTx/>
                <a:latin typeface="Calibri"/>
                <a:ea typeface="+mn-ea"/>
                <a:cs typeface="Calibri"/>
              </a:rPr>
              <a:t> </a:t>
            </a:r>
            <a:r>
              <a:rPr kumimoji="0" sz="1235" b="0" i="0" u="none" strike="noStrike" kern="0" cap="none" spc="-22" normalizeH="0" baseline="0" noProof="0">
                <a:ln>
                  <a:noFill/>
                </a:ln>
                <a:solidFill>
                  <a:sysClr val="windowText" lastClr="000000"/>
                </a:solidFill>
                <a:effectLst/>
                <a:uLnTx/>
                <a:uFillTx/>
                <a:latin typeface="Calibri"/>
                <a:ea typeface="+mn-ea"/>
                <a:cs typeface="Calibri"/>
              </a:rPr>
              <a:t>Canada’s</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9" normalizeH="0" baseline="0" noProof="0">
                <a:ln>
                  <a:noFill/>
                </a:ln>
                <a:solidFill>
                  <a:sysClr val="windowText" lastClr="000000"/>
                </a:solidFill>
                <a:effectLst/>
                <a:uLnTx/>
                <a:uFillTx/>
                <a:latin typeface="Calibri"/>
                <a:ea typeface="+mn-ea"/>
                <a:cs typeface="Calibri"/>
              </a:rPr>
              <a:t>panel</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of</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26" normalizeH="0" baseline="0" noProof="0">
                <a:ln>
                  <a:noFill/>
                </a:ln>
                <a:solidFill>
                  <a:sysClr val="windowText" lastClr="000000"/>
                </a:solidFill>
                <a:effectLst/>
                <a:uLnTx/>
                <a:uFillTx/>
                <a:latin typeface="Calibri"/>
                <a:ea typeface="+mn-ea"/>
                <a:cs typeface="Calibri"/>
              </a:rPr>
              <a:t>celebrated</a:t>
            </a:r>
            <a:r>
              <a:rPr kumimoji="0" sz="1235" b="0" i="0" u="none" strike="noStrike" kern="0" cap="none" spc="-35" normalizeH="0" baseline="0" noProof="0">
                <a:ln>
                  <a:noFill/>
                </a:ln>
                <a:solidFill>
                  <a:sysClr val="windowText" lastClr="000000"/>
                </a:solidFill>
                <a:effectLst/>
                <a:uLnTx/>
                <a:uFillTx/>
                <a:latin typeface="Calibri"/>
                <a:ea typeface="+mn-ea"/>
                <a:cs typeface="Calibri"/>
              </a:rPr>
              <a:t> </a:t>
            </a:r>
            <a:r>
              <a:rPr kumimoji="0" sz="1235" b="0" i="0" u="none" strike="noStrike" kern="0" cap="none" spc="-9" normalizeH="0" baseline="0" noProof="0">
                <a:ln>
                  <a:noFill/>
                </a:ln>
                <a:solidFill>
                  <a:sysClr val="windowText" lastClr="000000"/>
                </a:solidFill>
                <a:effectLst/>
                <a:uLnTx/>
                <a:uFillTx/>
                <a:latin typeface="Calibri"/>
                <a:ea typeface="+mn-ea"/>
                <a:cs typeface="Calibri"/>
              </a:rPr>
              <a:t>Canadian</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9" normalizeH="0" baseline="0" noProof="0">
                <a:ln>
                  <a:noFill/>
                </a:ln>
                <a:solidFill>
                  <a:sysClr val="windowText" lastClr="000000"/>
                </a:solidFill>
                <a:effectLst/>
                <a:uLnTx/>
                <a:uFillTx/>
                <a:latin typeface="Calibri"/>
                <a:ea typeface="+mn-ea"/>
                <a:cs typeface="Calibri"/>
              </a:rPr>
              <a:t>culinary</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22" normalizeH="0" baseline="0" noProof="0">
                <a:ln>
                  <a:noFill/>
                </a:ln>
                <a:solidFill>
                  <a:sysClr val="windowText" lastClr="000000"/>
                </a:solidFill>
                <a:effectLst/>
                <a:uLnTx/>
                <a:uFillTx/>
                <a:latin typeface="Calibri"/>
                <a:ea typeface="+mn-ea"/>
                <a:cs typeface="Calibri"/>
              </a:rPr>
              <a:t>and </a:t>
            </a:r>
            <a:r>
              <a:rPr kumimoji="0" sz="1235" b="0" i="0" u="none" strike="noStrike" kern="0" cap="none" spc="-18" normalizeH="0" baseline="0" noProof="0">
                <a:ln>
                  <a:noFill/>
                </a:ln>
                <a:solidFill>
                  <a:sysClr val="windowText" lastClr="000000"/>
                </a:solidFill>
                <a:effectLst/>
                <a:uLnTx/>
                <a:uFillTx/>
                <a:latin typeface="Calibri"/>
                <a:ea typeface="+mn-ea"/>
                <a:cs typeface="Calibri"/>
              </a:rPr>
              <a:t>wine</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9" normalizeH="0" baseline="0" noProof="0">
                <a:ln>
                  <a:noFill/>
                </a:ln>
                <a:solidFill>
                  <a:sysClr val="windowText" lastClr="000000"/>
                </a:solidFill>
                <a:effectLst/>
                <a:uLnTx/>
                <a:uFillTx/>
                <a:latin typeface="Calibri"/>
                <a:ea typeface="+mn-ea"/>
                <a:cs typeface="Calibri"/>
              </a:rPr>
              <a:t>talent</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22" normalizeH="0" baseline="0" noProof="0">
                <a:ln>
                  <a:noFill/>
                </a:ln>
                <a:solidFill>
                  <a:sysClr val="windowText" lastClr="000000"/>
                </a:solidFill>
                <a:effectLst/>
                <a:uLnTx/>
                <a:uFillTx/>
                <a:latin typeface="Calibri"/>
                <a:ea typeface="+mn-ea"/>
                <a:cs typeface="Calibri"/>
              </a:rPr>
              <a:t>have</a:t>
            </a:r>
            <a:r>
              <a:rPr kumimoji="0" sz="1235" b="0" i="0" u="none" strike="noStrike" kern="0" cap="none" spc="-26" normalizeH="0" baseline="0" noProof="0">
                <a:ln>
                  <a:noFill/>
                </a:ln>
                <a:solidFill>
                  <a:sysClr val="windowText" lastClr="000000"/>
                </a:solidFill>
                <a:effectLst/>
                <a:uLnTx/>
                <a:uFillTx/>
                <a:latin typeface="Calibri"/>
                <a:ea typeface="+mn-ea"/>
                <a:cs typeface="Calibri"/>
              </a:rPr>
              <a:t> designed</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26" normalizeH="0" baseline="0" noProof="0">
                <a:ln>
                  <a:noFill/>
                </a:ln>
                <a:solidFill>
                  <a:sysClr val="windowText" lastClr="000000"/>
                </a:solidFill>
                <a:effectLst/>
                <a:uLnTx/>
                <a:uFillTx/>
                <a:latin typeface="Calibri"/>
                <a:ea typeface="+mn-ea"/>
                <a:cs typeface="Calibri"/>
              </a:rPr>
              <a:t>award-</a:t>
            </a:r>
            <a:r>
              <a:rPr kumimoji="0" sz="1235" b="0" i="0" u="none" strike="noStrike" kern="0" cap="none" spc="-18" normalizeH="0" baseline="0" noProof="0">
                <a:ln>
                  <a:noFill/>
                </a:ln>
                <a:solidFill>
                  <a:sysClr val="windowText" lastClr="000000"/>
                </a:solidFill>
                <a:effectLst/>
                <a:uLnTx/>
                <a:uFillTx/>
                <a:latin typeface="Calibri"/>
                <a:ea typeface="+mn-ea"/>
                <a:cs typeface="Calibri"/>
              </a:rPr>
              <a:t>winning</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9" normalizeH="0" baseline="0" noProof="0">
                <a:ln>
                  <a:noFill/>
                </a:ln>
                <a:solidFill>
                  <a:sysClr val="windowText" lastClr="000000"/>
                </a:solidFill>
                <a:effectLst/>
                <a:uLnTx/>
                <a:uFillTx/>
                <a:latin typeface="Calibri"/>
                <a:ea typeface="+mn-ea"/>
                <a:cs typeface="Calibri"/>
              </a:rPr>
              <a:t>food</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and</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18" normalizeH="0" baseline="0" noProof="0">
                <a:ln>
                  <a:noFill/>
                </a:ln>
                <a:solidFill>
                  <a:sysClr val="windowText" lastClr="000000"/>
                </a:solidFill>
                <a:effectLst/>
                <a:uLnTx/>
                <a:uFillTx/>
                <a:latin typeface="Calibri"/>
                <a:ea typeface="+mn-ea"/>
                <a:cs typeface="Calibri"/>
              </a:rPr>
              <a:t>wine options</a:t>
            </a:r>
            <a:r>
              <a:rPr kumimoji="0" sz="1235" b="0" i="0" u="none" strike="noStrike" kern="0" cap="none" spc="-31"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that</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18" normalizeH="0" baseline="0" noProof="0">
                <a:ln>
                  <a:noFill/>
                </a:ln>
                <a:solidFill>
                  <a:sysClr val="windowText" lastClr="000000"/>
                </a:solidFill>
                <a:effectLst/>
                <a:uLnTx/>
                <a:uFillTx/>
                <a:latin typeface="Calibri"/>
                <a:ea typeface="+mn-ea"/>
                <a:cs typeface="Calibri"/>
              </a:rPr>
              <a:t>guide</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0" normalizeH="0" baseline="0" noProof="0">
                <a:ln>
                  <a:noFill/>
                </a:ln>
                <a:solidFill>
                  <a:sysClr val="windowText" lastClr="000000"/>
                </a:solidFill>
                <a:effectLst/>
                <a:uLnTx/>
                <a:uFillTx/>
                <a:latin typeface="Calibri"/>
                <a:ea typeface="+mn-ea"/>
                <a:cs typeface="Calibri"/>
              </a:rPr>
              <a:t>the</a:t>
            </a:r>
            <a:r>
              <a:rPr kumimoji="0" sz="1235" b="0" i="0" u="none" strike="noStrike" kern="0" cap="none" spc="-26" normalizeH="0" baseline="0" noProof="0">
                <a:ln>
                  <a:noFill/>
                </a:ln>
                <a:solidFill>
                  <a:sysClr val="windowText" lastClr="000000"/>
                </a:solidFill>
                <a:effectLst/>
                <a:uLnTx/>
                <a:uFillTx/>
                <a:latin typeface="Calibri"/>
                <a:ea typeface="+mn-ea"/>
                <a:cs typeface="Calibri"/>
              </a:rPr>
              <a:t> </a:t>
            </a:r>
            <a:r>
              <a:rPr kumimoji="0" sz="1235" b="0" i="0" u="none" strike="noStrike" kern="0" cap="none" spc="-31" normalizeH="0" baseline="0" noProof="0">
                <a:ln>
                  <a:noFill/>
                </a:ln>
                <a:solidFill>
                  <a:sysClr val="windowText" lastClr="000000"/>
                </a:solidFill>
                <a:effectLst/>
                <a:uLnTx/>
                <a:uFillTx/>
                <a:latin typeface="Calibri"/>
                <a:ea typeface="+mn-ea"/>
                <a:cs typeface="Calibri"/>
              </a:rPr>
              <a:t>airline’s </a:t>
            </a:r>
            <a:r>
              <a:rPr kumimoji="0" sz="1235" b="0" i="0" u="none" strike="noStrike" kern="0" cap="none" spc="-9" normalizeH="0" baseline="0" noProof="0">
                <a:ln>
                  <a:noFill/>
                </a:ln>
                <a:solidFill>
                  <a:sysClr val="windowText" lastClr="000000"/>
                </a:solidFill>
                <a:effectLst/>
                <a:uLnTx/>
                <a:uFillTx/>
                <a:latin typeface="Calibri"/>
                <a:ea typeface="+mn-ea"/>
                <a:cs typeface="Calibri"/>
              </a:rPr>
              <a:t>caterers.</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4" name="object 4"/>
          <p:cNvSpPr txBox="1"/>
          <p:nvPr/>
        </p:nvSpPr>
        <p:spPr>
          <a:xfrm>
            <a:off x="2050677" y="4919026"/>
            <a:ext cx="1403537" cy="1345014"/>
          </a:xfrm>
          <a:prstGeom prst="rect">
            <a:avLst/>
          </a:prstGeom>
        </p:spPr>
        <p:txBody>
          <a:bodyPr vert="horz" wrap="square" lIns="0" tIns="11206" rIns="0" bIns="0" rtlCol="0">
            <a:spAutoFit/>
          </a:bodyPr>
          <a:lstStyle/>
          <a:p>
            <a:pPr marL="11206" marR="0" lvl="0" indent="0" algn="l" defTabSz="806867" rtl="0" eaLnBrk="1" fontAlgn="auto" latinLnBrk="0" hangingPunct="1">
              <a:lnSpc>
                <a:spcPts val="1359"/>
              </a:lnSpc>
              <a:spcBef>
                <a:spcPts val="88"/>
              </a:spcBef>
              <a:spcAft>
                <a:spcPts val="0"/>
              </a:spcAft>
              <a:buClrTx/>
              <a:buSzTx/>
              <a:buFontTx/>
              <a:buNone/>
              <a:tabLst/>
              <a:defRPr/>
            </a:pPr>
            <a:r>
              <a:rPr kumimoji="0" sz="1235" b="0" i="0" u="none" strike="noStrike" kern="0" cap="none" spc="-18" normalizeH="0" baseline="0" noProof="0">
                <a:ln>
                  <a:noFill/>
                </a:ln>
                <a:solidFill>
                  <a:sysClr val="windowText" lastClr="000000"/>
                </a:solidFill>
                <a:effectLst/>
                <a:uLnTx/>
                <a:uFillTx/>
                <a:latin typeface="Calibri"/>
                <a:ea typeface="+mn-ea"/>
                <a:cs typeface="Calibri"/>
              </a:rPr>
              <a:t>Chef</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ts val="1302"/>
              </a:lnSpc>
              <a:spcBef>
                <a:spcPts val="0"/>
              </a:spcBef>
              <a:spcAft>
                <a:spcPts val="0"/>
              </a:spcAft>
              <a:buClrTx/>
              <a:buSzTx/>
              <a:buFontTx/>
              <a:buNone/>
              <a:tabLst/>
              <a:defRPr/>
            </a:pPr>
            <a:r>
              <a:rPr kumimoji="0" sz="1235" b="1" i="0" u="none" strike="noStrike" kern="0" cap="none" spc="0" normalizeH="0" baseline="0" noProof="0">
                <a:ln>
                  <a:noFill/>
                </a:ln>
                <a:solidFill>
                  <a:sysClr val="windowText" lastClr="000000"/>
                </a:solidFill>
                <a:effectLst/>
                <a:uLnTx/>
                <a:uFillTx/>
                <a:latin typeface="Calibri"/>
                <a:ea typeface="+mn-ea"/>
                <a:cs typeface="Calibri"/>
              </a:rPr>
              <a:t>David</a:t>
            </a:r>
            <a:r>
              <a:rPr kumimoji="0" sz="1235" b="1" i="0" u="none" strike="noStrike" kern="0" cap="none" spc="185" normalizeH="0" baseline="0" noProof="0">
                <a:ln>
                  <a:noFill/>
                </a:ln>
                <a:solidFill>
                  <a:sysClr val="windowText" lastClr="000000"/>
                </a:solidFill>
                <a:effectLst/>
                <a:uLnTx/>
                <a:uFillTx/>
                <a:latin typeface="Calibri"/>
                <a:ea typeface="+mn-ea"/>
                <a:cs typeface="Calibri"/>
              </a:rPr>
              <a:t> </a:t>
            </a:r>
            <a:r>
              <a:rPr kumimoji="0" sz="1235" b="1" i="0" u="none" strike="noStrike" kern="0" cap="none" spc="49" normalizeH="0" baseline="0" noProof="0">
                <a:ln>
                  <a:noFill/>
                </a:ln>
                <a:solidFill>
                  <a:sysClr val="windowText" lastClr="000000"/>
                </a:solidFill>
                <a:effectLst/>
                <a:uLnTx/>
                <a:uFillTx/>
                <a:latin typeface="Calibri"/>
                <a:ea typeface="+mn-ea"/>
                <a:cs typeface="Calibri"/>
              </a:rPr>
              <a:t>Hawksworth</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a:p>
            <a:pPr marL="11206" marR="99738" lvl="0" indent="0" algn="l" defTabSz="806867" rtl="0" eaLnBrk="1" fontAlgn="auto" latinLnBrk="0" hangingPunct="1">
              <a:lnSpc>
                <a:spcPts val="1059"/>
              </a:lnSpc>
              <a:spcBef>
                <a:spcPts val="22"/>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creates</a:t>
            </a:r>
            <a:r>
              <a:rPr kumimoji="0" sz="927" b="0" i="0" u="none" strike="noStrike" kern="0" cap="none" spc="-4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ignature</a:t>
            </a:r>
            <a:r>
              <a:rPr kumimoji="0" sz="927" b="0" i="0" u="none" strike="noStrike" kern="0" cap="none" spc="-4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dishes </a:t>
            </a:r>
            <a:r>
              <a:rPr kumimoji="0" sz="927" b="0" i="0" u="none" strike="noStrike" kern="0" cap="none" spc="0" normalizeH="0" baseline="0" noProof="0">
                <a:ln>
                  <a:noFill/>
                </a:ln>
                <a:solidFill>
                  <a:sysClr val="windowText" lastClr="000000"/>
                </a:solidFill>
                <a:effectLst/>
                <a:uLnTx/>
                <a:uFillTx/>
                <a:latin typeface="Calibri"/>
                <a:ea typeface="+mn-ea"/>
                <a:cs typeface="Calibri"/>
              </a:rPr>
              <a:t>with</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ian</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lair</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that</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r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xclusively</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featured</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on</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35"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40"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lights</a:t>
            </a:r>
            <a:r>
              <a:rPr kumimoji="0" sz="927" b="0" i="0" u="none" strike="noStrike" kern="0" cap="none" spc="40"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35"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Europe, </a:t>
            </a:r>
            <a:r>
              <a:rPr kumimoji="0" sz="927" b="0" i="0" u="none" strike="noStrike" kern="0" cap="none" spc="0" normalizeH="0" baseline="0" noProof="0">
                <a:ln>
                  <a:noFill/>
                </a:ln>
                <a:solidFill>
                  <a:sysClr val="windowText" lastClr="000000"/>
                </a:solidFill>
                <a:effectLst/>
                <a:uLnTx/>
                <a:uFillTx/>
                <a:latin typeface="Calibri"/>
                <a:ea typeface="+mn-ea"/>
                <a:cs typeface="Calibri"/>
              </a:rPr>
              <a:t>Africa,</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Middle</a:t>
            </a:r>
            <a:r>
              <a:rPr kumimoji="0" sz="927" b="0" i="0" u="none" strike="noStrike" kern="0" cap="none" spc="0"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East</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ignature</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las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the</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ignature</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Suit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 name="object 5"/>
          <p:cNvSpPr txBox="1"/>
          <p:nvPr/>
        </p:nvSpPr>
        <p:spPr>
          <a:xfrm>
            <a:off x="3718112" y="4919026"/>
            <a:ext cx="1136276" cy="1486078"/>
          </a:xfrm>
          <a:prstGeom prst="rect">
            <a:avLst/>
          </a:prstGeom>
        </p:spPr>
        <p:txBody>
          <a:bodyPr vert="horz" wrap="square" lIns="0" tIns="11206" rIns="0" bIns="0" rtlCol="0">
            <a:spAutoFit/>
          </a:bodyPr>
          <a:lstStyle/>
          <a:p>
            <a:pPr marL="11206" marR="0" lvl="0" indent="0" algn="l" defTabSz="806867" rtl="0" eaLnBrk="1" fontAlgn="auto" latinLnBrk="0" hangingPunct="1">
              <a:lnSpc>
                <a:spcPts val="1359"/>
              </a:lnSpc>
              <a:spcBef>
                <a:spcPts val="88"/>
              </a:spcBef>
              <a:spcAft>
                <a:spcPts val="0"/>
              </a:spcAft>
              <a:buClrTx/>
              <a:buSzTx/>
              <a:buFontTx/>
              <a:buNone/>
              <a:tabLst/>
              <a:defRPr/>
            </a:pPr>
            <a:r>
              <a:rPr kumimoji="0" sz="1235" b="0" i="0" u="none" strike="noStrike" kern="0" cap="none" spc="-18" normalizeH="0" baseline="0" noProof="0">
                <a:ln>
                  <a:noFill/>
                </a:ln>
                <a:solidFill>
                  <a:sysClr val="windowText" lastClr="000000"/>
                </a:solidFill>
                <a:effectLst/>
                <a:uLnTx/>
                <a:uFillTx/>
                <a:latin typeface="Calibri"/>
                <a:ea typeface="+mn-ea"/>
                <a:cs typeface="Calibri"/>
              </a:rPr>
              <a:t>Chef</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ts val="1302"/>
              </a:lnSpc>
              <a:spcBef>
                <a:spcPts val="0"/>
              </a:spcBef>
              <a:spcAft>
                <a:spcPts val="0"/>
              </a:spcAft>
              <a:buClrTx/>
              <a:buSzTx/>
              <a:buFontTx/>
              <a:buNone/>
              <a:tabLst/>
              <a:defRPr/>
            </a:pPr>
            <a:r>
              <a:rPr kumimoji="0" sz="1235" b="1" i="0" u="none" strike="noStrike" kern="0" cap="none" spc="0" normalizeH="0" baseline="0" noProof="0">
                <a:ln>
                  <a:noFill/>
                </a:ln>
                <a:solidFill>
                  <a:sysClr val="windowText" lastClr="000000"/>
                </a:solidFill>
                <a:effectLst/>
                <a:uLnTx/>
                <a:uFillTx/>
                <a:latin typeface="Calibri"/>
                <a:ea typeface="+mn-ea"/>
                <a:cs typeface="Calibri"/>
              </a:rPr>
              <a:t>Antonio</a:t>
            </a:r>
            <a:r>
              <a:rPr kumimoji="0" sz="1235" b="1" i="0" u="none" strike="noStrike" kern="0" cap="none" spc="260" normalizeH="0" baseline="0" noProof="0">
                <a:ln>
                  <a:noFill/>
                </a:ln>
                <a:solidFill>
                  <a:sysClr val="windowText" lastClr="000000"/>
                </a:solidFill>
                <a:effectLst/>
                <a:uLnTx/>
                <a:uFillTx/>
                <a:latin typeface="Calibri"/>
                <a:ea typeface="+mn-ea"/>
                <a:cs typeface="Calibri"/>
              </a:rPr>
              <a:t> </a:t>
            </a:r>
            <a:r>
              <a:rPr kumimoji="0" sz="1235" b="1" i="0" u="none" strike="noStrike" kern="0" cap="none" spc="-18" normalizeH="0" baseline="0" noProof="0">
                <a:ln>
                  <a:noFill/>
                </a:ln>
                <a:solidFill>
                  <a:sysClr val="windowText" lastClr="000000"/>
                </a:solidFill>
                <a:effectLst/>
                <a:uLnTx/>
                <a:uFillTx/>
                <a:latin typeface="Calibri"/>
                <a:ea typeface="+mn-ea"/>
                <a:cs typeface="Calibri"/>
              </a:rPr>
              <a:t>Park</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a:p>
            <a:pPr marL="11206" marR="26335" lvl="0" indent="0" algn="l" defTabSz="806867" rtl="0" eaLnBrk="1" fontAlgn="auto" latinLnBrk="0" hangingPunct="1">
              <a:lnSpc>
                <a:spcPts val="1059"/>
              </a:lnSpc>
              <a:spcBef>
                <a:spcPts val="22"/>
              </a:spcBef>
              <a:spcAft>
                <a:spcPts val="0"/>
              </a:spcAft>
              <a:buClrTx/>
              <a:buSzTx/>
              <a:buFontTx/>
              <a:buNone/>
              <a:tabLst/>
              <a:defRPr/>
            </a:pPr>
            <a:r>
              <a:rPr kumimoji="0" sz="927" b="0" i="0" u="none" strike="noStrike" kern="0" cap="none" spc="-9" normalizeH="0" baseline="0" noProof="0">
                <a:ln>
                  <a:noFill/>
                </a:ln>
                <a:solidFill>
                  <a:sysClr val="windowText" lastClr="000000"/>
                </a:solidFill>
                <a:effectLst/>
                <a:uLnTx/>
                <a:uFillTx/>
                <a:latin typeface="Calibri"/>
                <a:ea typeface="+mn-ea"/>
                <a:cs typeface="Calibri"/>
              </a:rPr>
              <a:t>prepares</a:t>
            </a:r>
            <a:r>
              <a:rPr kumimoji="0" sz="927" b="0" i="0" u="none" strike="noStrike" kern="0" cap="none" spc="-40"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destination- inspired</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enu</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a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re </a:t>
            </a:r>
            <a:r>
              <a:rPr kumimoji="0" sz="927" b="0" i="0" u="none" strike="noStrike" kern="0" cap="none" spc="-9" normalizeH="0" baseline="0" noProof="0">
                <a:ln>
                  <a:noFill/>
                </a:ln>
                <a:solidFill>
                  <a:sysClr val="windowText" lastClr="000000"/>
                </a:solidFill>
                <a:effectLst/>
                <a:uLnTx/>
                <a:uFillTx/>
                <a:latin typeface="Calibri"/>
                <a:ea typeface="+mn-ea"/>
                <a:cs typeface="Calibri"/>
              </a:rPr>
              <a:t>presented</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a:t>
            </a:r>
            <a:r>
              <a:rPr kumimoji="0" sz="927" b="0" i="0" u="none" strike="noStrike" kern="0" cap="none" spc="-9" normalizeH="0" baseline="0" noProof="0">
                <a:ln>
                  <a:noFill/>
                </a:ln>
                <a:solidFill>
                  <a:sysClr val="windowText" lastClr="000000"/>
                </a:solidFill>
                <a:effectLst/>
                <a:uLnTx/>
                <a:uFillTx/>
                <a:latin typeface="Calibri"/>
                <a:ea typeface="+mn-ea"/>
                <a:cs typeface="Calibri"/>
              </a:rPr>
              <a:t> select</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flights</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rom</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Asia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outh</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merica,</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el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Signature </a:t>
            </a:r>
            <a:r>
              <a:rPr kumimoji="0" sz="927" b="0" i="0" u="none" strike="noStrike" kern="0" cap="none" spc="0" normalizeH="0" baseline="0" noProof="0">
                <a:ln>
                  <a:noFill/>
                </a:ln>
                <a:solidFill>
                  <a:sysClr val="windowText" lastClr="000000"/>
                </a:solidFill>
                <a:effectLst/>
                <a:uLnTx/>
                <a:uFillTx/>
                <a:latin typeface="Calibri"/>
                <a:ea typeface="+mn-ea"/>
                <a:cs typeface="Calibri"/>
              </a:rPr>
              <a:t>Class</a:t>
            </a:r>
            <a:r>
              <a:rPr kumimoji="0" sz="927" b="0" i="0" u="none" strike="noStrike" kern="0" cap="none" spc="57"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t>
            </a:r>
            <a:r>
              <a:rPr kumimoji="0" sz="927" b="0" i="0" u="none" strike="noStrike" kern="0" cap="none" spc="6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orth</a:t>
            </a:r>
            <a:r>
              <a:rPr kumimoji="0" sz="927" b="0" i="0" u="none" strike="noStrike" kern="0" cap="none" spc="57"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merica.</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6" name="object 6"/>
          <p:cNvSpPr txBox="1"/>
          <p:nvPr/>
        </p:nvSpPr>
        <p:spPr>
          <a:xfrm>
            <a:off x="5385547" y="4919026"/>
            <a:ext cx="1212476" cy="1486078"/>
          </a:xfrm>
          <a:prstGeom prst="rect">
            <a:avLst/>
          </a:prstGeom>
        </p:spPr>
        <p:txBody>
          <a:bodyPr vert="horz" wrap="square" lIns="0" tIns="11206" rIns="0" bIns="0" rtlCol="0">
            <a:spAutoFit/>
          </a:bodyPr>
          <a:lstStyle/>
          <a:p>
            <a:pPr marL="11206" marR="0" lvl="0" indent="0" algn="l" defTabSz="806867" rtl="0" eaLnBrk="1" fontAlgn="auto" latinLnBrk="0" hangingPunct="1">
              <a:lnSpc>
                <a:spcPts val="1359"/>
              </a:lnSpc>
              <a:spcBef>
                <a:spcPts val="88"/>
              </a:spcBef>
              <a:spcAft>
                <a:spcPts val="0"/>
              </a:spcAft>
              <a:buClrTx/>
              <a:buSzTx/>
              <a:buFontTx/>
              <a:buNone/>
              <a:tabLst/>
              <a:defRPr/>
            </a:pPr>
            <a:r>
              <a:rPr kumimoji="0" sz="1235" b="0" i="0" u="none" strike="noStrike" kern="0" cap="none" spc="-18" normalizeH="0" baseline="0" noProof="0">
                <a:ln>
                  <a:noFill/>
                </a:ln>
                <a:solidFill>
                  <a:sysClr val="windowText" lastClr="000000"/>
                </a:solidFill>
                <a:effectLst/>
                <a:uLnTx/>
                <a:uFillTx/>
                <a:latin typeface="Calibri"/>
                <a:ea typeface="+mn-ea"/>
                <a:cs typeface="Calibri"/>
              </a:rPr>
              <a:t>Chef</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ts val="1302"/>
              </a:lnSpc>
              <a:spcBef>
                <a:spcPts val="0"/>
              </a:spcBef>
              <a:spcAft>
                <a:spcPts val="0"/>
              </a:spcAft>
              <a:buClrTx/>
              <a:buSzTx/>
              <a:buFontTx/>
              <a:buNone/>
              <a:tabLst/>
              <a:defRPr/>
            </a:pPr>
            <a:r>
              <a:rPr kumimoji="0" sz="1235" b="1" i="0" u="none" strike="noStrike" kern="0" cap="none" spc="0" normalizeH="0" baseline="0" noProof="0">
                <a:ln>
                  <a:noFill/>
                </a:ln>
                <a:solidFill>
                  <a:sysClr val="windowText" lastClr="000000"/>
                </a:solidFill>
                <a:effectLst/>
                <a:uLnTx/>
                <a:uFillTx/>
                <a:latin typeface="Calibri"/>
                <a:ea typeface="+mn-ea"/>
                <a:cs typeface="Calibri"/>
              </a:rPr>
              <a:t>Jérôme</a:t>
            </a:r>
            <a:r>
              <a:rPr kumimoji="0" sz="1235" b="1" i="0" u="none" strike="noStrike" kern="0" cap="none" spc="163" normalizeH="0" baseline="0" noProof="0">
                <a:ln>
                  <a:noFill/>
                </a:ln>
                <a:solidFill>
                  <a:sysClr val="windowText" lastClr="000000"/>
                </a:solidFill>
                <a:effectLst/>
                <a:uLnTx/>
                <a:uFillTx/>
                <a:latin typeface="Calibri"/>
                <a:ea typeface="+mn-ea"/>
                <a:cs typeface="Calibri"/>
              </a:rPr>
              <a:t> </a:t>
            </a:r>
            <a:r>
              <a:rPr kumimoji="0" sz="1235" b="1" i="0" u="none" strike="noStrike" kern="0" cap="none" spc="-9" normalizeH="0" baseline="0" noProof="0">
                <a:ln>
                  <a:noFill/>
                </a:ln>
                <a:solidFill>
                  <a:sysClr val="windowText" lastClr="000000"/>
                </a:solidFill>
                <a:effectLst/>
                <a:uLnTx/>
                <a:uFillTx/>
                <a:latin typeface="Calibri"/>
                <a:ea typeface="+mn-ea"/>
                <a:cs typeface="Calibri"/>
              </a:rPr>
              <a:t>Ferrer</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a:p>
            <a:pPr marL="11206" marR="176502" lvl="0" indent="0" algn="l" defTabSz="806867" rtl="0" eaLnBrk="1" fontAlgn="auto" latinLnBrk="0" hangingPunct="1">
              <a:lnSpc>
                <a:spcPts val="1059"/>
              </a:lnSpc>
              <a:spcBef>
                <a:spcPts val="22"/>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designs meals </a:t>
            </a:r>
            <a:r>
              <a:rPr kumimoji="0" sz="927" b="0" i="0" u="none" strike="noStrike" kern="0" cap="none" spc="-22" normalizeH="0" baseline="0" noProof="0">
                <a:ln>
                  <a:noFill/>
                </a:ln>
                <a:solidFill>
                  <a:sysClr val="windowText" lastClr="000000"/>
                </a:solidFill>
                <a:effectLst/>
                <a:uLnTx/>
                <a:uFillTx/>
                <a:latin typeface="Calibri"/>
                <a:ea typeface="+mn-ea"/>
                <a:cs typeface="Calibri"/>
              </a:rPr>
              <a:t>for</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9" normalizeH="0" baseline="0" noProof="0">
                <a:ln>
                  <a:noFill/>
                </a:ln>
                <a:solidFill>
                  <a:sysClr val="windowText" lastClr="000000"/>
                </a:solidFill>
                <a:effectLst/>
                <a:uLnTx/>
                <a:uFillTx/>
                <a:latin typeface="Calibri"/>
                <a:ea typeface="+mn-ea"/>
                <a:cs typeface="Calibri"/>
              </a:rPr>
              <a:t> airlin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remium</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Econom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Economy </a:t>
            </a:r>
            <a:r>
              <a:rPr kumimoji="0" sz="927" b="0" i="0" u="none" strike="noStrike" kern="0" cap="none" spc="0" normalizeH="0" baseline="0" noProof="0">
                <a:ln>
                  <a:noFill/>
                </a:ln>
                <a:solidFill>
                  <a:sysClr val="windowText" lastClr="000000"/>
                </a:solidFill>
                <a:effectLst/>
                <a:uLnTx/>
                <a:uFillTx/>
                <a:latin typeface="Calibri"/>
                <a:ea typeface="+mn-ea"/>
                <a:cs typeface="Calibri"/>
              </a:rPr>
              <a:t>Class</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ustomers</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ll </a:t>
            </a:r>
            <a:r>
              <a:rPr kumimoji="0" sz="927" b="0" i="0" u="none" strike="noStrike" kern="0" cap="none" spc="0" normalizeH="0" baseline="0" noProof="0">
                <a:ln>
                  <a:noFill/>
                </a:ln>
                <a:solidFill>
                  <a:sysClr val="windowText" lastClr="000000"/>
                </a:solidFill>
                <a:effectLst/>
                <a:uLnTx/>
                <a:uFillTx/>
                <a:latin typeface="Calibri"/>
                <a:ea typeface="+mn-ea"/>
                <a:cs typeface="Calibri"/>
              </a:rPr>
              <a:t>flights</a:t>
            </a:r>
            <a:r>
              <a:rPr kumimoji="0" sz="927" b="0" i="0" u="none" strike="noStrike" kern="0" cap="none" spc="4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departing</a:t>
            </a:r>
            <a:r>
              <a:rPr kumimoji="0" sz="927" b="0" i="0" u="none" strike="noStrike" kern="0" cap="none" spc="4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anada </a:t>
            </a:r>
            <a:r>
              <a:rPr kumimoji="0" sz="927" b="0" i="0" u="none" strike="noStrike" kern="0" cap="none" spc="0" normalizeH="0" baseline="0" noProof="0">
                <a:ln>
                  <a:noFill/>
                </a:ln>
                <a:solidFill>
                  <a:sysClr val="windowText" lastClr="000000"/>
                </a:solidFill>
                <a:effectLst/>
                <a:uLnTx/>
                <a:uFillTx/>
                <a:latin typeface="Calibri"/>
                <a:ea typeface="+mn-ea"/>
                <a:cs typeface="Calibri"/>
              </a:rPr>
              <a:t>fo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Europe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ia,</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s </a:t>
            </a:r>
            <a:r>
              <a:rPr kumimoji="0" sz="927" b="0" i="0" u="none" strike="noStrike" kern="0" cap="none" spc="0" normalizeH="0" baseline="0" noProof="0">
                <a:ln>
                  <a:noFill/>
                </a:ln>
                <a:solidFill>
                  <a:sysClr val="windowText" lastClr="000000"/>
                </a:solidFill>
                <a:effectLst/>
                <a:uLnTx/>
                <a:uFillTx/>
                <a:latin typeface="Calibri"/>
                <a:ea typeface="+mn-ea"/>
                <a:cs typeface="Calibri"/>
              </a:rPr>
              <a:t>well</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ustralia</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nd </a:t>
            </a:r>
            <a:r>
              <a:rPr kumimoji="0" sz="927" b="0" i="0" u="none" strike="noStrike" kern="0" cap="none" spc="0" normalizeH="0" baseline="0" noProof="0">
                <a:ln>
                  <a:noFill/>
                </a:ln>
                <a:solidFill>
                  <a:sysClr val="windowText" lastClr="000000"/>
                </a:solidFill>
                <a:effectLst/>
                <a:uLnTx/>
                <a:uFillTx/>
                <a:latin typeface="Calibri"/>
                <a:ea typeface="+mn-ea"/>
                <a:cs typeface="Calibri"/>
              </a:rPr>
              <a:t>South</a:t>
            </a:r>
            <a:r>
              <a:rPr kumimoji="0" sz="927" b="0" i="0" u="none" strike="noStrike" kern="0" cap="none" spc="5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merica.</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7" name="object 7"/>
          <p:cNvSpPr txBox="1"/>
          <p:nvPr/>
        </p:nvSpPr>
        <p:spPr>
          <a:xfrm>
            <a:off x="7052982" y="4919026"/>
            <a:ext cx="1132354" cy="1203950"/>
          </a:xfrm>
          <a:prstGeom prst="rect">
            <a:avLst/>
          </a:prstGeom>
        </p:spPr>
        <p:txBody>
          <a:bodyPr vert="horz" wrap="square" lIns="0" tIns="11206" rIns="0" bIns="0" rtlCol="0">
            <a:spAutoFit/>
          </a:bodyPr>
          <a:lstStyle/>
          <a:p>
            <a:pPr marL="11206" marR="0" lvl="0" indent="0" algn="l" defTabSz="806867" rtl="0" eaLnBrk="1" fontAlgn="auto" latinLnBrk="0" hangingPunct="1">
              <a:lnSpc>
                <a:spcPts val="1359"/>
              </a:lnSpc>
              <a:spcBef>
                <a:spcPts val="88"/>
              </a:spcBef>
              <a:spcAft>
                <a:spcPts val="0"/>
              </a:spcAft>
              <a:buClrTx/>
              <a:buSzTx/>
              <a:buFontTx/>
              <a:buNone/>
              <a:tabLst/>
              <a:defRPr/>
            </a:pPr>
            <a:r>
              <a:rPr kumimoji="0" sz="1235" b="0" i="0" u="none" strike="noStrike" kern="0" cap="none" spc="-18" normalizeH="0" baseline="0" noProof="0">
                <a:ln>
                  <a:noFill/>
                </a:ln>
                <a:solidFill>
                  <a:sysClr val="windowText" lastClr="000000"/>
                </a:solidFill>
                <a:effectLst/>
                <a:uLnTx/>
                <a:uFillTx/>
                <a:latin typeface="Calibri"/>
                <a:ea typeface="+mn-ea"/>
                <a:cs typeface="Calibri"/>
              </a:rPr>
              <a:t>Chef</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ts val="1302"/>
              </a:lnSpc>
              <a:spcBef>
                <a:spcPts val="0"/>
              </a:spcBef>
              <a:spcAft>
                <a:spcPts val="0"/>
              </a:spcAft>
              <a:buClrTx/>
              <a:buSzTx/>
              <a:buFontTx/>
              <a:buNone/>
              <a:tabLst/>
              <a:defRPr/>
            </a:pPr>
            <a:r>
              <a:rPr kumimoji="0" sz="1235" b="1" i="0" u="none" strike="noStrike" kern="0" cap="none" spc="49" normalizeH="0" baseline="0" noProof="0">
                <a:ln>
                  <a:noFill/>
                </a:ln>
                <a:solidFill>
                  <a:sysClr val="windowText" lastClr="000000"/>
                </a:solidFill>
                <a:effectLst/>
                <a:uLnTx/>
                <a:uFillTx/>
                <a:latin typeface="Calibri"/>
                <a:ea typeface="+mn-ea"/>
                <a:cs typeface="Calibri"/>
              </a:rPr>
              <a:t>Vikram</a:t>
            </a:r>
            <a:r>
              <a:rPr kumimoji="0" sz="1235" b="1" i="0" u="none" strike="noStrike" kern="0" cap="none" spc="13" normalizeH="0" baseline="0" noProof="0">
                <a:ln>
                  <a:noFill/>
                </a:ln>
                <a:solidFill>
                  <a:sysClr val="windowText" lastClr="000000"/>
                </a:solidFill>
                <a:effectLst/>
                <a:uLnTx/>
                <a:uFillTx/>
                <a:latin typeface="Calibri"/>
                <a:ea typeface="+mn-ea"/>
                <a:cs typeface="Calibri"/>
              </a:rPr>
              <a:t> </a:t>
            </a:r>
            <a:r>
              <a:rPr kumimoji="0" sz="1235" b="1" i="0" u="none" strike="noStrike" kern="0" cap="none" spc="22" normalizeH="0" baseline="0" noProof="0">
                <a:ln>
                  <a:noFill/>
                </a:ln>
                <a:solidFill>
                  <a:sysClr val="windowText" lastClr="000000"/>
                </a:solidFill>
                <a:effectLst/>
                <a:uLnTx/>
                <a:uFillTx/>
                <a:latin typeface="Calibri"/>
                <a:ea typeface="+mn-ea"/>
                <a:cs typeface="Calibri"/>
              </a:rPr>
              <a:t>Vij</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22"/>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creates</a:t>
            </a:r>
            <a:r>
              <a:rPr kumimoji="0" sz="927" b="0" i="0" u="none" strike="noStrike" kern="0" cap="none" spc="-35"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odern</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Indian </a:t>
            </a:r>
            <a:r>
              <a:rPr kumimoji="0" sz="927" b="0" i="0" u="none" strike="noStrike" kern="0" cap="none" spc="0" normalizeH="0" baseline="0" noProof="0">
                <a:ln>
                  <a:noFill/>
                </a:ln>
                <a:solidFill>
                  <a:sysClr val="windowText" lastClr="000000"/>
                </a:solidFill>
                <a:effectLst/>
                <a:uLnTx/>
                <a:uFillTx/>
                <a:latin typeface="Calibri"/>
                <a:ea typeface="+mn-ea"/>
                <a:cs typeface="Calibri"/>
              </a:rPr>
              <a:t>dish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or all</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bins </a:t>
            </a:r>
            <a:r>
              <a:rPr kumimoji="0" sz="927" b="0" i="0" u="none" strike="noStrike" kern="0" cap="none" spc="-22" normalizeH="0" baseline="0" noProof="0">
                <a:ln>
                  <a:noFill/>
                </a:ln>
                <a:solidFill>
                  <a:sysClr val="windowText" lastClr="000000"/>
                </a:solidFill>
                <a:effectLst/>
                <a:uLnTx/>
                <a:uFillTx/>
                <a:latin typeface="Calibri"/>
                <a:ea typeface="+mn-ea"/>
                <a:cs typeface="Calibri"/>
              </a:rPr>
              <a:t>of </a:t>
            </a:r>
            <a:r>
              <a:rPr kumimoji="0" sz="927" b="0" i="0" u="none" strike="noStrike" kern="0" cap="none" spc="0" normalizeH="0" baseline="0" noProof="0">
                <a:ln>
                  <a:noFill/>
                </a:ln>
                <a:solidFill>
                  <a:sysClr val="windowText" lastClr="000000"/>
                </a:solidFill>
                <a:effectLst/>
                <a:uLnTx/>
                <a:uFillTx/>
                <a:latin typeface="Calibri"/>
                <a:ea typeface="+mn-ea"/>
                <a:cs typeface="Calibri"/>
              </a:rPr>
              <a:t>service o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anada’s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India</a:t>
            </a:r>
            <a:r>
              <a:rPr kumimoji="0" sz="927" b="0" i="0" u="none" strike="noStrike" kern="0" cap="none" spc="101"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flights </a:t>
            </a:r>
            <a:r>
              <a:rPr kumimoji="0" sz="927" b="0" i="0" u="none" strike="noStrike" kern="0" cap="none" spc="0" normalizeH="0" baseline="0" noProof="0">
                <a:ln>
                  <a:noFill/>
                </a:ln>
                <a:solidFill>
                  <a:sysClr val="windowText" lastClr="000000"/>
                </a:solidFill>
                <a:effectLst/>
                <a:uLnTx/>
                <a:uFillTx/>
                <a:latin typeface="Calibri"/>
                <a:ea typeface="+mn-ea"/>
                <a:cs typeface="Calibri"/>
              </a:rPr>
              <a:t>from </a:t>
            </a:r>
            <a:r>
              <a:rPr kumimoji="0" sz="927" b="0" i="0" u="none" strike="noStrike" kern="0" cap="none" spc="-9" normalizeH="0" baseline="0" noProof="0">
                <a:ln>
                  <a:noFill/>
                </a:ln>
                <a:solidFill>
                  <a:sysClr val="windowText" lastClr="000000"/>
                </a:solidFill>
                <a:effectLst/>
                <a:uLnTx/>
                <a:uFillTx/>
                <a:latin typeface="Calibri"/>
                <a:ea typeface="+mn-ea"/>
                <a:cs typeface="Calibri"/>
              </a:rPr>
              <a:t>Toronto</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rgbClr val="2A2A2A"/>
                </a:solidFill>
                <a:effectLst/>
                <a:uLnTx/>
                <a:uFillTx/>
                <a:latin typeface="Calibri"/>
                <a:ea typeface="+mn-ea"/>
                <a:cs typeface="Calibri"/>
              </a:rPr>
              <a:t>and </a:t>
            </a:r>
            <a:r>
              <a:rPr kumimoji="0" sz="927" b="0" i="0" u="none" strike="noStrike" kern="0" cap="none" spc="-9" normalizeH="0" baseline="0" noProof="0">
                <a:ln>
                  <a:noFill/>
                </a:ln>
                <a:solidFill>
                  <a:srgbClr val="2A2A2A"/>
                </a:solidFill>
                <a:effectLst/>
                <a:uLnTx/>
                <a:uFillTx/>
                <a:latin typeface="Calibri"/>
                <a:ea typeface="+mn-ea"/>
                <a:cs typeface="Calibri"/>
              </a:rPr>
              <a:t>Vancouver.</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8" name="object 8"/>
          <p:cNvSpPr txBox="1"/>
          <p:nvPr/>
        </p:nvSpPr>
        <p:spPr>
          <a:xfrm>
            <a:off x="8720418" y="4919026"/>
            <a:ext cx="1279151" cy="908997"/>
          </a:xfrm>
          <a:prstGeom prst="rect">
            <a:avLst/>
          </a:prstGeom>
        </p:spPr>
        <p:txBody>
          <a:bodyPr vert="horz" wrap="square" lIns="0" tIns="11206" rIns="0" bIns="0" rtlCol="0">
            <a:spAutoFit/>
          </a:bodyPr>
          <a:lstStyle/>
          <a:p>
            <a:pPr marL="11206" marR="0" lvl="0" indent="0" algn="l" defTabSz="806867" rtl="0" eaLnBrk="1" fontAlgn="auto" latinLnBrk="0" hangingPunct="1">
              <a:lnSpc>
                <a:spcPts val="1359"/>
              </a:lnSpc>
              <a:spcBef>
                <a:spcPts val="88"/>
              </a:spcBef>
              <a:spcAft>
                <a:spcPts val="0"/>
              </a:spcAft>
              <a:buClrTx/>
              <a:buSzTx/>
              <a:buFontTx/>
              <a:buNone/>
              <a:tabLst/>
              <a:defRPr/>
            </a:pPr>
            <a:r>
              <a:rPr kumimoji="0" sz="1235" b="0" i="0" u="none" strike="noStrike" kern="0" cap="none" spc="-9" normalizeH="0" baseline="0" noProof="0">
                <a:ln>
                  <a:noFill/>
                </a:ln>
                <a:solidFill>
                  <a:sysClr val="windowText" lastClr="000000"/>
                </a:solidFill>
                <a:effectLst/>
                <a:uLnTx/>
                <a:uFillTx/>
                <a:latin typeface="Calibri"/>
                <a:ea typeface="+mn-ea"/>
                <a:cs typeface="Calibri"/>
              </a:rPr>
              <a:t>Sommelier</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ts val="1302"/>
              </a:lnSpc>
              <a:spcBef>
                <a:spcPts val="0"/>
              </a:spcBef>
              <a:spcAft>
                <a:spcPts val="0"/>
              </a:spcAft>
              <a:buClrTx/>
              <a:buSzTx/>
              <a:buFontTx/>
              <a:buNone/>
              <a:tabLst/>
              <a:defRPr/>
            </a:pPr>
            <a:r>
              <a:rPr kumimoji="0" sz="1235" b="1" i="0" u="none" strike="noStrike" kern="0" cap="none" spc="0" normalizeH="0" baseline="0" noProof="0">
                <a:ln>
                  <a:noFill/>
                </a:ln>
                <a:solidFill>
                  <a:sysClr val="windowText" lastClr="000000"/>
                </a:solidFill>
                <a:effectLst/>
                <a:uLnTx/>
                <a:uFillTx/>
                <a:latin typeface="Calibri"/>
                <a:ea typeface="+mn-ea"/>
                <a:cs typeface="Calibri"/>
              </a:rPr>
              <a:t>Véronique</a:t>
            </a:r>
            <a:r>
              <a:rPr kumimoji="0" sz="1235" b="1" i="0" u="none" strike="noStrike" kern="0" cap="none" spc="212" normalizeH="0" baseline="0" noProof="0">
                <a:ln>
                  <a:noFill/>
                </a:ln>
                <a:solidFill>
                  <a:sysClr val="windowText" lastClr="000000"/>
                </a:solidFill>
                <a:effectLst/>
                <a:uLnTx/>
                <a:uFillTx/>
                <a:latin typeface="Calibri"/>
                <a:ea typeface="+mn-ea"/>
                <a:cs typeface="Calibri"/>
              </a:rPr>
              <a:t> </a:t>
            </a:r>
            <a:r>
              <a:rPr kumimoji="0" sz="1235" b="1" i="0" u="none" strike="noStrike" kern="0" cap="none" spc="-9" normalizeH="0" baseline="0" noProof="0">
                <a:ln>
                  <a:noFill/>
                </a:ln>
                <a:solidFill>
                  <a:sysClr val="windowText" lastClr="000000"/>
                </a:solidFill>
                <a:effectLst/>
                <a:uLnTx/>
                <a:uFillTx/>
                <a:latin typeface="Calibri"/>
                <a:ea typeface="+mn-ea"/>
                <a:cs typeface="Calibri"/>
              </a:rPr>
              <a:t>Rivest</a:t>
            </a:r>
            <a:endParaRPr kumimoji="0" sz="1235"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just" defTabSz="806867" rtl="0" eaLnBrk="1" fontAlgn="auto" latinLnBrk="0" hangingPunct="1">
              <a:lnSpc>
                <a:spcPts val="1059"/>
              </a:lnSpc>
              <a:spcBef>
                <a:spcPts val="22"/>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i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s</a:t>
            </a:r>
            <a:r>
              <a:rPr kumimoji="0" sz="927" b="0" i="0" u="none" strike="noStrike" kern="0" cap="none" spc="-9" normalizeH="0" baseline="0" noProof="0">
                <a:ln>
                  <a:noFill/>
                </a:ln>
                <a:solidFill>
                  <a:sysClr val="windowText" lastClr="000000"/>
                </a:solidFill>
                <a:effectLst/>
                <a:uLnTx/>
                <a:uFillTx/>
                <a:latin typeface="Calibri"/>
                <a:ea typeface="+mn-ea"/>
                <a:cs typeface="Calibri"/>
              </a:rPr>
              <a:t> sommelier. </a:t>
            </a:r>
            <a:r>
              <a:rPr kumimoji="0" sz="927" b="0" i="0" u="none" strike="noStrike" kern="0" cap="none" spc="0" normalizeH="0" baseline="0" noProof="0">
                <a:ln>
                  <a:noFill/>
                </a:ln>
                <a:solidFill>
                  <a:sysClr val="windowText" lastClr="000000"/>
                </a:solidFill>
                <a:effectLst/>
                <a:uLnTx/>
                <a:uFillTx/>
                <a:latin typeface="Calibri"/>
                <a:ea typeface="+mn-ea"/>
                <a:cs typeface="Calibri"/>
              </a:rPr>
              <a:t>Her</a:t>
            </a:r>
            <a:r>
              <a:rPr kumimoji="0" sz="927" b="0" i="0" u="none" strike="noStrike" kern="0" cap="none" spc="57"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refully</a:t>
            </a:r>
            <a:r>
              <a:rPr kumimoji="0" sz="927" b="0" i="0" u="none" strike="noStrike" kern="0" cap="none" spc="57"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and-</a:t>
            </a:r>
            <a:r>
              <a:rPr kumimoji="0" sz="927" b="0" i="0" u="none" strike="noStrike" kern="0" cap="none" spc="-9" normalizeH="0" baseline="0" noProof="0">
                <a:ln>
                  <a:noFill/>
                </a:ln>
                <a:solidFill>
                  <a:sysClr val="windowText" lastClr="000000"/>
                </a:solidFill>
                <a:effectLst/>
                <a:uLnTx/>
                <a:uFillTx/>
                <a:latin typeface="Calibri"/>
                <a:ea typeface="+mn-ea"/>
                <a:cs typeface="Calibri"/>
              </a:rPr>
              <a:t>picked </a:t>
            </a:r>
            <a:r>
              <a:rPr kumimoji="0" sz="927" b="0" i="0" u="none" strike="noStrike" kern="0" cap="none" spc="0" normalizeH="0" baseline="0" noProof="0">
                <a:ln>
                  <a:noFill/>
                </a:ln>
                <a:solidFill>
                  <a:sysClr val="windowText" lastClr="000000"/>
                </a:solidFill>
                <a:effectLst/>
                <a:uLnTx/>
                <a:uFillTx/>
                <a:latin typeface="Calibri"/>
                <a:ea typeface="+mn-ea"/>
                <a:cs typeface="Calibri"/>
              </a:rPr>
              <a:t>wine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air</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ith</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food</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just" defTabSz="806867" rtl="0" eaLnBrk="1" fontAlgn="auto" latinLnBrk="0" hangingPunct="1">
              <a:lnSpc>
                <a:spcPts val="1032"/>
              </a:lnSpc>
              <a:spcBef>
                <a:spcPts val="0"/>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t</a:t>
            </a:r>
            <a:r>
              <a:rPr kumimoji="0" sz="927" b="0" i="0" u="none" strike="noStrike" kern="0" cap="none" spc="12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30,000</a:t>
            </a:r>
            <a:r>
              <a:rPr kumimoji="0" sz="927" b="0" i="0" u="none" strike="noStrike" kern="0" cap="none" spc="12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fee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9" name="object 9"/>
          <p:cNvSpPr/>
          <p:nvPr/>
        </p:nvSpPr>
        <p:spPr>
          <a:xfrm>
            <a:off x="3594847" y="4542058"/>
            <a:ext cx="0" cy="616324"/>
          </a:xfrm>
          <a:custGeom>
            <a:avLst/>
            <a:gdLst/>
            <a:ahLst/>
            <a:cxnLst/>
            <a:rect l="l" t="t" r="r" b="b"/>
            <a:pathLst>
              <a:path h="698500">
                <a:moveTo>
                  <a:pt x="0" y="698500"/>
                </a:moveTo>
                <a:lnTo>
                  <a:pt x="0" y="0"/>
                </a:lnTo>
              </a:path>
            </a:pathLst>
          </a:custGeom>
          <a:ln w="12700">
            <a:solidFill>
              <a:srgbClr val="B79A81"/>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 name="object 14"/>
          <p:cNvSpPr/>
          <p:nvPr/>
        </p:nvSpPr>
        <p:spPr>
          <a:xfrm>
            <a:off x="6929717" y="4542058"/>
            <a:ext cx="0" cy="616324"/>
          </a:xfrm>
          <a:custGeom>
            <a:avLst/>
            <a:gdLst/>
            <a:ahLst/>
            <a:cxnLst/>
            <a:rect l="l" t="t" r="r" b="b"/>
            <a:pathLst>
              <a:path h="698500">
                <a:moveTo>
                  <a:pt x="0" y="698500"/>
                </a:moveTo>
                <a:lnTo>
                  <a:pt x="0" y="0"/>
                </a:lnTo>
              </a:path>
            </a:pathLst>
          </a:custGeom>
          <a:ln w="12700">
            <a:solidFill>
              <a:srgbClr val="B79A81"/>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 name="object 15"/>
          <p:cNvSpPr/>
          <p:nvPr/>
        </p:nvSpPr>
        <p:spPr>
          <a:xfrm>
            <a:off x="8597153" y="4542058"/>
            <a:ext cx="0" cy="616324"/>
          </a:xfrm>
          <a:custGeom>
            <a:avLst/>
            <a:gdLst/>
            <a:ahLst/>
            <a:cxnLst/>
            <a:rect l="l" t="t" r="r" b="b"/>
            <a:pathLst>
              <a:path h="698500">
                <a:moveTo>
                  <a:pt x="0" y="698500"/>
                </a:moveTo>
                <a:lnTo>
                  <a:pt x="0" y="0"/>
                </a:lnTo>
              </a:path>
            </a:pathLst>
          </a:custGeom>
          <a:ln w="12700">
            <a:solidFill>
              <a:srgbClr val="B79A81"/>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6" name="object 16"/>
          <p:cNvPicPr/>
          <p:nvPr/>
        </p:nvPicPr>
        <p:blipFill>
          <a:blip r:embed="rId5" cstate="print"/>
          <a:stretch>
            <a:fillRect/>
          </a:stretch>
        </p:blipFill>
        <p:spPr>
          <a:xfrm>
            <a:off x="8755860" y="3262235"/>
            <a:ext cx="1193083" cy="1581372"/>
          </a:xfrm>
          <a:prstGeom prst="rect">
            <a:avLst/>
          </a:prstGeom>
        </p:spPr>
      </p:pic>
      <p:pic>
        <p:nvPicPr>
          <p:cNvPr id="17" name="object 17"/>
          <p:cNvPicPr/>
          <p:nvPr/>
        </p:nvPicPr>
        <p:blipFill>
          <a:blip r:embed="rId6" cstate="print"/>
          <a:stretch>
            <a:fillRect/>
          </a:stretch>
        </p:blipFill>
        <p:spPr>
          <a:xfrm>
            <a:off x="7050293" y="3130117"/>
            <a:ext cx="1375634" cy="1557169"/>
          </a:xfrm>
          <a:prstGeom prst="rect">
            <a:avLst/>
          </a:prstGeom>
        </p:spPr>
      </p:pic>
      <p:pic>
        <p:nvPicPr>
          <p:cNvPr id="18" name="object 18"/>
          <p:cNvPicPr/>
          <p:nvPr/>
        </p:nvPicPr>
        <p:blipFill>
          <a:blip r:embed="rId7" cstate="print"/>
          <a:stretch>
            <a:fillRect/>
          </a:stretch>
        </p:blipFill>
        <p:spPr>
          <a:xfrm>
            <a:off x="2083615" y="3181652"/>
            <a:ext cx="1199672" cy="1637845"/>
          </a:xfrm>
          <a:prstGeom prst="rect">
            <a:avLst/>
          </a:prstGeom>
        </p:spPr>
      </p:pic>
      <p:pic>
        <p:nvPicPr>
          <p:cNvPr id="19" name="object 19"/>
          <p:cNvPicPr/>
          <p:nvPr/>
        </p:nvPicPr>
        <p:blipFill>
          <a:blip r:embed="rId8" cstate="print"/>
          <a:stretch>
            <a:fillRect/>
          </a:stretch>
        </p:blipFill>
        <p:spPr>
          <a:xfrm>
            <a:off x="2068289" y="157333"/>
            <a:ext cx="127478" cy="125068"/>
          </a:xfrm>
          <a:prstGeom prst="rect">
            <a:avLst/>
          </a:prstGeom>
        </p:spPr>
      </p:pic>
      <p:grpSp>
        <p:nvGrpSpPr>
          <p:cNvPr id="20" name="object 20"/>
          <p:cNvGrpSpPr/>
          <p:nvPr/>
        </p:nvGrpSpPr>
        <p:grpSpPr>
          <a:xfrm>
            <a:off x="2249274" y="185592"/>
            <a:ext cx="210110" cy="64994"/>
            <a:chOff x="669577" y="210337"/>
            <a:chExt cx="238125" cy="73660"/>
          </a:xfrm>
        </p:grpSpPr>
        <p:pic>
          <p:nvPicPr>
            <p:cNvPr id="21" name="object 21"/>
            <p:cNvPicPr/>
            <p:nvPr/>
          </p:nvPicPr>
          <p:blipFill>
            <a:blip r:embed="rId9" cstate="print"/>
            <a:stretch>
              <a:fillRect/>
            </a:stretch>
          </p:blipFill>
          <p:spPr>
            <a:xfrm>
              <a:off x="830875" y="210381"/>
              <a:ext cx="76250" cy="73393"/>
            </a:xfrm>
            <a:prstGeom prst="rect">
              <a:avLst/>
            </a:prstGeom>
          </p:spPr>
        </p:pic>
        <p:pic>
          <p:nvPicPr>
            <p:cNvPr id="22" name="object 22"/>
            <p:cNvPicPr/>
            <p:nvPr/>
          </p:nvPicPr>
          <p:blipFill>
            <a:blip r:embed="rId10" cstate="print"/>
            <a:stretch>
              <a:fillRect/>
            </a:stretch>
          </p:blipFill>
          <p:spPr>
            <a:xfrm>
              <a:off x="669577" y="210375"/>
              <a:ext cx="83515" cy="73444"/>
            </a:xfrm>
            <a:prstGeom prst="rect">
              <a:avLst/>
            </a:prstGeom>
          </p:spPr>
        </p:pic>
        <p:sp>
          <p:nvSpPr>
            <p:cNvPr id="23" name="object 23"/>
            <p:cNvSpPr/>
            <p:nvPr/>
          </p:nvSpPr>
          <p:spPr>
            <a:xfrm>
              <a:off x="775957" y="210337"/>
              <a:ext cx="17780" cy="73660"/>
            </a:xfrm>
            <a:custGeom>
              <a:avLst/>
              <a:gdLst/>
              <a:ahLst/>
              <a:cxnLst/>
              <a:rect l="l" t="t" r="r" b="b"/>
              <a:pathLst>
                <a:path w="17779" h="73660">
                  <a:moveTo>
                    <a:pt x="17233" y="0"/>
                  </a:moveTo>
                  <a:lnTo>
                    <a:pt x="0" y="0"/>
                  </a:lnTo>
                  <a:lnTo>
                    <a:pt x="0" y="73444"/>
                  </a:lnTo>
                  <a:lnTo>
                    <a:pt x="17233" y="73444"/>
                  </a:lnTo>
                  <a:lnTo>
                    <a:pt x="17233"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24" name="object 24"/>
          <p:cNvGrpSpPr/>
          <p:nvPr/>
        </p:nvGrpSpPr>
        <p:grpSpPr>
          <a:xfrm>
            <a:off x="2500109" y="183698"/>
            <a:ext cx="524996" cy="68916"/>
            <a:chOff x="953857" y="208191"/>
            <a:chExt cx="594995" cy="78105"/>
          </a:xfrm>
        </p:grpSpPr>
        <p:pic>
          <p:nvPicPr>
            <p:cNvPr id="25" name="object 25"/>
            <p:cNvPicPr/>
            <p:nvPr/>
          </p:nvPicPr>
          <p:blipFill>
            <a:blip r:embed="rId11" cstate="print"/>
            <a:stretch>
              <a:fillRect/>
            </a:stretch>
          </p:blipFill>
          <p:spPr>
            <a:xfrm>
              <a:off x="953857" y="208191"/>
              <a:ext cx="76517" cy="77927"/>
            </a:xfrm>
            <a:prstGeom prst="rect">
              <a:avLst/>
            </a:prstGeom>
          </p:spPr>
        </p:pic>
        <p:pic>
          <p:nvPicPr>
            <p:cNvPr id="26" name="object 26"/>
            <p:cNvPicPr/>
            <p:nvPr/>
          </p:nvPicPr>
          <p:blipFill>
            <a:blip r:embed="rId12" cstate="print"/>
            <a:stretch>
              <a:fillRect/>
            </a:stretch>
          </p:blipFill>
          <p:spPr>
            <a:xfrm>
              <a:off x="1051401" y="210375"/>
              <a:ext cx="83502" cy="73444"/>
            </a:xfrm>
            <a:prstGeom prst="rect">
              <a:avLst/>
            </a:prstGeom>
          </p:spPr>
        </p:pic>
        <p:pic>
          <p:nvPicPr>
            <p:cNvPr id="27" name="object 27"/>
            <p:cNvPicPr/>
            <p:nvPr/>
          </p:nvPicPr>
          <p:blipFill>
            <a:blip r:embed="rId13" cstate="print"/>
            <a:stretch>
              <a:fillRect/>
            </a:stretch>
          </p:blipFill>
          <p:spPr>
            <a:xfrm>
              <a:off x="1263714" y="210375"/>
              <a:ext cx="83515" cy="73444"/>
            </a:xfrm>
            <a:prstGeom prst="rect">
              <a:avLst/>
            </a:prstGeom>
          </p:spPr>
        </p:pic>
        <p:pic>
          <p:nvPicPr>
            <p:cNvPr id="28" name="object 28"/>
            <p:cNvPicPr/>
            <p:nvPr/>
          </p:nvPicPr>
          <p:blipFill>
            <a:blip r:embed="rId14" cstate="print"/>
            <a:stretch>
              <a:fillRect/>
            </a:stretch>
          </p:blipFill>
          <p:spPr>
            <a:xfrm>
              <a:off x="1159389" y="210385"/>
              <a:ext cx="79794" cy="73431"/>
            </a:xfrm>
            <a:prstGeom prst="rect">
              <a:avLst/>
            </a:prstGeom>
          </p:spPr>
        </p:pic>
        <p:sp>
          <p:nvSpPr>
            <p:cNvPr id="29" name="object 29"/>
            <p:cNvSpPr/>
            <p:nvPr/>
          </p:nvSpPr>
          <p:spPr>
            <a:xfrm>
              <a:off x="1371422" y="210387"/>
              <a:ext cx="177800" cy="73660"/>
            </a:xfrm>
            <a:custGeom>
              <a:avLst/>
              <a:gdLst/>
              <a:ahLst/>
              <a:cxnLst/>
              <a:rect l="l" t="t" r="r" b="b"/>
              <a:pathLst>
                <a:path w="177800" h="73660">
                  <a:moveTo>
                    <a:pt x="74993" y="35293"/>
                  </a:moveTo>
                  <a:lnTo>
                    <a:pt x="74371" y="27292"/>
                  </a:lnTo>
                  <a:lnTo>
                    <a:pt x="72478" y="20256"/>
                  </a:lnTo>
                  <a:lnTo>
                    <a:pt x="69303" y="14224"/>
                  </a:lnTo>
                  <a:lnTo>
                    <a:pt x="65582" y="10007"/>
                  </a:lnTo>
                  <a:lnTo>
                    <a:pt x="64846" y="9169"/>
                  </a:lnTo>
                  <a:lnTo>
                    <a:pt x="59207" y="5194"/>
                  </a:lnTo>
                  <a:lnTo>
                    <a:pt x="56730" y="4152"/>
                  </a:lnTo>
                  <a:lnTo>
                    <a:pt x="56730" y="29095"/>
                  </a:lnTo>
                  <a:lnTo>
                    <a:pt x="56680" y="45161"/>
                  </a:lnTo>
                  <a:lnTo>
                    <a:pt x="54483" y="51904"/>
                  </a:lnTo>
                  <a:lnTo>
                    <a:pt x="49999" y="56349"/>
                  </a:lnTo>
                  <a:lnTo>
                    <a:pt x="45580" y="60782"/>
                  </a:lnTo>
                  <a:lnTo>
                    <a:pt x="38874" y="62979"/>
                  </a:lnTo>
                  <a:lnTo>
                    <a:pt x="17183" y="62941"/>
                  </a:lnTo>
                  <a:lnTo>
                    <a:pt x="17183" y="10007"/>
                  </a:lnTo>
                  <a:lnTo>
                    <a:pt x="54978" y="23241"/>
                  </a:lnTo>
                  <a:lnTo>
                    <a:pt x="56730" y="29095"/>
                  </a:lnTo>
                  <a:lnTo>
                    <a:pt x="56730" y="4152"/>
                  </a:lnTo>
                  <a:lnTo>
                    <a:pt x="52451" y="2324"/>
                  </a:lnTo>
                  <a:lnTo>
                    <a:pt x="44564" y="584"/>
                  </a:lnTo>
                  <a:lnTo>
                    <a:pt x="35547" y="0"/>
                  </a:lnTo>
                  <a:lnTo>
                    <a:pt x="0" y="0"/>
                  </a:lnTo>
                  <a:lnTo>
                    <a:pt x="0" y="73393"/>
                  </a:lnTo>
                  <a:lnTo>
                    <a:pt x="33858" y="73393"/>
                  </a:lnTo>
                  <a:lnTo>
                    <a:pt x="68834" y="57975"/>
                  </a:lnTo>
                  <a:lnTo>
                    <a:pt x="74282" y="43878"/>
                  </a:lnTo>
                  <a:lnTo>
                    <a:pt x="74993" y="35293"/>
                  </a:lnTo>
                  <a:close/>
                </a:path>
                <a:path w="177800" h="73660">
                  <a:moveTo>
                    <a:pt x="177304" y="73444"/>
                  </a:moveTo>
                  <a:lnTo>
                    <a:pt x="168783" y="53746"/>
                  </a:lnTo>
                  <a:lnTo>
                    <a:pt x="164579" y="44043"/>
                  </a:lnTo>
                  <a:lnTo>
                    <a:pt x="151930" y="14820"/>
                  </a:lnTo>
                  <a:lnTo>
                    <a:pt x="145529" y="0"/>
                  </a:lnTo>
                  <a:lnTo>
                    <a:pt x="144614" y="0"/>
                  </a:lnTo>
                  <a:lnTo>
                    <a:pt x="144614" y="44043"/>
                  </a:lnTo>
                  <a:lnTo>
                    <a:pt x="119176" y="44043"/>
                  </a:lnTo>
                  <a:lnTo>
                    <a:pt x="131953" y="14820"/>
                  </a:lnTo>
                  <a:lnTo>
                    <a:pt x="144614" y="44043"/>
                  </a:lnTo>
                  <a:lnTo>
                    <a:pt x="144614" y="0"/>
                  </a:lnTo>
                  <a:lnTo>
                    <a:pt x="125984" y="0"/>
                  </a:lnTo>
                  <a:lnTo>
                    <a:pt x="93789" y="73444"/>
                  </a:lnTo>
                  <a:lnTo>
                    <a:pt x="106273" y="73444"/>
                  </a:lnTo>
                  <a:lnTo>
                    <a:pt x="114935" y="53746"/>
                  </a:lnTo>
                  <a:lnTo>
                    <a:pt x="148831" y="53746"/>
                  </a:lnTo>
                  <a:lnTo>
                    <a:pt x="157353" y="73444"/>
                  </a:lnTo>
                  <a:lnTo>
                    <a:pt x="177304" y="73444"/>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30" name="object 30"/>
          <p:cNvSpPr txBox="1"/>
          <p:nvPr/>
        </p:nvSpPr>
        <p:spPr>
          <a:xfrm>
            <a:off x="8653214" y="153081"/>
            <a:ext cx="1219200" cy="119935"/>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tab pos="1160991" algn="l"/>
              </a:tabLst>
              <a:defRPr/>
            </a:pPr>
            <a:r>
              <a:rPr kumimoji="0" sz="706" b="1" i="0" u="none" strike="noStrike" kern="0" cap="none" spc="0" normalizeH="0" baseline="0" noProof="0">
                <a:ln>
                  <a:noFill/>
                </a:ln>
                <a:solidFill>
                  <a:sysClr val="windowText" lastClr="000000"/>
                </a:solidFill>
                <a:effectLst/>
                <a:uLnTx/>
                <a:uFillTx/>
                <a:latin typeface="Calibri"/>
                <a:ea typeface="+mn-ea"/>
                <a:cs typeface="Calibri"/>
              </a:rPr>
              <a:t>Overview</a:t>
            </a:r>
            <a:r>
              <a:rPr kumimoji="0" sz="706" b="1" i="0" u="none" strike="noStrike" kern="0" cap="none" spc="216" normalizeH="0" baseline="0" noProof="0">
                <a:ln>
                  <a:noFill/>
                </a:ln>
                <a:solidFill>
                  <a:sysClr val="windowText" lastClr="000000"/>
                </a:solidFill>
                <a:effectLst/>
                <a:uLnTx/>
                <a:uFillTx/>
                <a:latin typeface="Calibri"/>
                <a:ea typeface="+mn-ea"/>
                <a:cs typeface="Calibri"/>
              </a:rPr>
              <a:t> </a:t>
            </a:r>
            <a:r>
              <a:rPr kumimoji="0" sz="706" b="0" i="0" u="none" strike="noStrike" kern="0" cap="none" spc="-44" normalizeH="0" baseline="0" noProof="0">
                <a:ln>
                  <a:noFill/>
                </a:ln>
                <a:solidFill>
                  <a:sysClr val="windowText" lastClr="000000"/>
                </a:solidFill>
                <a:effectLst/>
                <a:uLnTx/>
                <a:uFillTx/>
                <a:latin typeface="Calibri"/>
                <a:ea typeface="+mn-ea"/>
                <a:cs typeface="Calibri"/>
              </a:rPr>
              <a:t>|</a:t>
            </a:r>
            <a:r>
              <a:rPr kumimoji="0" sz="706" b="0" i="0" u="none" strike="noStrike" kern="0" cap="none" spc="221" normalizeH="0" baseline="0" noProof="0">
                <a:ln>
                  <a:noFill/>
                </a:ln>
                <a:solidFill>
                  <a:sysClr val="windowText" lastClr="000000"/>
                </a:solidFill>
                <a:effectLst/>
                <a:uLnTx/>
                <a:uFillTx/>
                <a:latin typeface="Calibri"/>
                <a:ea typeface="+mn-ea"/>
                <a:cs typeface="Calibri"/>
              </a:rPr>
              <a:t> </a:t>
            </a:r>
            <a:r>
              <a:rPr kumimoji="0" sz="706" b="0" i="0" u="none" strike="noStrike" kern="0" cap="none" spc="0" normalizeH="0" baseline="0" noProof="0">
                <a:ln>
                  <a:noFill/>
                </a:ln>
                <a:solidFill>
                  <a:sysClr val="windowText" lastClr="000000"/>
                </a:solidFill>
                <a:effectLst/>
                <a:uLnTx/>
                <a:uFillTx/>
                <a:latin typeface="Calibri"/>
                <a:ea typeface="+mn-ea"/>
                <a:cs typeface="Calibri"/>
              </a:rPr>
              <a:t>MARCH</a:t>
            </a:r>
            <a:r>
              <a:rPr kumimoji="0" sz="706" b="0" i="0" u="none" strike="noStrike" kern="0" cap="none" spc="26" normalizeH="0" baseline="0" noProof="0">
                <a:ln>
                  <a:noFill/>
                </a:ln>
                <a:solidFill>
                  <a:sysClr val="windowText" lastClr="000000"/>
                </a:solidFill>
                <a:effectLst/>
                <a:uLnTx/>
                <a:uFillTx/>
                <a:latin typeface="Calibri"/>
                <a:ea typeface="+mn-ea"/>
                <a:cs typeface="Calibri"/>
              </a:rPr>
              <a:t> </a:t>
            </a:r>
            <a:r>
              <a:rPr kumimoji="0" sz="706" b="0" i="0" u="none" strike="noStrike" kern="0" cap="none" spc="-18" normalizeH="0" baseline="0" noProof="0">
                <a:ln>
                  <a:noFill/>
                </a:ln>
                <a:solidFill>
                  <a:sysClr val="windowText" lastClr="000000"/>
                </a:solidFill>
                <a:effectLst/>
                <a:uLnTx/>
                <a:uFillTx/>
                <a:latin typeface="Calibri"/>
                <a:ea typeface="+mn-ea"/>
                <a:cs typeface="Calibri"/>
              </a:rPr>
              <a:t>2022</a:t>
            </a:r>
            <a:r>
              <a:rPr kumimoji="0" sz="706" b="0" i="0" u="none" strike="noStrike" kern="0" cap="none" spc="0" normalizeH="0" baseline="0" noProof="0">
                <a:ln>
                  <a:noFill/>
                </a:ln>
                <a:solidFill>
                  <a:sysClr val="windowText" lastClr="000000"/>
                </a:solidFill>
                <a:effectLst/>
                <a:uLnTx/>
                <a:uFillTx/>
                <a:latin typeface="Calibri"/>
                <a:ea typeface="+mn-ea"/>
                <a:cs typeface="Calibri"/>
              </a:rPr>
              <a:t>	</a:t>
            </a:r>
            <a:r>
              <a:rPr kumimoji="0" sz="706" b="1" i="0" u="none" strike="noStrike" kern="0" cap="none" spc="-44" normalizeH="0" baseline="0" noProof="0">
                <a:ln>
                  <a:noFill/>
                </a:ln>
                <a:solidFill>
                  <a:sysClr val="windowText" lastClr="000000"/>
                </a:solidFill>
                <a:effectLst/>
                <a:uLnTx/>
                <a:uFillTx/>
                <a:latin typeface="Calibri"/>
                <a:ea typeface="+mn-ea"/>
                <a:cs typeface="Calibri"/>
              </a:rPr>
              <a:t>7</a:t>
            </a:r>
            <a:endParaRPr kumimoji="0" sz="706"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31" name="Footer Placeholder 30">
            <a:extLst>
              <a:ext uri="{FF2B5EF4-FFF2-40B4-BE49-F238E27FC236}">
                <a16:creationId xmlns:a16="http://schemas.microsoft.com/office/drawing/2014/main" id="{6DB05FA5-73C0-B0A1-6E55-816AD7EA8CA6}"/>
              </a:ext>
            </a:extLst>
          </p:cNvPr>
          <p:cNvSpPr>
            <a:spLocks noGrp="1"/>
          </p:cNvSpPr>
          <p:nvPr>
            <p:ph type="ftr" sz="quarter" idx="5"/>
          </p:nvPr>
        </p:nvSpPr>
        <p:spPr/>
        <p:txBody>
          <a:bodyPr/>
          <a:lstStyle/>
          <a:p>
            <a:r>
              <a:rPr lang="en-CA"/>
              <a:t>Priveledged and Confidential</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5109883" y="493059"/>
            <a:ext cx="5020235" cy="3295582"/>
          </a:xfrm>
          <a:prstGeom prst="rect">
            <a:avLst/>
          </a:prstGeom>
        </p:spPr>
      </p:pic>
      <p:pic>
        <p:nvPicPr>
          <p:cNvPr id="3" name="object 3"/>
          <p:cNvPicPr/>
          <p:nvPr/>
        </p:nvPicPr>
        <p:blipFill>
          <a:blip r:embed="rId3" cstate="print"/>
          <a:stretch>
            <a:fillRect/>
          </a:stretch>
        </p:blipFill>
        <p:spPr>
          <a:xfrm>
            <a:off x="7933765" y="3905373"/>
            <a:ext cx="2196353" cy="2246656"/>
          </a:xfrm>
          <a:prstGeom prst="rect">
            <a:avLst/>
          </a:prstGeom>
        </p:spPr>
      </p:pic>
      <p:pic>
        <p:nvPicPr>
          <p:cNvPr id="4" name="object 4"/>
          <p:cNvPicPr/>
          <p:nvPr/>
        </p:nvPicPr>
        <p:blipFill>
          <a:blip r:embed="rId4" cstate="print"/>
          <a:stretch>
            <a:fillRect/>
          </a:stretch>
        </p:blipFill>
        <p:spPr>
          <a:xfrm>
            <a:off x="6804464" y="6051486"/>
            <a:ext cx="117236" cy="117236"/>
          </a:xfrm>
          <a:prstGeom prst="rect">
            <a:avLst/>
          </a:prstGeom>
        </p:spPr>
      </p:pic>
      <p:sp>
        <p:nvSpPr>
          <p:cNvPr id="5" name="object 5"/>
          <p:cNvSpPr txBox="1"/>
          <p:nvPr/>
        </p:nvSpPr>
        <p:spPr>
          <a:xfrm>
            <a:off x="5098677" y="3865919"/>
            <a:ext cx="2533090" cy="2393943"/>
          </a:xfrm>
          <a:prstGeom prst="rect">
            <a:avLst/>
          </a:prstGeom>
        </p:spPr>
        <p:txBody>
          <a:bodyPr vert="horz" wrap="square" lIns="0" tIns="21291" rIns="0" bIns="0" rtlCol="0">
            <a:spAutoFit/>
          </a:bodyPr>
          <a:lstStyle/>
          <a:p>
            <a:pPr marL="11206" marR="59394" lvl="0" indent="0" algn="l" defTabSz="806867" rtl="0" eaLnBrk="1" fontAlgn="auto" latinLnBrk="0" hangingPunct="1">
              <a:lnSpc>
                <a:spcPts val="1059"/>
              </a:lnSpc>
              <a:spcBef>
                <a:spcPts val="168"/>
              </a:spcBef>
              <a:spcAft>
                <a:spcPts val="0"/>
              </a:spcAft>
              <a:buClrTx/>
              <a:buSzTx/>
              <a:buFontTx/>
              <a:buNone/>
              <a:tabLst/>
              <a:defRPr/>
            </a:pPr>
            <a:r>
              <a:rPr kumimoji="0" sz="927" b="1" i="0" u="none" strike="noStrike" kern="0" cap="none" spc="0" normalizeH="0" baseline="0" noProof="0">
                <a:ln>
                  <a:noFill/>
                </a:ln>
                <a:solidFill>
                  <a:sysClr val="windowText" lastClr="000000"/>
                </a:solidFill>
                <a:effectLst/>
                <a:uLnTx/>
                <a:uFillTx/>
                <a:latin typeface="Calibri"/>
                <a:ea typeface="+mn-ea"/>
                <a:cs typeface="Calibri"/>
              </a:rPr>
              <a:t>Book</a:t>
            </a:r>
            <a:r>
              <a:rPr kumimoji="0" sz="927" b="1" i="0" u="none" strike="noStrike" kern="0" cap="none" spc="9" normalizeH="0" baseline="0" noProof="0">
                <a:ln>
                  <a:noFill/>
                </a:ln>
                <a:solidFill>
                  <a:sysClr val="windowText" lastClr="000000"/>
                </a:solidFill>
                <a:effectLst/>
                <a:uLnTx/>
                <a:uFillTx/>
                <a:latin typeface="Calibri"/>
                <a:ea typeface="+mn-ea"/>
                <a:cs typeface="Calibri"/>
              </a:rPr>
              <a:t> </a:t>
            </a:r>
            <a:r>
              <a:rPr kumimoji="0" sz="927" b="1" i="0" u="none" strike="noStrike" kern="0" cap="none" spc="40" normalizeH="0" baseline="0" noProof="0">
                <a:ln>
                  <a:noFill/>
                </a:ln>
                <a:solidFill>
                  <a:sysClr val="windowText" lastClr="000000"/>
                </a:solidFill>
                <a:effectLst/>
                <a:uLnTx/>
                <a:uFillTx/>
                <a:latin typeface="Calibri"/>
                <a:ea typeface="+mn-ea"/>
                <a:cs typeface="Calibri"/>
              </a:rPr>
              <a:t>flights</a:t>
            </a:r>
            <a:r>
              <a:rPr kumimoji="0" sz="927" b="0" i="0" u="none" strike="noStrike" kern="0" cap="none" spc="40" normalizeH="0" baseline="0" noProof="0">
                <a:ln>
                  <a:noFill/>
                </a:ln>
                <a:solidFill>
                  <a:sysClr val="windowText" lastClr="000000"/>
                </a:solidFill>
                <a:effectLst/>
                <a:uLnTx/>
                <a:uFillTx/>
                <a:latin typeface="Calibri"/>
                <a:ea typeface="+mn-ea"/>
                <a:cs typeface="Calibri"/>
              </a:rPr>
              <a:t>,</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r</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rentals</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otel</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tays</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s</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ell</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s </a:t>
            </a:r>
            <a:r>
              <a:rPr kumimoji="0" sz="927" b="0" i="0" u="none" strike="noStrike" kern="0" cap="none" spc="-9" normalizeH="0" baseline="0" noProof="0">
                <a:ln>
                  <a:noFill/>
                </a:ln>
                <a:solidFill>
                  <a:sysClr val="windowText" lastClr="000000"/>
                </a:solidFill>
                <a:effectLst/>
                <a:uLnTx/>
                <a:uFillTx/>
                <a:latin typeface="Calibri"/>
                <a:ea typeface="+mn-ea"/>
                <a:cs typeface="Calibri"/>
              </a:rPr>
              <a:t>purchas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gif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rd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ligh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asse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or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onlin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332272" lvl="0" indent="0" algn="l" defTabSz="806867" rtl="0" eaLnBrk="1" fontAlgn="auto" latinLnBrk="0" hangingPunct="1">
              <a:lnSpc>
                <a:spcPts val="1059"/>
              </a:lnSpc>
              <a:spcBef>
                <a:spcPts val="529"/>
              </a:spcBef>
              <a:spcAft>
                <a:spcPts val="0"/>
              </a:spcAft>
              <a:buClrTx/>
              <a:buSzTx/>
              <a:buFontTx/>
              <a:buNone/>
              <a:tabLst/>
              <a:defRPr/>
            </a:pPr>
            <a:r>
              <a:rPr kumimoji="0" sz="927" b="1" i="0" u="none" strike="noStrike" kern="0" cap="none" spc="53" normalizeH="0" baseline="0" noProof="0">
                <a:ln>
                  <a:noFill/>
                </a:ln>
                <a:solidFill>
                  <a:sysClr val="windowText" lastClr="000000"/>
                </a:solidFill>
                <a:effectLst/>
                <a:uLnTx/>
                <a:uFillTx/>
                <a:latin typeface="Calibri"/>
                <a:ea typeface="+mn-ea"/>
                <a:cs typeface="Calibri"/>
              </a:rPr>
              <a:t>Self-</a:t>
            </a:r>
            <a:r>
              <a:rPr kumimoji="0" sz="927" b="1" i="0" u="none" strike="noStrike" kern="0" cap="none" spc="0" normalizeH="0" baseline="0" noProof="0">
                <a:ln>
                  <a:noFill/>
                </a:ln>
                <a:solidFill>
                  <a:sysClr val="windowText" lastClr="000000"/>
                </a:solidFill>
                <a:effectLst/>
                <a:uLnTx/>
                <a:uFillTx/>
                <a:latin typeface="Calibri"/>
                <a:ea typeface="+mn-ea"/>
                <a:cs typeface="Calibri"/>
              </a:rPr>
              <a:t>service</a:t>
            </a:r>
            <a:r>
              <a:rPr kumimoji="0" sz="927" b="1"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features</a:t>
            </a:r>
            <a:r>
              <a:rPr kumimoji="0" sz="927" b="0" i="0" u="none" strike="noStrike" kern="0" cap="none" spc="4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re</a:t>
            </a:r>
            <a:r>
              <a:rPr kumimoji="0" sz="927" b="0" i="0" u="none" strike="noStrike" kern="0" cap="none" spc="4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vailable</a:t>
            </a:r>
            <a:r>
              <a:rPr kumimoji="0" sz="927" b="0" i="0" u="none" strike="noStrike" kern="0" cap="none" spc="4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4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modify </a:t>
            </a:r>
            <a:r>
              <a:rPr kumimoji="0" sz="927" b="0" i="0" u="none" strike="noStrike" kern="0" cap="none" spc="0" normalizeH="0" baseline="0" noProof="0">
                <a:ln>
                  <a:noFill/>
                </a:ln>
                <a:solidFill>
                  <a:sysClr val="windowText" lastClr="000000"/>
                </a:solidFill>
                <a:effectLst/>
                <a:uLnTx/>
                <a:uFillTx/>
                <a:latin typeface="Calibri"/>
                <a:ea typeface="+mn-ea"/>
                <a:cs typeface="Calibri"/>
              </a:rPr>
              <a:t>itinerarie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urchas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upgrade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94134" lvl="0" indent="0" algn="l" defTabSz="806867" rtl="0" eaLnBrk="1" fontAlgn="auto" latinLnBrk="0" hangingPunct="1">
              <a:lnSpc>
                <a:spcPts val="1059"/>
              </a:lnSpc>
              <a:spcBef>
                <a:spcPts val="529"/>
              </a:spcBef>
              <a:spcAft>
                <a:spcPts val="0"/>
              </a:spcAft>
              <a:buClrTx/>
              <a:buSzTx/>
              <a:buFontTx/>
              <a:buNone/>
              <a:tabLst/>
              <a:defRPr/>
            </a:pPr>
            <a:r>
              <a:rPr kumimoji="0" sz="927" b="1" i="0" u="none" strike="noStrike" kern="0" cap="none" spc="49" normalizeH="0" baseline="0" noProof="0">
                <a:ln>
                  <a:noFill/>
                </a:ln>
                <a:solidFill>
                  <a:sysClr val="windowText" lastClr="000000"/>
                </a:solidFill>
                <a:effectLst/>
                <a:uLnTx/>
                <a:uFillTx/>
                <a:latin typeface="Calibri"/>
                <a:ea typeface="+mn-ea"/>
                <a:cs typeface="Calibri"/>
              </a:rPr>
              <a:t>Check-</a:t>
            </a:r>
            <a:r>
              <a:rPr kumimoji="0" sz="927" b="1" i="0" u="none" strike="noStrike" kern="0" cap="none" spc="0" normalizeH="0" baseline="0" noProof="0">
                <a:ln>
                  <a:noFill/>
                </a:ln>
                <a:solidFill>
                  <a:sysClr val="windowText" lastClr="000000"/>
                </a:solidFill>
                <a:effectLst/>
                <a:uLnTx/>
                <a:uFillTx/>
                <a:latin typeface="Calibri"/>
                <a:ea typeface="+mn-ea"/>
                <a:cs typeface="Calibri"/>
              </a:rPr>
              <a:t>in</a:t>
            </a:r>
            <a:r>
              <a:rPr kumimoji="0" sz="927" b="1"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verify</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light</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tatu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24</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ours</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rior</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to </a:t>
            </a:r>
            <a:r>
              <a:rPr kumimoji="0" sz="927" b="0" i="0" u="none" strike="noStrike" kern="0" cap="none" spc="0" normalizeH="0" baseline="0" noProof="0">
                <a:ln>
                  <a:noFill/>
                </a:ln>
                <a:solidFill>
                  <a:sysClr val="windowText" lastClr="000000"/>
                </a:solidFill>
                <a:effectLst/>
                <a:uLnTx/>
                <a:uFillTx/>
                <a:latin typeface="Calibri"/>
                <a:ea typeface="+mn-ea"/>
                <a:cs typeface="Calibri"/>
              </a:rPr>
              <a:t>departure and confirm</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your contac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information. </a:t>
            </a:r>
            <a:r>
              <a:rPr kumimoji="0" sz="927" b="0" i="0" u="none" strike="noStrike" kern="0" cap="none" spc="0" normalizeH="0" baseline="0" noProof="0">
                <a:ln>
                  <a:noFill/>
                </a:ln>
                <a:solidFill>
                  <a:sysClr val="windowText" lastClr="000000"/>
                </a:solidFill>
                <a:effectLst/>
                <a:uLnTx/>
                <a:uFillTx/>
                <a:latin typeface="Calibri"/>
                <a:ea typeface="+mn-ea"/>
                <a:cs typeface="Calibri"/>
              </a:rPr>
              <a:t>Kiosks</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t</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ost</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ports</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rovide</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elf-service</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port</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rrival.</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529"/>
              </a:spcBef>
              <a:spcAft>
                <a:spcPts val="0"/>
              </a:spcAft>
              <a:buClrTx/>
              <a:buSzTx/>
              <a:buFontTx/>
              <a:buNone/>
              <a:tabLst/>
              <a:defRPr/>
            </a:pPr>
            <a:r>
              <a:rPr kumimoji="0" sz="927" b="1" i="0" u="none" strike="noStrike" kern="0" cap="none" spc="49" normalizeH="0" baseline="0" noProof="0">
                <a:ln>
                  <a:noFill/>
                </a:ln>
                <a:solidFill>
                  <a:sysClr val="windowText" lastClr="000000"/>
                </a:solidFill>
                <a:effectLst/>
                <a:uLnTx/>
                <a:uFillTx/>
                <a:latin typeface="Calibri"/>
                <a:ea typeface="+mn-ea"/>
                <a:cs typeface="Calibri"/>
              </a:rPr>
              <a:t>Stay</a:t>
            </a:r>
            <a:r>
              <a:rPr kumimoji="0" sz="927" b="1" i="0" u="none" strike="noStrike" kern="0" cap="none" spc="-4"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in </a:t>
            </a:r>
            <a:r>
              <a:rPr kumimoji="0" sz="927" b="1" i="0" u="none" strike="noStrike" kern="0" cap="none" spc="40" normalizeH="0" baseline="0" noProof="0">
                <a:ln>
                  <a:noFill/>
                </a:ln>
                <a:solidFill>
                  <a:sysClr val="windowText" lastClr="000000"/>
                </a:solidFill>
                <a:effectLst/>
                <a:uLnTx/>
                <a:uFillTx/>
                <a:latin typeface="Calibri"/>
                <a:ea typeface="+mn-ea"/>
                <a:cs typeface="Calibri"/>
              </a:rPr>
              <a:t>contact</a:t>
            </a:r>
            <a:r>
              <a:rPr kumimoji="0" sz="927" b="1"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ith</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real-tim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mobil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pp</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updates. </a:t>
            </a:r>
            <a:r>
              <a:rPr kumimoji="0" sz="927" b="0" i="0" u="none" strike="noStrike" kern="0" cap="none" spc="0" normalizeH="0" baseline="0" noProof="0">
                <a:ln>
                  <a:noFill/>
                </a:ln>
                <a:solidFill>
                  <a:sysClr val="windowText" lastClr="000000"/>
                </a:solidFill>
                <a:effectLst/>
                <a:uLnTx/>
                <a:uFillTx/>
                <a:latin typeface="Calibri"/>
                <a:ea typeface="+mn-ea"/>
                <a:cs typeface="Calibri"/>
              </a:rPr>
              <a:t>You</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ill</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lso</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b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utomatically</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igned</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up</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ceive </a:t>
            </a:r>
            <a:r>
              <a:rPr kumimoji="0" sz="927" b="0" i="0" u="none" strike="noStrike" kern="0" cap="none" spc="0" normalizeH="0" baseline="0" noProof="0">
                <a:ln>
                  <a:noFill/>
                </a:ln>
                <a:solidFill>
                  <a:sysClr val="windowText" lastClr="000000"/>
                </a:solidFill>
                <a:effectLst/>
                <a:uLnTx/>
                <a:uFillTx/>
                <a:latin typeface="Calibri"/>
                <a:ea typeface="+mn-ea"/>
                <a:cs typeface="Calibri"/>
              </a:rPr>
              <a:t>alert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cluding</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gat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im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information.</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67239" lvl="0" indent="0" algn="l" defTabSz="806867" rtl="0" eaLnBrk="1" fontAlgn="auto" latinLnBrk="0" hangingPunct="1">
              <a:lnSpc>
                <a:spcPts val="1059"/>
              </a:lnSpc>
              <a:spcBef>
                <a:spcPts val="529"/>
              </a:spcBef>
              <a:spcAft>
                <a:spcPts val="0"/>
              </a:spcAft>
              <a:buClrTx/>
              <a:buSzTx/>
              <a:buFontTx/>
              <a:buNone/>
              <a:tabLst>
                <a:tab pos="1823293" algn="l"/>
              </a:tabLst>
              <a:defRPr/>
            </a:pPr>
            <a:r>
              <a:rPr kumimoji="0" sz="927" b="1" i="0" u="none" strike="noStrike" kern="0" cap="none" spc="53" normalizeH="0" baseline="0" noProof="0">
                <a:ln>
                  <a:noFill/>
                </a:ln>
                <a:solidFill>
                  <a:srgbClr val="2A2A2A"/>
                </a:solidFill>
                <a:effectLst/>
                <a:uLnTx/>
                <a:uFillTx/>
                <a:latin typeface="Calibri"/>
                <a:ea typeface="+mn-ea"/>
                <a:cs typeface="Calibri"/>
              </a:rPr>
              <a:t>Self-</a:t>
            </a:r>
            <a:r>
              <a:rPr kumimoji="0" sz="927" b="1" i="0" u="none" strike="noStrike" kern="0" cap="none" spc="0" normalizeH="0" baseline="0" noProof="0">
                <a:ln>
                  <a:noFill/>
                </a:ln>
                <a:solidFill>
                  <a:srgbClr val="2A2A2A"/>
                </a:solidFill>
                <a:effectLst/>
                <a:uLnTx/>
                <a:uFillTx/>
                <a:latin typeface="Calibri"/>
                <a:ea typeface="+mn-ea"/>
                <a:cs typeface="Calibri"/>
              </a:rPr>
              <a:t>manage</a:t>
            </a:r>
            <a:r>
              <a:rPr kumimoji="0" sz="927" b="1" i="0" u="none" strike="noStrike" kern="0" cap="none" spc="18"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your</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itinerary</a:t>
            </a:r>
            <a:r>
              <a:rPr kumimoji="0" sz="927" b="0" i="0" u="none" strike="noStrike" kern="0" cap="none" spc="31"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during</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severe</a:t>
            </a:r>
            <a:r>
              <a:rPr kumimoji="0" sz="927" b="0" i="0" u="none" strike="noStrike" kern="0" cap="none" spc="31"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weather </a:t>
            </a:r>
            <a:r>
              <a:rPr kumimoji="0" sz="927" b="0" i="0" u="none" strike="noStrike" kern="0" cap="none" spc="0" normalizeH="0" baseline="0" noProof="0">
                <a:ln>
                  <a:noFill/>
                </a:ln>
                <a:solidFill>
                  <a:srgbClr val="2A2A2A"/>
                </a:solidFill>
                <a:effectLst/>
                <a:uLnTx/>
                <a:uFillTx/>
                <a:latin typeface="Calibri"/>
                <a:ea typeface="+mn-ea"/>
                <a:cs typeface="Calibri"/>
              </a:rPr>
              <a:t>and</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irregular</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peration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with</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he</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elf-</a:t>
            </a:r>
            <a:r>
              <a:rPr kumimoji="0" sz="927" b="0" i="0" u="none" strike="noStrike" kern="0" cap="none" spc="-9" normalizeH="0" baseline="0" noProof="0">
                <a:ln>
                  <a:noFill/>
                </a:ln>
                <a:solidFill>
                  <a:srgbClr val="2A2A2A"/>
                </a:solidFill>
                <a:effectLst/>
                <a:uLnTx/>
                <a:uFillTx/>
                <a:latin typeface="Calibri"/>
                <a:ea typeface="+mn-ea"/>
                <a:cs typeface="Calibri"/>
              </a:rPr>
              <a:t>Service </a:t>
            </a:r>
            <a:r>
              <a:rPr kumimoji="0" sz="927" b="0" i="0" u="none" strike="noStrike" kern="0" cap="none" spc="0" normalizeH="0" baseline="0" noProof="0">
                <a:ln>
                  <a:noFill/>
                </a:ln>
                <a:solidFill>
                  <a:srgbClr val="2A2A2A"/>
                </a:solidFill>
                <a:effectLst/>
                <a:uLnTx/>
                <a:uFillTx/>
                <a:latin typeface="Calibri"/>
                <a:ea typeface="+mn-ea"/>
                <a:cs typeface="Calibri"/>
              </a:rPr>
              <a:t>Rebooking</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Tool</a:t>
            </a:r>
            <a:r>
              <a:rPr kumimoji="0" sz="927" b="0" i="1" u="none" strike="noStrike" kern="0" cap="none" spc="-9" normalizeH="0" baseline="0" noProof="0">
                <a:ln>
                  <a:noFill/>
                </a:ln>
                <a:solidFill>
                  <a:srgbClr val="2A2A2A"/>
                </a:solidFill>
                <a:effectLst/>
                <a:uLnTx/>
                <a:uFillTx/>
                <a:latin typeface="Calibri"/>
                <a:ea typeface="+mn-ea"/>
                <a:cs typeface="Calibri"/>
              </a:rPr>
              <a:t>”</a:t>
            </a:r>
            <a:r>
              <a:rPr kumimoji="0" sz="927" b="0" i="1"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nd</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follow</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ravel</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lerts</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22" normalizeH="0" baseline="0" noProof="0">
                <a:ln>
                  <a:noFill/>
                </a:ln>
                <a:solidFill>
                  <a:srgbClr val="2A2A2A"/>
                </a:solidFill>
                <a:effectLst/>
                <a:uLnTx/>
                <a:uFillTx/>
                <a:latin typeface="Calibri"/>
                <a:ea typeface="+mn-ea"/>
                <a:cs typeface="Calibri"/>
              </a:rPr>
              <a:t>at </a:t>
            </a:r>
            <a:r>
              <a:rPr kumimoji="0" sz="927" b="0" i="0" u="none" strike="noStrike" kern="0" cap="none" spc="-9" normalizeH="0" baseline="0" noProof="0">
                <a:ln>
                  <a:noFill/>
                </a:ln>
                <a:solidFill>
                  <a:srgbClr val="E2201F"/>
                </a:solidFill>
                <a:effectLst/>
                <a:uLnTx/>
                <a:uFillTx/>
                <a:latin typeface="Calibri"/>
                <a:ea typeface="+mn-ea"/>
                <a:cs typeface="Calibri"/>
                <a:hlinkClick r:id="rId5"/>
              </a:rPr>
              <a:t>aircanada.com/operationaloutlook</a:t>
            </a:r>
            <a:r>
              <a:rPr kumimoji="0" sz="927" b="0" i="0" u="none" strike="noStrike" kern="0" cap="none" spc="0" normalizeH="0" baseline="0" noProof="0">
                <a:ln>
                  <a:noFill/>
                </a:ln>
                <a:solidFill>
                  <a:srgbClr val="E2201F"/>
                </a:solidFill>
                <a:effectLst/>
                <a:uLnTx/>
                <a:uFillTx/>
                <a:latin typeface="Calibri"/>
                <a:ea typeface="+mn-ea"/>
                <a:cs typeface="Calibri"/>
              </a:rPr>
              <a:t>	</a:t>
            </a:r>
            <a:r>
              <a:rPr kumimoji="0" sz="927" b="0" i="0" u="none" strike="noStrike" kern="0" cap="none" spc="-44" normalizeH="0" baseline="0" noProof="0">
                <a:ln>
                  <a:noFill/>
                </a:ln>
                <a:solidFill>
                  <a:srgbClr val="2A2A2A"/>
                </a:solidFill>
                <a:effectLst/>
                <a:uLnTx/>
                <a:uFillTx/>
                <a:latin typeface="Calibri"/>
                <a:ea typeface="+mn-ea"/>
                <a:cs typeface="Calibri"/>
              </a:rPr>
              <a: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6" name="object 6"/>
          <p:cNvSpPr txBox="1"/>
          <p:nvPr/>
        </p:nvSpPr>
        <p:spPr>
          <a:xfrm>
            <a:off x="5233147" y="573291"/>
            <a:ext cx="1930774" cy="228619"/>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412" b="1" i="0" u="none" strike="noStrike" kern="0" cap="none" spc="44" normalizeH="0" baseline="0" noProof="0">
                <a:ln>
                  <a:noFill/>
                </a:ln>
                <a:solidFill>
                  <a:srgbClr val="FFFFFF"/>
                </a:solidFill>
                <a:effectLst/>
                <a:uLnTx/>
                <a:uFillTx/>
                <a:latin typeface="Calibri"/>
                <a:ea typeface="+mn-ea"/>
                <a:cs typeface="Calibri"/>
              </a:rPr>
              <a:t>Online</a:t>
            </a:r>
            <a:r>
              <a:rPr kumimoji="0" sz="1412" b="1" i="0" u="none" strike="noStrike" kern="0" cap="none" spc="31" normalizeH="0" baseline="0" noProof="0">
                <a:ln>
                  <a:noFill/>
                </a:ln>
                <a:solidFill>
                  <a:srgbClr val="FFFFFF"/>
                </a:solidFill>
                <a:effectLst/>
                <a:uLnTx/>
                <a:uFillTx/>
                <a:latin typeface="Calibri"/>
                <a:ea typeface="+mn-ea"/>
                <a:cs typeface="Calibri"/>
              </a:rPr>
              <a:t> </a:t>
            </a:r>
            <a:r>
              <a:rPr kumimoji="0" sz="1412" b="1" i="0" u="none" strike="noStrike" kern="0" cap="none" spc="0" normalizeH="0" baseline="0" noProof="0">
                <a:ln>
                  <a:noFill/>
                </a:ln>
                <a:solidFill>
                  <a:srgbClr val="FFFFFF"/>
                </a:solidFill>
                <a:effectLst/>
                <a:uLnTx/>
                <a:uFillTx/>
                <a:latin typeface="Calibri"/>
                <a:ea typeface="+mn-ea"/>
                <a:cs typeface="Calibri"/>
              </a:rPr>
              <a:t>and</a:t>
            </a:r>
            <a:r>
              <a:rPr kumimoji="0" sz="1412" b="1" i="0" u="none" strike="noStrike" kern="0" cap="none" spc="35" normalizeH="0" baseline="0" noProof="0">
                <a:ln>
                  <a:noFill/>
                </a:ln>
                <a:solidFill>
                  <a:srgbClr val="FFFFFF"/>
                </a:solidFill>
                <a:effectLst/>
                <a:uLnTx/>
                <a:uFillTx/>
                <a:latin typeface="Calibri"/>
                <a:ea typeface="+mn-ea"/>
                <a:cs typeface="Calibri"/>
              </a:rPr>
              <a:t> </a:t>
            </a:r>
            <a:r>
              <a:rPr kumimoji="0" sz="1412" b="1" i="0" u="none" strike="noStrike" kern="0" cap="none" spc="0" normalizeH="0" baseline="0" noProof="0">
                <a:ln>
                  <a:noFill/>
                </a:ln>
                <a:solidFill>
                  <a:srgbClr val="FFFFFF"/>
                </a:solidFill>
                <a:effectLst/>
                <a:uLnTx/>
                <a:uFillTx/>
                <a:latin typeface="Calibri"/>
                <a:ea typeface="+mn-ea"/>
                <a:cs typeface="Calibri"/>
              </a:rPr>
              <a:t>App</a:t>
            </a:r>
            <a:r>
              <a:rPr kumimoji="0" sz="1412" b="1" i="0" u="none" strike="noStrike" kern="0" cap="none" spc="35" normalizeH="0" baseline="0" noProof="0">
                <a:ln>
                  <a:noFill/>
                </a:ln>
                <a:solidFill>
                  <a:srgbClr val="FFFFFF"/>
                </a:solidFill>
                <a:effectLst/>
                <a:uLnTx/>
                <a:uFillTx/>
                <a:latin typeface="Calibri"/>
                <a:ea typeface="+mn-ea"/>
                <a:cs typeface="Calibri"/>
              </a:rPr>
              <a:t> Services</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7" name="object 7"/>
          <p:cNvGrpSpPr/>
          <p:nvPr/>
        </p:nvGrpSpPr>
        <p:grpSpPr>
          <a:xfrm>
            <a:off x="2061882" y="4392929"/>
            <a:ext cx="2599765" cy="2061882"/>
            <a:chOff x="457200" y="4978653"/>
            <a:chExt cx="2946400" cy="2336800"/>
          </a:xfrm>
        </p:grpSpPr>
        <p:sp>
          <p:nvSpPr>
            <p:cNvPr id="8" name="object 8"/>
            <p:cNvSpPr/>
            <p:nvPr/>
          </p:nvSpPr>
          <p:spPr>
            <a:xfrm>
              <a:off x="457200" y="4978653"/>
              <a:ext cx="2946400" cy="2336800"/>
            </a:xfrm>
            <a:custGeom>
              <a:avLst/>
              <a:gdLst/>
              <a:ahLst/>
              <a:cxnLst/>
              <a:rect l="l" t="t" r="r" b="b"/>
              <a:pathLst>
                <a:path w="2946400" h="2336800">
                  <a:moveTo>
                    <a:pt x="2946400" y="0"/>
                  </a:moveTo>
                  <a:lnTo>
                    <a:pt x="0" y="0"/>
                  </a:lnTo>
                  <a:lnTo>
                    <a:pt x="0" y="2336546"/>
                  </a:lnTo>
                  <a:lnTo>
                    <a:pt x="2946400" y="2336546"/>
                  </a:lnTo>
                  <a:lnTo>
                    <a:pt x="2946400" y="0"/>
                  </a:lnTo>
                  <a:close/>
                </a:path>
              </a:pathLst>
            </a:custGeom>
            <a:solidFill>
              <a:srgbClr val="EBEBEB"/>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9" name="object 9"/>
            <p:cNvPicPr/>
            <p:nvPr/>
          </p:nvPicPr>
          <p:blipFill>
            <a:blip r:embed="rId6" cstate="print"/>
            <a:stretch>
              <a:fillRect/>
            </a:stretch>
          </p:blipFill>
          <p:spPr>
            <a:xfrm>
              <a:off x="2205388" y="6904071"/>
              <a:ext cx="132867" cy="132867"/>
            </a:xfrm>
            <a:prstGeom prst="rect">
              <a:avLst/>
            </a:prstGeom>
          </p:spPr>
        </p:pic>
      </p:grpSp>
      <p:sp>
        <p:nvSpPr>
          <p:cNvPr id="10" name="object 10"/>
          <p:cNvSpPr txBox="1"/>
          <p:nvPr/>
        </p:nvSpPr>
        <p:spPr>
          <a:xfrm>
            <a:off x="2061882" y="4392929"/>
            <a:ext cx="2599765" cy="1902908"/>
          </a:xfrm>
          <a:prstGeom prst="rect">
            <a:avLst/>
          </a:prstGeom>
        </p:spPr>
        <p:txBody>
          <a:bodyPr vert="horz" wrap="square" lIns="0" tIns="5603" rIns="0" bIns="0" rtlCol="0">
            <a:spAutoFit/>
          </a:bodyPr>
          <a:lstStyle/>
          <a:p>
            <a:pPr marL="0" marR="0" lvl="0" indent="0" algn="l" defTabSz="806867" rtl="0" eaLnBrk="1" fontAlgn="auto" latinLnBrk="0" hangingPunct="1">
              <a:lnSpc>
                <a:spcPct val="100000"/>
              </a:lnSpc>
              <a:spcBef>
                <a:spcPts val="44"/>
              </a:spcBef>
              <a:spcAft>
                <a:spcPts val="0"/>
              </a:spcAft>
              <a:buClrTx/>
              <a:buSzTx/>
              <a:buFontTx/>
              <a:buNone/>
              <a:tabLst/>
              <a:defRPr/>
            </a:pPr>
            <a:endParaRPr kumimoji="0" sz="1500" b="0" i="0" u="none" strike="noStrike" kern="0" cap="none" spc="0" normalizeH="0" baseline="0" noProof="0">
              <a:ln>
                <a:noFill/>
              </a:ln>
              <a:solidFill>
                <a:sysClr val="windowText" lastClr="000000"/>
              </a:solidFill>
              <a:effectLst/>
              <a:uLnTx/>
              <a:uFillTx/>
              <a:latin typeface="Times New Roman"/>
              <a:ea typeface="+mn-ea"/>
              <a:cs typeface="Times New Roman"/>
            </a:endParaRPr>
          </a:p>
          <a:p>
            <a:pPr marL="246543" marR="0" lvl="0" indent="0" algn="l" defTabSz="806867" rtl="0" eaLnBrk="1" fontAlgn="auto" latinLnBrk="0" hangingPunct="1">
              <a:lnSpc>
                <a:spcPct val="100000"/>
              </a:lnSpc>
              <a:spcBef>
                <a:spcPts val="0"/>
              </a:spcBef>
              <a:spcAft>
                <a:spcPts val="0"/>
              </a:spcAft>
              <a:buClrTx/>
              <a:buSzTx/>
              <a:buFontTx/>
              <a:buNone/>
              <a:tabLst/>
              <a:defRPr/>
            </a:pPr>
            <a:r>
              <a:rPr kumimoji="0" sz="1412" b="1" i="0" u="none" strike="noStrike" kern="0" cap="none" spc="75" normalizeH="0" baseline="0" noProof="0">
                <a:ln>
                  <a:noFill/>
                </a:ln>
                <a:solidFill>
                  <a:sysClr val="windowText" lastClr="000000"/>
                </a:solidFill>
                <a:effectLst/>
                <a:uLnTx/>
                <a:uFillTx/>
                <a:latin typeface="Calibri"/>
                <a:ea typeface="+mn-ea"/>
                <a:cs typeface="Calibri"/>
              </a:rPr>
              <a:t>Wi-</a:t>
            </a:r>
            <a:r>
              <a:rPr kumimoji="0" sz="1412" b="1" i="0" u="none" strike="noStrike" kern="0" cap="none" spc="-22" normalizeH="0" baseline="0" noProof="0">
                <a:ln>
                  <a:noFill/>
                </a:ln>
                <a:solidFill>
                  <a:sysClr val="windowText" lastClr="000000"/>
                </a:solidFill>
                <a:effectLst/>
                <a:uLnTx/>
                <a:uFillTx/>
                <a:latin typeface="Calibri"/>
                <a:ea typeface="+mn-ea"/>
                <a:cs typeface="Calibri"/>
              </a:rPr>
              <a:t>Fi</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246543" marR="494766" lvl="0" indent="0" algn="l" defTabSz="806867" rtl="0" eaLnBrk="1" fontAlgn="auto" latinLnBrk="0" hangingPunct="1">
              <a:lnSpc>
                <a:spcPts val="1059"/>
              </a:lnSpc>
              <a:spcBef>
                <a:spcPts val="282"/>
              </a:spcBef>
              <a:spcAft>
                <a:spcPts val="0"/>
              </a:spcAft>
              <a:buClrTx/>
              <a:buSzTx/>
              <a:buFontTx/>
              <a:buNone/>
              <a:tabLst/>
              <a:defRPr/>
            </a:pPr>
            <a:r>
              <a:rPr kumimoji="0" sz="927" b="0" i="0" u="none" strike="noStrike" kern="0" cap="none" spc="0" normalizeH="0" baseline="0" noProof="0">
                <a:ln>
                  <a:noFill/>
                </a:ln>
                <a:solidFill>
                  <a:srgbClr val="2A2A2A"/>
                </a:solidFill>
                <a:effectLst/>
                <a:uLnTx/>
                <a:uFillTx/>
                <a:latin typeface="Calibri"/>
                <a:ea typeface="+mn-ea"/>
                <a:cs typeface="Calibri"/>
              </a:rPr>
              <a:t>Air</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nada</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ffers</a:t>
            </a:r>
            <a:r>
              <a:rPr kumimoji="0" sz="927" b="0" i="0" u="none" strike="noStrike" kern="0" cap="none" spc="31"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Wi-Fi</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ccess</a:t>
            </a:r>
            <a:r>
              <a:rPr kumimoji="0" sz="927" b="0" i="0" u="none" strike="noStrike" kern="0" cap="none" spc="31" normalizeH="0" baseline="0" noProof="0">
                <a:ln>
                  <a:noFill/>
                </a:ln>
                <a:solidFill>
                  <a:srgbClr val="2A2A2A"/>
                </a:solidFill>
                <a:effectLst/>
                <a:uLnTx/>
                <a:uFillTx/>
                <a:latin typeface="Calibri"/>
                <a:ea typeface="+mn-ea"/>
                <a:cs typeface="Calibri"/>
              </a:rPr>
              <a:t> </a:t>
            </a:r>
            <a:r>
              <a:rPr kumimoji="0" sz="927" b="0" i="0" u="none" strike="noStrike" kern="0" cap="none" spc="-22" normalizeH="0" baseline="0" noProof="0">
                <a:ln>
                  <a:noFill/>
                </a:ln>
                <a:solidFill>
                  <a:srgbClr val="2A2A2A"/>
                </a:solidFill>
                <a:effectLst/>
                <a:uLnTx/>
                <a:uFillTx/>
                <a:latin typeface="Calibri"/>
                <a:ea typeface="+mn-ea"/>
                <a:cs typeface="Calibri"/>
              </a:rPr>
              <a:t>on </a:t>
            </a:r>
            <a:r>
              <a:rPr kumimoji="0" sz="927" b="0" i="0" u="none" strike="noStrike" kern="0" cap="none" spc="0" normalizeH="0" baseline="0" noProof="0">
                <a:ln>
                  <a:noFill/>
                </a:ln>
                <a:solidFill>
                  <a:srgbClr val="2A2A2A"/>
                </a:solidFill>
                <a:effectLst/>
                <a:uLnTx/>
                <a:uFillTx/>
                <a:latin typeface="Calibri"/>
                <a:ea typeface="+mn-ea"/>
                <a:cs typeface="Calibri"/>
              </a:rPr>
              <a:t>select</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North</a:t>
            </a:r>
            <a:r>
              <a:rPr kumimoji="0" sz="927" b="0" i="0" u="none" strike="noStrike" kern="0" cap="none" spc="40"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merican,</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ribbean</a:t>
            </a:r>
            <a:r>
              <a:rPr kumimoji="0" sz="927" b="0" i="0" u="none" strike="noStrike" kern="0" cap="none" spc="40" normalizeH="0" baseline="0" noProof="0">
                <a:ln>
                  <a:noFill/>
                </a:ln>
                <a:solidFill>
                  <a:srgbClr val="2A2A2A"/>
                </a:solidFill>
                <a:effectLst/>
                <a:uLnTx/>
                <a:uFillTx/>
                <a:latin typeface="Calibri"/>
                <a:ea typeface="+mn-ea"/>
                <a:cs typeface="Calibri"/>
              </a:rPr>
              <a:t> </a:t>
            </a:r>
            <a:r>
              <a:rPr kumimoji="0" sz="927" b="0" i="0" u="none" strike="noStrike" kern="0" cap="none" spc="-22" normalizeH="0" baseline="0" noProof="0">
                <a:ln>
                  <a:noFill/>
                </a:ln>
                <a:solidFill>
                  <a:srgbClr val="2A2A2A"/>
                </a:solidFill>
                <a:effectLst/>
                <a:uLnTx/>
                <a:uFillTx/>
                <a:latin typeface="Calibri"/>
                <a:ea typeface="+mn-ea"/>
                <a:cs typeface="Calibri"/>
              </a:rPr>
              <a:t>and</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246543" marR="377098"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rgbClr val="2A2A2A"/>
                </a:solidFill>
                <a:effectLst/>
                <a:uLnTx/>
                <a:uFillTx/>
                <a:latin typeface="Calibri"/>
                <a:ea typeface="+mn-ea"/>
                <a:cs typeface="Calibri"/>
              </a:rPr>
              <a:t>international</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flights.</a:t>
            </a:r>
            <a:r>
              <a:rPr kumimoji="0" sz="927" b="0" i="0" u="none" strike="noStrike" kern="0" cap="none" spc="31"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ustomers</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n</a:t>
            </a:r>
            <a:r>
              <a:rPr kumimoji="0" sz="927" b="0" i="0" u="none" strike="noStrike" kern="0" cap="none" spc="31" normalizeH="0" baseline="0" noProof="0">
                <a:ln>
                  <a:noFill/>
                </a:ln>
                <a:solidFill>
                  <a:srgbClr val="2A2A2A"/>
                </a:solidFill>
                <a:effectLst/>
                <a:uLnTx/>
                <a:uFillTx/>
                <a:latin typeface="Calibri"/>
                <a:ea typeface="+mn-ea"/>
                <a:cs typeface="Calibri"/>
              </a:rPr>
              <a:t> </a:t>
            </a:r>
            <a:r>
              <a:rPr kumimoji="0" sz="927" b="0" i="0" u="none" strike="noStrike" kern="0" cap="none" spc="-18" normalizeH="0" baseline="0" noProof="0">
                <a:ln>
                  <a:noFill/>
                </a:ln>
                <a:solidFill>
                  <a:srgbClr val="2A2A2A"/>
                </a:solidFill>
                <a:effectLst/>
                <a:uLnTx/>
                <a:uFillTx/>
                <a:latin typeface="Calibri"/>
                <a:ea typeface="+mn-ea"/>
                <a:cs typeface="Calibri"/>
              </a:rPr>
              <a:t>save </a:t>
            </a:r>
            <a:r>
              <a:rPr kumimoji="0" sz="927" b="0" i="0" u="none" strike="noStrike" kern="0" cap="none" spc="0" normalizeH="0" baseline="0" noProof="0">
                <a:ln>
                  <a:noFill/>
                </a:ln>
                <a:solidFill>
                  <a:srgbClr val="2A2A2A"/>
                </a:solidFill>
                <a:effectLst/>
                <a:uLnTx/>
                <a:uFillTx/>
                <a:latin typeface="Calibri"/>
                <a:ea typeface="+mn-ea"/>
                <a:cs typeface="Calibri"/>
              </a:rPr>
              <a:t>by</a:t>
            </a:r>
            <a:r>
              <a:rPr kumimoji="0" sz="927" b="0" i="0" u="none" strike="noStrike" kern="0" cap="none" spc="-18"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purchasing</a:t>
            </a:r>
            <a:r>
              <a:rPr kumimoji="0" sz="927" b="0" i="0" u="none" strike="noStrike" kern="0" cap="none" spc="-18"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ccess</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before</a:t>
            </a:r>
            <a:r>
              <a:rPr kumimoji="0" sz="927" b="0" i="0" u="none" strike="noStrike" kern="0" cap="none" spc="-18"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heir</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flight</a:t>
            </a:r>
            <a:r>
              <a:rPr kumimoji="0" sz="927" b="0" i="0" u="none" strike="noStrike" kern="0" cap="none" spc="441"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r</a:t>
            </a:r>
            <a:r>
              <a:rPr kumimoji="0" sz="927" b="0" i="0" u="none" strike="noStrike" kern="0" cap="none" spc="18"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buy</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n</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board.</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With</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Wi-Fi</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purchase, </a:t>
            </a:r>
            <a:r>
              <a:rPr kumimoji="0" sz="927" b="0" i="0" u="none" strike="noStrike" kern="0" cap="none" spc="0" normalizeH="0" baseline="0" noProof="0">
                <a:ln>
                  <a:noFill/>
                </a:ln>
                <a:solidFill>
                  <a:srgbClr val="2A2A2A"/>
                </a:solidFill>
                <a:effectLst/>
                <a:uLnTx/>
                <a:uFillTx/>
                <a:latin typeface="Calibri"/>
                <a:ea typeface="+mn-ea"/>
                <a:cs typeface="Calibri"/>
              </a:rPr>
              <a:t>customer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lso</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receive</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complimentary </a:t>
            </a:r>
            <a:r>
              <a:rPr kumimoji="0" sz="927" b="0" i="0" u="none" strike="noStrike" kern="0" cap="none" spc="0" normalizeH="0" baseline="0" noProof="0">
                <a:ln>
                  <a:noFill/>
                </a:ln>
                <a:solidFill>
                  <a:srgbClr val="2A2A2A"/>
                </a:solidFill>
                <a:effectLst/>
                <a:uLnTx/>
                <a:uFillTx/>
                <a:latin typeface="Calibri"/>
                <a:ea typeface="+mn-ea"/>
                <a:cs typeface="Calibri"/>
              </a:rPr>
              <a:t>access</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o</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7,000+</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magazines</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22" normalizeH="0" baseline="0" noProof="0">
                <a:ln>
                  <a:noFill/>
                </a:ln>
                <a:solidFill>
                  <a:srgbClr val="2A2A2A"/>
                </a:solidFill>
                <a:effectLst/>
                <a:uLnTx/>
                <a:uFillTx/>
                <a:latin typeface="Calibri"/>
                <a:ea typeface="+mn-ea"/>
                <a:cs typeface="Calibri"/>
              </a:rPr>
              <a:t>and</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246543" marR="333953" lvl="0" indent="0" algn="just"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9" normalizeH="0" baseline="0" noProof="0">
                <a:ln>
                  <a:noFill/>
                </a:ln>
                <a:solidFill>
                  <a:srgbClr val="2A2A2A"/>
                </a:solidFill>
                <a:effectLst/>
                <a:uLnTx/>
                <a:uFillTx/>
                <a:latin typeface="Calibri"/>
                <a:ea typeface="+mn-ea"/>
                <a:cs typeface="Calibri"/>
              </a:rPr>
              <a:t>newspaper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hrough the </a:t>
            </a:r>
            <a:r>
              <a:rPr kumimoji="0" sz="927" b="0" i="0" u="none" strike="noStrike" kern="0" cap="none" spc="-9" normalizeH="0" baseline="0" noProof="0">
                <a:ln>
                  <a:noFill/>
                </a:ln>
                <a:solidFill>
                  <a:srgbClr val="2A2A2A"/>
                </a:solidFill>
                <a:effectLst/>
                <a:uLnTx/>
                <a:uFillTx/>
                <a:latin typeface="Calibri"/>
                <a:ea typeface="+mn-ea"/>
                <a:cs typeface="Calibri"/>
              </a:rPr>
              <a:t>PressReader</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18" normalizeH="0" baseline="0" noProof="0">
                <a:ln>
                  <a:noFill/>
                </a:ln>
                <a:solidFill>
                  <a:srgbClr val="2A2A2A"/>
                </a:solidFill>
                <a:effectLst/>
                <a:uLnTx/>
                <a:uFillTx/>
                <a:latin typeface="Calibri"/>
                <a:ea typeface="+mn-ea"/>
                <a:cs typeface="Calibri"/>
              </a:rPr>
              <a:t>app. </a:t>
            </a:r>
            <a:r>
              <a:rPr kumimoji="0" sz="927" b="0" i="0" u="none" strike="noStrike" kern="0" cap="none" spc="0" normalizeH="0" baseline="0" noProof="0">
                <a:ln>
                  <a:noFill/>
                </a:ln>
                <a:solidFill>
                  <a:srgbClr val="2A2A2A"/>
                </a:solidFill>
                <a:effectLst/>
                <a:uLnTx/>
                <a:uFillTx/>
                <a:latin typeface="Calibri"/>
                <a:ea typeface="+mn-ea"/>
                <a:cs typeface="Calibri"/>
              </a:rPr>
              <a:t>Find</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ut</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if</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Wi-Fi</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is</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vailable</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n</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your</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18" normalizeH="0" baseline="0" noProof="0">
                <a:ln>
                  <a:noFill/>
                </a:ln>
                <a:solidFill>
                  <a:srgbClr val="2A2A2A"/>
                </a:solidFill>
                <a:effectLst/>
                <a:uLnTx/>
                <a:uFillTx/>
                <a:latin typeface="Calibri"/>
                <a:ea typeface="+mn-ea"/>
                <a:cs typeface="Calibri"/>
              </a:rPr>
              <a:t>next </a:t>
            </a:r>
            <a:r>
              <a:rPr kumimoji="0" sz="927" b="0" i="0" u="none" strike="noStrike" kern="0" cap="none" spc="0" normalizeH="0" baseline="0" noProof="0">
                <a:ln>
                  <a:noFill/>
                </a:ln>
                <a:solidFill>
                  <a:srgbClr val="2A2A2A"/>
                </a:solidFill>
                <a:effectLst/>
                <a:uLnTx/>
                <a:uFillTx/>
                <a:latin typeface="Calibri"/>
                <a:ea typeface="+mn-ea"/>
                <a:cs typeface="Calibri"/>
              </a:rPr>
              <a:t>flight:</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t>
            </a:r>
            <a:r>
              <a:rPr kumimoji="0" sz="927" b="0" i="0" u="none" strike="noStrike" kern="0" cap="none" spc="0" normalizeH="0" baseline="0" noProof="0">
                <a:ln>
                  <a:noFill/>
                </a:ln>
                <a:solidFill>
                  <a:srgbClr val="E2201F"/>
                </a:solidFill>
                <a:effectLst/>
                <a:uLnTx/>
                <a:uFillTx/>
                <a:latin typeface="Calibri"/>
                <a:ea typeface="+mn-ea"/>
                <a:cs typeface="Calibri"/>
                <a:hlinkClick r:id="rId7"/>
              </a:rPr>
              <a:t>aircanada.com/wifi</a:t>
            </a:r>
            <a:r>
              <a:rPr kumimoji="0" sz="927" b="0" i="0" u="none" strike="noStrike" kern="0" cap="none" spc="335" normalizeH="0" baseline="0" noProof="0">
                <a:ln>
                  <a:noFill/>
                </a:ln>
                <a:solidFill>
                  <a:srgbClr val="E2201F"/>
                </a:solidFill>
                <a:effectLst/>
                <a:uLnTx/>
                <a:uFillTx/>
                <a:latin typeface="Calibri"/>
                <a:ea typeface="+mn-ea"/>
                <a:cs typeface="Calibri"/>
              </a:rPr>
              <a:t>  </a:t>
            </a:r>
            <a:r>
              <a:rPr kumimoji="0" sz="927" b="0" i="0" u="none" strike="noStrike" kern="0" cap="none" spc="-53" normalizeH="0" baseline="0" noProof="0">
                <a:ln>
                  <a:noFill/>
                </a:ln>
                <a:solidFill>
                  <a:srgbClr val="2A2A2A"/>
                </a:solidFill>
                <a:effectLst/>
                <a:uLnTx/>
                <a:uFillTx/>
                <a:latin typeface="Calibri"/>
                <a:ea typeface="+mn-ea"/>
                <a:cs typeface="Calibri"/>
              </a:rPr>
              <a: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pic>
        <p:nvPicPr>
          <p:cNvPr id="11" name="object 11"/>
          <p:cNvPicPr/>
          <p:nvPr/>
        </p:nvPicPr>
        <p:blipFill>
          <a:blip r:embed="rId8" cstate="print"/>
          <a:stretch>
            <a:fillRect/>
          </a:stretch>
        </p:blipFill>
        <p:spPr>
          <a:xfrm>
            <a:off x="2061883" y="493059"/>
            <a:ext cx="2599764" cy="3899876"/>
          </a:xfrm>
          <a:prstGeom prst="rect">
            <a:avLst/>
          </a:prstGeom>
        </p:spPr>
      </p:pic>
      <p:sp>
        <p:nvSpPr>
          <p:cNvPr id="12" name="object 12"/>
          <p:cNvSpPr/>
          <p:nvPr/>
        </p:nvSpPr>
        <p:spPr>
          <a:xfrm>
            <a:off x="5109883" y="6443382"/>
            <a:ext cx="5020235" cy="0"/>
          </a:xfrm>
          <a:custGeom>
            <a:avLst/>
            <a:gdLst/>
            <a:ahLst/>
            <a:cxnLst/>
            <a:rect l="l" t="t" r="r" b="b"/>
            <a:pathLst>
              <a:path w="5689600">
                <a:moveTo>
                  <a:pt x="0" y="0"/>
                </a:moveTo>
                <a:lnTo>
                  <a:pt x="5689600" y="0"/>
                </a:lnTo>
              </a:path>
            </a:pathLst>
          </a:custGeom>
          <a:ln w="25400">
            <a:solidFill>
              <a:srgbClr val="000000"/>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3" name="object 13"/>
          <p:cNvPicPr/>
          <p:nvPr/>
        </p:nvPicPr>
        <p:blipFill>
          <a:blip r:embed="rId9" cstate="print"/>
          <a:stretch>
            <a:fillRect/>
          </a:stretch>
        </p:blipFill>
        <p:spPr>
          <a:xfrm>
            <a:off x="2068289" y="157333"/>
            <a:ext cx="127478" cy="125068"/>
          </a:xfrm>
          <a:prstGeom prst="rect">
            <a:avLst/>
          </a:prstGeom>
        </p:spPr>
      </p:pic>
      <p:grpSp>
        <p:nvGrpSpPr>
          <p:cNvPr id="14" name="object 14"/>
          <p:cNvGrpSpPr/>
          <p:nvPr/>
        </p:nvGrpSpPr>
        <p:grpSpPr>
          <a:xfrm>
            <a:off x="2249274" y="185592"/>
            <a:ext cx="210110" cy="64994"/>
            <a:chOff x="669577" y="210337"/>
            <a:chExt cx="238125" cy="73660"/>
          </a:xfrm>
        </p:grpSpPr>
        <p:pic>
          <p:nvPicPr>
            <p:cNvPr id="15" name="object 15"/>
            <p:cNvPicPr/>
            <p:nvPr/>
          </p:nvPicPr>
          <p:blipFill>
            <a:blip r:embed="rId10" cstate="print"/>
            <a:stretch>
              <a:fillRect/>
            </a:stretch>
          </p:blipFill>
          <p:spPr>
            <a:xfrm>
              <a:off x="830875" y="210381"/>
              <a:ext cx="76250" cy="73393"/>
            </a:xfrm>
            <a:prstGeom prst="rect">
              <a:avLst/>
            </a:prstGeom>
          </p:spPr>
        </p:pic>
        <p:pic>
          <p:nvPicPr>
            <p:cNvPr id="16" name="object 16"/>
            <p:cNvPicPr/>
            <p:nvPr/>
          </p:nvPicPr>
          <p:blipFill>
            <a:blip r:embed="rId11" cstate="print"/>
            <a:stretch>
              <a:fillRect/>
            </a:stretch>
          </p:blipFill>
          <p:spPr>
            <a:xfrm>
              <a:off x="669577" y="210375"/>
              <a:ext cx="83515" cy="73444"/>
            </a:xfrm>
            <a:prstGeom prst="rect">
              <a:avLst/>
            </a:prstGeom>
          </p:spPr>
        </p:pic>
        <p:sp>
          <p:nvSpPr>
            <p:cNvPr id="17" name="object 17"/>
            <p:cNvSpPr/>
            <p:nvPr/>
          </p:nvSpPr>
          <p:spPr>
            <a:xfrm>
              <a:off x="775957" y="210337"/>
              <a:ext cx="17780" cy="73660"/>
            </a:xfrm>
            <a:custGeom>
              <a:avLst/>
              <a:gdLst/>
              <a:ahLst/>
              <a:cxnLst/>
              <a:rect l="l" t="t" r="r" b="b"/>
              <a:pathLst>
                <a:path w="17779" h="73660">
                  <a:moveTo>
                    <a:pt x="17233" y="0"/>
                  </a:moveTo>
                  <a:lnTo>
                    <a:pt x="0" y="0"/>
                  </a:lnTo>
                  <a:lnTo>
                    <a:pt x="0" y="73444"/>
                  </a:lnTo>
                  <a:lnTo>
                    <a:pt x="17233" y="73444"/>
                  </a:lnTo>
                  <a:lnTo>
                    <a:pt x="17233"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18" name="object 18"/>
          <p:cNvGrpSpPr/>
          <p:nvPr/>
        </p:nvGrpSpPr>
        <p:grpSpPr>
          <a:xfrm>
            <a:off x="2500109" y="183698"/>
            <a:ext cx="524996" cy="68916"/>
            <a:chOff x="953857" y="208191"/>
            <a:chExt cx="594995" cy="78105"/>
          </a:xfrm>
        </p:grpSpPr>
        <p:pic>
          <p:nvPicPr>
            <p:cNvPr id="19" name="object 19"/>
            <p:cNvPicPr/>
            <p:nvPr/>
          </p:nvPicPr>
          <p:blipFill>
            <a:blip r:embed="rId12" cstate="print"/>
            <a:stretch>
              <a:fillRect/>
            </a:stretch>
          </p:blipFill>
          <p:spPr>
            <a:xfrm>
              <a:off x="953857" y="208191"/>
              <a:ext cx="76517" cy="77927"/>
            </a:xfrm>
            <a:prstGeom prst="rect">
              <a:avLst/>
            </a:prstGeom>
          </p:spPr>
        </p:pic>
        <p:pic>
          <p:nvPicPr>
            <p:cNvPr id="20" name="object 20"/>
            <p:cNvPicPr/>
            <p:nvPr/>
          </p:nvPicPr>
          <p:blipFill>
            <a:blip r:embed="rId13" cstate="print"/>
            <a:stretch>
              <a:fillRect/>
            </a:stretch>
          </p:blipFill>
          <p:spPr>
            <a:xfrm>
              <a:off x="1051401" y="210375"/>
              <a:ext cx="83502" cy="73444"/>
            </a:xfrm>
            <a:prstGeom prst="rect">
              <a:avLst/>
            </a:prstGeom>
          </p:spPr>
        </p:pic>
        <p:pic>
          <p:nvPicPr>
            <p:cNvPr id="21" name="object 21"/>
            <p:cNvPicPr/>
            <p:nvPr/>
          </p:nvPicPr>
          <p:blipFill>
            <a:blip r:embed="rId14" cstate="print"/>
            <a:stretch>
              <a:fillRect/>
            </a:stretch>
          </p:blipFill>
          <p:spPr>
            <a:xfrm>
              <a:off x="1263714" y="210375"/>
              <a:ext cx="83515" cy="73444"/>
            </a:xfrm>
            <a:prstGeom prst="rect">
              <a:avLst/>
            </a:prstGeom>
          </p:spPr>
        </p:pic>
        <p:pic>
          <p:nvPicPr>
            <p:cNvPr id="22" name="object 22"/>
            <p:cNvPicPr/>
            <p:nvPr/>
          </p:nvPicPr>
          <p:blipFill>
            <a:blip r:embed="rId15" cstate="print"/>
            <a:stretch>
              <a:fillRect/>
            </a:stretch>
          </p:blipFill>
          <p:spPr>
            <a:xfrm>
              <a:off x="1159389" y="210385"/>
              <a:ext cx="79794" cy="73431"/>
            </a:xfrm>
            <a:prstGeom prst="rect">
              <a:avLst/>
            </a:prstGeom>
          </p:spPr>
        </p:pic>
        <p:sp>
          <p:nvSpPr>
            <p:cNvPr id="23" name="object 23"/>
            <p:cNvSpPr/>
            <p:nvPr/>
          </p:nvSpPr>
          <p:spPr>
            <a:xfrm>
              <a:off x="1371422" y="210387"/>
              <a:ext cx="177800" cy="73660"/>
            </a:xfrm>
            <a:custGeom>
              <a:avLst/>
              <a:gdLst/>
              <a:ahLst/>
              <a:cxnLst/>
              <a:rect l="l" t="t" r="r" b="b"/>
              <a:pathLst>
                <a:path w="177800" h="73660">
                  <a:moveTo>
                    <a:pt x="74993" y="35293"/>
                  </a:moveTo>
                  <a:lnTo>
                    <a:pt x="74371" y="27292"/>
                  </a:lnTo>
                  <a:lnTo>
                    <a:pt x="72478" y="20256"/>
                  </a:lnTo>
                  <a:lnTo>
                    <a:pt x="69303" y="14224"/>
                  </a:lnTo>
                  <a:lnTo>
                    <a:pt x="65582" y="10007"/>
                  </a:lnTo>
                  <a:lnTo>
                    <a:pt x="64846" y="9169"/>
                  </a:lnTo>
                  <a:lnTo>
                    <a:pt x="59207" y="5194"/>
                  </a:lnTo>
                  <a:lnTo>
                    <a:pt x="56730" y="4152"/>
                  </a:lnTo>
                  <a:lnTo>
                    <a:pt x="56730" y="29095"/>
                  </a:lnTo>
                  <a:lnTo>
                    <a:pt x="56680" y="45161"/>
                  </a:lnTo>
                  <a:lnTo>
                    <a:pt x="54483" y="51904"/>
                  </a:lnTo>
                  <a:lnTo>
                    <a:pt x="49999" y="56349"/>
                  </a:lnTo>
                  <a:lnTo>
                    <a:pt x="45580" y="60782"/>
                  </a:lnTo>
                  <a:lnTo>
                    <a:pt x="38874" y="62979"/>
                  </a:lnTo>
                  <a:lnTo>
                    <a:pt x="17183" y="62941"/>
                  </a:lnTo>
                  <a:lnTo>
                    <a:pt x="17183" y="10007"/>
                  </a:lnTo>
                  <a:lnTo>
                    <a:pt x="54978" y="23241"/>
                  </a:lnTo>
                  <a:lnTo>
                    <a:pt x="56730" y="29095"/>
                  </a:lnTo>
                  <a:lnTo>
                    <a:pt x="56730" y="4152"/>
                  </a:lnTo>
                  <a:lnTo>
                    <a:pt x="52451" y="2324"/>
                  </a:lnTo>
                  <a:lnTo>
                    <a:pt x="44564" y="584"/>
                  </a:lnTo>
                  <a:lnTo>
                    <a:pt x="35547" y="0"/>
                  </a:lnTo>
                  <a:lnTo>
                    <a:pt x="0" y="0"/>
                  </a:lnTo>
                  <a:lnTo>
                    <a:pt x="0" y="73393"/>
                  </a:lnTo>
                  <a:lnTo>
                    <a:pt x="33858" y="73393"/>
                  </a:lnTo>
                  <a:lnTo>
                    <a:pt x="68834" y="57975"/>
                  </a:lnTo>
                  <a:lnTo>
                    <a:pt x="74282" y="43878"/>
                  </a:lnTo>
                  <a:lnTo>
                    <a:pt x="74993" y="35293"/>
                  </a:lnTo>
                  <a:close/>
                </a:path>
                <a:path w="177800" h="73660">
                  <a:moveTo>
                    <a:pt x="177304" y="73444"/>
                  </a:moveTo>
                  <a:lnTo>
                    <a:pt x="168783" y="53746"/>
                  </a:lnTo>
                  <a:lnTo>
                    <a:pt x="164579" y="44043"/>
                  </a:lnTo>
                  <a:lnTo>
                    <a:pt x="151930" y="14820"/>
                  </a:lnTo>
                  <a:lnTo>
                    <a:pt x="145529" y="0"/>
                  </a:lnTo>
                  <a:lnTo>
                    <a:pt x="144614" y="0"/>
                  </a:lnTo>
                  <a:lnTo>
                    <a:pt x="144614" y="44043"/>
                  </a:lnTo>
                  <a:lnTo>
                    <a:pt x="119176" y="44043"/>
                  </a:lnTo>
                  <a:lnTo>
                    <a:pt x="131953" y="14820"/>
                  </a:lnTo>
                  <a:lnTo>
                    <a:pt x="144614" y="44043"/>
                  </a:lnTo>
                  <a:lnTo>
                    <a:pt x="144614" y="0"/>
                  </a:lnTo>
                  <a:lnTo>
                    <a:pt x="125984" y="0"/>
                  </a:lnTo>
                  <a:lnTo>
                    <a:pt x="93789" y="73444"/>
                  </a:lnTo>
                  <a:lnTo>
                    <a:pt x="106273" y="73444"/>
                  </a:lnTo>
                  <a:lnTo>
                    <a:pt x="114935" y="53746"/>
                  </a:lnTo>
                  <a:lnTo>
                    <a:pt x="148831" y="53746"/>
                  </a:lnTo>
                  <a:lnTo>
                    <a:pt x="157353" y="73444"/>
                  </a:lnTo>
                  <a:lnTo>
                    <a:pt x="177304" y="73444"/>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4" name="object 24"/>
          <p:cNvSpPr txBox="1"/>
          <p:nvPr/>
        </p:nvSpPr>
        <p:spPr>
          <a:xfrm>
            <a:off x="8646758" y="153081"/>
            <a:ext cx="1225924" cy="119935"/>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tab pos="1160991" algn="l"/>
              </a:tabLst>
              <a:defRPr/>
            </a:pPr>
            <a:r>
              <a:rPr kumimoji="0" sz="706" b="1" i="0" u="none" strike="noStrike" kern="0" cap="none" spc="0" normalizeH="0" baseline="0" noProof="0">
                <a:ln>
                  <a:noFill/>
                </a:ln>
                <a:solidFill>
                  <a:sysClr val="windowText" lastClr="000000"/>
                </a:solidFill>
                <a:effectLst/>
                <a:uLnTx/>
                <a:uFillTx/>
                <a:latin typeface="Calibri"/>
                <a:ea typeface="+mn-ea"/>
                <a:cs typeface="Calibri"/>
              </a:rPr>
              <a:t>Overview</a:t>
            </a:r>
            <a:r>
              <a:rPr kumimoji="0" sz="706" b="1" i="0" u="none" strike="noStrike" kern="0" cap="none" spc="216" normalizeH="0" baseline="0" noProof="0">
                <a:ln>
                  <a:noFill/>
                </a:ln>
                <a:solidFill>
                  <a:sysClr val="windowText" lastClr="000000"/>
                </a:solidFill>
                <a:effectLst/>
                <a:uLnTx/>
                <a:uFillTx/>
                <a:latin typeface="Calibri"/>
                <a:ea typeface="+mn-ea"/>
                <a:cs typeface="Calibri"/>
              </a:rPr>
              <a:t> </a:t>
            </a:r>
            <a:r>
              <a:rPr kumimoji="0" sz="706" b="0" i="0" u="none" strike="noStrike" kern="0" cap="none" spc="-44" normalizeH="0" baseline="0" noProof="0">
                <a:ln>
                  <a:noFill/>
                </a:ln>
                <a:solidFill>
                  <a:sysClr val="windowText" lastClr="000000"/>
                </a:solidFill>
                <a:effectLst/>
                <a:uLnTx/>
                <a:uFillTx/>
                <a:latin typeface="Calibri"/>
                <a:ea typeface="+mn-ea"/>
                <a:cs typeface="Calibri"/>
              </a:rPr>
              <a:t>|</a:t>
            </a:r>
            <a:r>
              <a:rPr kumimoji="0" sz="706" b="0" i="0" u="none" strike="noStrike" kern="0" cap="none" spc="221" normalizeH="0" baseline="0" noProof="0">
                <a:ln>
                  <a:noFill/>
                </a:ln>
                <a:solidFill>
                  <a:sysClr val="windowText" lastClr="000000"/>
                </a:solidFill>
                <a:effectLst/>
                <a:uLnTx/>
                <a:uFillTx/>
                <a:latin typeface="Calibri"/>
                <a:ea typeface="+mn-ea"/>
                <a:cs typeface="Calibri"/>
              </a:rPr>
              <a:t> </a:t>
            </a:r>
            <a:r>
              <a:rPr kumimoji="0" sz="706" b="0" i="0" u="none" strike="noStrike" kern="0" cap="none" spc="0" normalizeH="0" baseline="0" noProof="0">
                <a:ln>
                  <a:noFill/>
                </a:ln>
                <a:solidFill>
                  <a:sysClr val="windowText" lastClr="000000"/>
                </a:solidFill>
                <a:effectLst/>
                <a:uLnTx/>
                <a:uFillTx/>
                <a:latin typeface="Calibri"/>
                <a:ea typeface="+mn-ea"/>
                <a:cs typeface="Calibri"/>
              </a:rPr>
              <a:t>MARCH</a:t>
            </a:r>
            <a:r>
              <a:rPr kumimoji="0" sz="706" b="0" i="0" u="none" strike="noStrike" kern="0" cap="none" spc="26" normalizeH="0" baseline="0" noProof="0">
                <a:ln>
                  <a:noFill/>
                </a:ln>
                <a:solidFill>
                  <a:sysClr val="windowText" lastClr="000000"/>
                </a:solidFill>
                <a:effectLst/>
                <a:uLnTx/>
                <a:uFillTx/>
                <a:latin typeface="Calibri"/>
                <a:ea typeface="+mn-ea"/>
                <a:cs typeface="Calibri"/>
              </a:rPr>
              <a:t> </a:t>
            </a:r>
            <a:r>
              <a:rPr kumimoji="0" sz="706" b="0" i="0" u="none" strike="noStrike" kern="0" cap="none" spc="-18" normalizeH="0" baseline="0" noProof="0">
                <a:ln>
                  <a:noFill/>
                </a:ln>
                <a:solidFill>
                  <a:sysClr val="windowText" lastClr="000000"/>
                </a:solidFill>
                <a:effectLst/>
                <a:uLnTx/>
                <a:uFillTx/>
                <a:latin typeface="Calibri"/>
                <a:ea typeface="+mn-ea"/>
                <a:cs typeface="Calibri"/>
              </a:rPr>
              <a:t>2022</a:t>
            </a:r>
            <a:r>
              <a:rPr kumimoji="0" sz="706" b="0" i="0" u="none" strike="noStrike" kern="0" cap="none" spc="0" normalizeH="0" baseline="0" noProof="0">
                <a:ln>
                  <a:noFill/>
                </a:ln>
                <a:solidFill>
                  <a:sysClr val="windowText" lastClr="000000"/>
                </a:solidFill>
                <a:effectLst/>
                <a:uLnTx/>
                <a:uFillTx/>
                <a:latin typeface="Calibri"/>
                <a:ea typeface="+mn-ea"/>
                <a:cs typeface="Calibri"/>
              </a:rPr>
              <a:t>	</a:t>
            </a:r>
            <a:r>
              <a:rPr kumimoji="0" sz="706" b="1" i="0" u="none" strike="noStrike" kern="0" cap="none" spc="9" normalizeH="0" baseline="0" noProof="0">
                <a:ln>
                  <a:noFill/>
                </a:ln>
                <a:solidFill>
                  <a:sysClr val="windowText" lastClr="000000"/>
                </a:solidFill>
                <a:effectLst/>
                <a:uLnTx/>
                <a:uFillTx/>
                <a:latin typeface="Calibri"/>
                <a:ea typeface="+mn-ea"/>
                <a:cs typeface="Calibri"/>
              </a:rPr>
              <a:t>8</a:t>
            </a:r>
            <a:endParaRPr kumimoji="0" sz="706"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5" name="Footer Placeholder 24">
            <a:extLst>
              <a:ext uri="{FF2B5EF4-FFF2-40B4-BE49-F238E27FC236}">
                <a16:creationId xmlns:a16="http://schemas.microsoft.com/office/drawing/2014/main" id="{14732644-167D-7071-2C78-B12B764CC267}"/>
              </a:ext>
            </a:extLst>
          </p:cNvPr>
          <p:cNvSpPr>
            <a:spLocks noGrp="1"/>
          </p:cNvSpPr>
          <p:nvPr>
            <p:ph type="ftr" sz="quarter" idx="5"/>
          </p:nvPr>
        </p:nvSpPr>
        <p:spPr/>
        <p:txBody>
          <a:bodyPr/>
          <a:lstStyle/>
          <a:p>
            <a:r>
              <a:rPr lang="en-CA"/>
              <a:t>Priveledged and Confidential</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4359088" y="0"/>
            <a:ext cx="6174441" cy="6858000"/>
          </a:xfrm>
          <a:prstGeom prst="rect">
            <a:avLst/>
          </a:prstGeom>
        </p:spPr>
      </p:pic>
      <p:sp>
        <p:nvSpPr>
          <p:cNvPr id="3" name="object 3"/>
          <p:cNvSpPr txBox="1"/>
          <p:nvPr/>
        </p:nvSpPr>
        <p:spPr>
          <a:xfrm>
            <a:off x="2050677" y="892606"/>
            <a:ext cx="2032747" cy="3429023"/>
          </a:xfrm>
          <a:prstGeom prst="rect">
            <a:avLst/>
          </a:prstGeom>
        </p:spPr>
        <p:txBody>
          <a:bodyPr vert="horz" wrap="square" lIns="0" tIns="50426" rIns="0" bIns="0" rtlCol="0">
            <a:spAutoFit/>
          </a:bodyPr>
          <a:lstStyle/>
          <a:p>
            <a:pPr marL="11206" marR="0" lvl="0" indent="0" algn="l" defTabSz="806867" rtl="0" eaLnBrk="1" fontAlgn="auto" latinLnBrk="0" hangingPunct="1">
              <a:lnSpc>
                <a:spcPct val="100000"/>
              </a:lnSpc>
              <a:spcBef>
                <a:spcPts val="397"/>
              </a:spcBef>
              <a:spcAft>
                <a:spcPts val="0"/>
              </a:spcAft>
              <a:buClrTx/>
              <a:buSzTx/>
              <a:buFontTx/>
              <a:buNone/>
              <a:tabLst/>
              <a:defRPr/>
            </a:pPr>
            <a:r>
              <a:rPr kumimoji="0" sz="1412" b="1" i="0" u="none" strike="noStrike" kern="0" cap="none" spc="0" normalizeH="0" baseline="0" noProof="0">
                <a:ln>
                  <a:noFill/>
                </a:ln>
                <a:solidFill>
                  <a:sysClr val="windowText" lastClr="000000"/>
                </a:solidFill>
                <a:effectLst/>
                <a:uLnTx/>
                <a:uFillTx/>
                <a:latin typeface="Calibri"/>
                <a:ea typeface="+mn-ea"/>
                <a:cs typeface="Calibri"/>
              </a:rPr>
              <a:t>Air</a:t>
            </a:r>
            <a:r>
              <a:rPr kumimoji="0" sz="1412" b="1" i="0" u="none" strike="noStrike" kern="0" cap="none" spc="163" normalizeH="0" baseline="0" noProof="0">
                <a:ln>
                  <a:noFill/>
                </a:ln>
                <a:solidFill>
                  <a:sysClr val="windowText" lastClr="000000"/>
                </a:solidFill>
                <a:effectLst/>
                <a:uLnTx/>
                <a:uFillTx/>
                <a:latin typeface="Calibri"/>
                <a:ea typeface="+mn-ea"/>
                <a:cs typeface="Calibri"/>
              </a:rPr>
              <a:t> </a:t>
            </a:r>
            <a:r>
              <a:rPr kumimoji="0" sz="1412" b="1" i="0" u="none" strike="noStrike" kern="0" cap="none" spc="0" normalizeH="0" baseline="0" noProof="0">
                <a:ln>
                  <a:noFill/>
                </a:ln>
                <a:solidFill>
                  <a:sysClr val="windowText" lastClr="000000"/>
                </a:solidFill>
                <a:effectLst/>
                <a:uLnTx/>
                <a:uFillTx/>
                <a:latin typeface="Calibri"/>
                <a:ea typeface="+mn-ea"/>
                <a:cs typeface="Calibri"/>
              </a:rPr>
              <a:t>Canada</a:t>
            </a:r>
            <a:r>
              <a:rPr kumimoji="0" sz="1412" b="1" i="0" u="none" strike="noStrike" kern="0" cap="none" spc="168" normalizeH="0" baseline="0" noProof="0">
                <a:ln>
                  <a:noFill/>
                </a:ln>
                <a:solidFill>
                  <a:sysClr val="windowText" lastClr="000000"/>
                </a:solidFill>
                <a:effectLst/>
                <a:uLnTx/>
                <a:uFillTx/>
                <a:latin typeface="Calibri"/>
                <a:ea typeface="+mn-ea"/>
                <a:cs typeface="Calibri"/>
              </a:rPr>
              <a:t> </a:t>
            </a:r>
            <a:r>
              <a:rPr kumimoji="0" sz="1412" b="1" i="0" u="none" strike="noStrike" kern="0" cap="none" spc="-18" normalizeH="0" baseline="0" noProof="0">
                <a:ln>
                  <a:noFill/>
                </a:ln>
                <a:solidFill>
                  <a:sysClr val="windowText" lastClr="000000"/>
                </a:solidFill>
                <a:effectLst/>
                <a:uLnTx/>
                <a:uFillTx/>
                <a:latin typeface="Calibri"/>
                <a:ea typeface="+mn-ea"/>
                <a:cs typeface="Calibri"/>
              </a:rPr>
              <a:t>Rouge</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282"/>
              </a:spcBef>
              <a:spcAft>
                <a:spcPts val="0"/>
              </a:spcAft>
              <a:buClrTx/>
              <a:buSzTx/>
              <a:buFontTx/>
              <a:buNone/>
              <a:tabLst/>
              <a:defRPr/>
            </a:pPr>
            <a:r>
              <a:rPr kumimoji="0" sz="927" b="0" i="0" u="none" strike="noStrike" kern="0" cap="none" spc="0" normalizeH="0" baseline="0" noProof="0">
                <a:ln>
                  <a:noFill/>
                </a:ln>
                <a:solidFill>
                  <a:srgbClr val="2A2A2A"/>
                </a:solidFill>
                <a:effectLst/>
                <a:uLnTx/>
                <a:uFillTx/>
                <a:latin typeface="Calibri"/>
                <a:ea typeface="+mn-ea"/>
                <a:cs typeface="Calibri"/>
              </a:rPr>
              <a:t>Air</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nada</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Rouge</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ervice</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includes </a:t>
            </a:r>
            <a:r>
              <a:rPr kumimoji="0" sz="927" b="0" i="0" u="none" strike="noStrike" kern="0" cap="none" spc="0" normalizeH="0" baseline="0" noProof="0">
                <a:ln>
                  <a:noFill/>
                </a:ln>
                <a:solidFill>
                  <a:srgbClr val="2A2A2A"/>
                </a:solidFill>
                <a:effectLst/>
                <a:uLnTx/>
                <a:uFillTx/>
                <a:latin typeface="Calibri"/>
                <a:ea typeface="+mn-ea"/>
                <a:cs typeface="Calibri"/>
              </a:rPr>
              <a:t>complimentary</a:t>
            </a:r>
            <a:r>
              <a:rPr kumimoji="0" sz="927" b="0" i="0" u="none" strike="noStrike" kern="0" cap="none" spc="31"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treaming</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entertainment, </a:t>
            </a:r>
            <a:r>
              <a:rPr kumimoji="0" sz="927" b="0" i="0" u="none" strike="noStrike" kern="0" cap="none" spc="0" normalizeH="0" baseline="0" noProof="0">
                <a:ln>
                  <a:noFill/>
                </a:ln>
                <a:solidFill>
                  <a:srgbClr val="2A2A2A"/>
                </a:solidFill>
                <a:effectLst/>
                <a:uLnTx/>
                <a:uFillTx/>
                <a:latin typeface="Calibri"/>
                <a:ea typeface="+mn-ea"/>
                <a:cs typeface="Calibri"/>
              </a:rPr>
              <a:t>a</a:t>
            </a:r>
            <a:r>
              <a:rPr kumimoji="0" sz="927" b="0" i="0" u="none" strike="noStrike" kern="0" cap="none" spc="-31"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premium</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bin,</a:t>
            </a:r>
            <a:r>
              <a:rPr kumimoji="0" sz="927" b="0" i="0" u="none" strike="noStrike" kern="0" cap="none" spc="-31"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pecialized</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customer </a:t>
            </a:r>
            <a:r>
              <a:rPr kumimoji="0" sz="927" b="0" i="0" u="none" strike="noStrike" kern="0" cap="none" spc="0" normalizeH="0" baseline="0" noProof="0">
                <a:ln>
                  <a:noFill/>
                </a:ln>
                <a:solidFill>
                  <a:srgbClr val="2A2A2A"/>
                </a:solidFill>
                <a:effectLst/>
                <a:uLnTx/>
                <a:uFillTx/>
                <a:latin typeface="Calibri"/>
                <a:ea typeface="+mn-ea"/>
                <a:cs typeface="Calibri"/>
              </a:rPr>
              <a:t>service,</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high-speed satellite </a:t>
            </a:r>
            <a:r>
              <a:rPr kumimoji="0" sz="927" b="0" i="0" u="none" strike="noStrike" kern="0" cap="none" spc="-9" normalizeH="0" baseline="0" noProof="0">
                <a:ln>
                  <a:noFill/>
                </a:ln>
                <a:solidFill>
                  <a:srgbClr val="2A2A2A"/>
                </a:solidFill>
                <a:effectLst/>
                <a:uLnTx/>
                <a:uFillTx/>
                <a:latin typeface="Calibri"/>
                <a:ea typeface="+mn-ea"/>
                <a:cs typeface="Calibri"/>
              </a:rPr>
              <a:t>Interne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7845"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rgbClr val="2A2A2A"/>
                </a:solidFill>
                <a:effectLst/>
                <a:uLnTx/>
                <a:uFillTx/>
                <a:latin typeface="Calibri"/>
                <a:ea typeface="+mn-ea"/>
                <a:cs typeface="Calibri"/>
              </a:rPr>
              <a:t>on-board</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its</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irbus</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319,</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320</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nd</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18" normalizeH="0" baseline="0" noProof="0">
                <a:ln>
                  <a:noFill/>
                </a:ln>
                <a:solidFill>
                  <a:srgbClr val="2A2A2A"/>
                </a:solidFill>
                <a:effectLst/>
                <a:uLnTx/>
                <a:uFillTx/>
                <a:latin typeface="Calibri"/>
                <a:ea typeface="+mn-ea"/>
                <a:cs typeface="Calibri"/>
              </a:rPr>
              <a:t>A321 </a:t>
            </a:r>
            <a:r>
              <a:rPr kumimoji="0" sz="927" b="0" i="0" u="none" strike="noStrike" kern="0" cap="none" spc="0" normalizeH="0" baseline="0" noProof="0">
                <a:ln>
                  <a:noFill/>
                </a:ln>
                <a:solidFill>
                  <a:srgbClr val="2A2A2A"/>
                </a:solidFill>
                <a:effectLst/>
                <a:uLnTx/>
                <a:uFillTx/>
                <a:latin typeface="Calibri"/>
                <a:ea typeface="+mn-ea"/>
                <a:cs typeface="Calibri"/>
              </a:rPr>
              <a:t>fleet.</a:t>
            </a:r>
            <a:r>
              <a:rPr kumimoji="0" sz="927" b="0" i="0" u="none" strike="noStrike" kern="0" cap="none" spc="31"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With</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flights</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o</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leisure</a:t>
            </a:r>
            <a:r>
              <a:rPr kumimoji="0" sz="927" b="0" i="0" u="none" strike="noStrike" kern="0" cap="none" spc="35"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destinations </a:t>
            </a:r>
            <a:r>
              <a:rPr kumimoji="0" sz="927" b="0" i="0" u="none" strike="noStrike" kern="0" cap="none" spc="0" normalizeH="0" baseline="0" noProof="0">
                <a:ln>
                  <a:noFill/>
                </a:ln>
                <a:solidFill>
                  <a:sysClr val="windowText" lastClr="000000"/>
                </a:solidFill>
                <a:effectLst/>
                <a:uLnTx/>
                <a:uFillTx/>
                <a:latin typeface="Calibri"/>
                <a:ea typeface="+mn-ea"/>
                <a:cs typeface="Calibri"/>
              </a:rPr>
              <a:t>in 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U.S., the</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ribbean</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nd </a:t>
            </a:r>
            <a:r>
              <a:rPr kumimoji="0" sz="927" b="0" i="0" u="none" strike="noStrike" kern="0" cap="none" spc="-9" normalizeH="0" baseline="0" noProof="0">
                <a:ln>
                  <a:noFill/>
                </a:ln>
                <a:solidFill>
                  <a:srgbClr val="2A2A2A"/>
                </a:solidFill>
                <a:effectLst/>
                <a:uLnTx/>
                <a:uFillTx/>
                <a:latin typeface="Calibri"/>
                <a:ea typeface="+mn-ea"/>
                <a:cs typeface="Calibri"/>
              </a:rPr>
              <a:t>within </a:t>
            </a:r>
            <a:r>
              <a:rPr kumimoji="0" sz="927" b="0" i="0" u="none" strike="noStrike" kern="0" cap="none" spc="0" normalizeH="0" baseline="0" noProof="0">
                <a:ln>
                  <a:noFill/>
                </a:ln>
                <a:solidFill>
                  <a:srgbClr val="2A2A2A"/>
                </a:solidFill>
                <a:effectLst/>
                <a:uLnTx/>
                <a:uFillTx/>
                <a:latin typeface="Calibri"/>
                <a:ea typeface="+mn-ea"/>
                <a:cs typeface="Calibri"/>
              </a:rPr>
              <a:t>Canada,</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ir</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nada</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Rouge</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has</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served </a:t>
            </a:r>
            <a:r>
              <a:rPr kumimoji="0" sz="927" b="0" i="0" u="none" strike="noStrike" kern="0" cap="none" spc="0" normalizeH="0" baseline="0" noProof="0">
                <a:ln>
                  <a:noFill/>
                </a:ln>
                <a:solidFill>
                  <a:srgbClr val="2A2A2A"/>
                </a:solidFill>
                <a:effectLst/>
                <a:uLnTx/>
                <a:uFillTx/>
                <a:latin typeface="Calibri"/>
                <a:ea typeface="+mn-ea"/>
                <a:cs typeface="Calibri"/>
              </a:rPr>
              <a:t>more</a:t>
            </a:r>
            <a:r>
              <a:rPr kumimoji="0" sz="927" b="0" i="0" u="none" strike="noStrike" kern="0" cap="none" spc="18"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han</a:t>
            </a:r>
            <a:r>
              <a:rPr kumimoji="0" sz="927" b="0" i="0" u="none" strike="noStrike" kern="0" cap="none" spc="18"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30</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million</a:t>
            </a:r>
            <a:r>
              <a:rPr kumimoji="0" sz="927" b="0" i="0" u="none" strike="noStrike" kern="0" cap="none" spc="18"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ustomers</a:t>
            </a:r>
            <a:r>
              <a:rPr kumimoji="0" sz="927" b="0" i="0" u="none" strike="noStrike" kern="0" cap="none" spc="18" normalizeH="0" baseline="0" noProof="0">
                <a:ln>
                  <a:noFill/>
                </a:ln>
                <a:solidFill>
                  <a:srgbClr val="2A2A2A"/>
                </a:solidFill>
                <a:effectLst/>
                <a:uLnTx/>
                <a:uFillTx/>
                <a:latin typeface="Calibri"/>
                <a:ea typeface="+mn-ea"/>
                <a:cs typeface="Calibri"/>
              </a:rPr>
              <a:t> </a:t>
            </a:r>
            <a:r>
              <a:rPr kumimoji="0" sz="927" b="0" i="0" u="none" strike="noStrike" kern="0" cap="none" spc="-18" normalizeH="0" baseline="0" noProof="0">
                <a:ln>
                  <a:noFill/>
                </a:ln>
                <a:solidFill>
                  <a:srgbClr val="2A2A2A"/>
                </a:solidFill>
                <a:effectLst/>
                <a:uLnTx/>
                <a:uFillTx/>
                <a:latin typeface="Calibri"/>
                <a:ea typeface="+mn-ea"/>
                <a:cs typeface="Calibri"/>
              </a:rPr>
              <a:t>since </a:t>
            </a:r>
            <a:r>
              <a:rPr kumimoji="0" sz="927" b="0" i="0" u="none" strike="noStrike" kern="0" cap="none" spc="0" normalizeH="0" baseline="0" noProof="0">
                <a:ln>
                  <a:noFill/>
                </a:ln>
                <a:solidFill>
                  <a:srgbClr val="2A2A2A"/>
                </a:solidFill>
                <a:effectLst/>
                <a:uLnTx/>
                <a:uFillTx/>
                <a:latin typeface="Calibri"/>
                <a:ea typeface="+mn-ea"/>
                <a:cs typeface="Calibri"/>
              </a:rPr>
              <a:t>launching</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n</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July</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53" normalizeH="0" baseline="0" noProof="0">
                <a:ln>
                  <a:noFill/>
                </a:ln>
                <a:solidFill>
                  <a:srgbClr val="2A2A2A"/>
                </a:solidFill>
                <a:effectLst/>
                <a:uLnTx/>
                <a:uFillTx/>
                <a:latin typeface="Calibri"/>
                <a:ea typeface="+mn-ea"/>
                <a:cs typeface="Calibri"/>
              </a:rPr>
              <a:t>1,</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18" normalizeH="0" baseline="0" noProof="0">
                <a:ln>
                  <a:noFill/>
                </a:ln>
                <a:solidFill>
                  <a:srgbClr val="2A2A2A"/>
                </a:solidFill>
                <a:effectLst/>
                <a:uLnTx/>
                <a:uFillTx/>
                <a:latin typeface="Calibri"/>
                <a:ea typeface="+mn-ea"/>
                <a:cs typeface="Calibri"/>
              </a:rPr>
              <a:t>2013.</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806867" rtl="0" eaLnBrk="1" fontAlgn="auto" latinLnBrk="0" hangingPunct="1">
              <a:lnSpc>
                <a:spcPct val="100000"/>
              </a:lnSpc>
              <a:spcBef>
                <a:spcPts val="31"/>
              </a:spcBef>
              <a:spcAft>
                <a:spcPts val="0"/>
              </a:spcAft>
              <a:buClrTx/>
              <a:buSzTx/>
              <a:buFontTx/>
              <a:buNone/>
              <a:tabLst/>
              <a:defRPr/>
            </a:pPr>
            <a:endParaRPr kumimoji="0" sz="882"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ct val="100000"/>
              </a:lnSpc>
              <a:spcBef>
                <a:spcPts val="4"/>
              </a:spcBef>
              <a:spcAft>
                <a:spcPts val="0"/>
              </a:spcAft>
              <a:buClrTx/>
              <a:buSzTx/>
              <a:buFontTx/>
              <a:buNone/>
              <a:tabLst/>
              <a:defRPr/>
            </a:pPr>
            <a:r>
              <a:rPr kumimoji="0" sz="1412" b="1" i="0" u="none" strike="noStrike" kern="0" cap="none" spc="-150" normalizeH="0" baseline="0" noProof="0">
                <a:ln>
                  <a:noFill/>
                </a:ln>
                <a:solidFill>
                  <a:srgbClr val="E2201F"/>
                </a:solidFill>
                <a:effectLst/>
                <a:uLnTx/>
                <a:uFillTx/>
                <a:latin typeface="Calibri"/>
                <a:ea typeface="+mn-ea"/>
                <a:cs typeface="Calibri"/>
              </a:rPr>
              <a:t>—</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ct val="100000"/>
              </a:lnSpc>
              <a:spcBef>
                <a:spcPts val="865"/>
              </a:spcBef>
              <a:spcAft>
                <a:spcPts val="0"/>
              </a:spcAft>
              <a:buClrTx/>
              <a:buSzTx/>
              <a:buFontTx/>
              <a:buNone/>
              <a:tabLst/>
              <a:defRPr/>
            </a:pPr>
            <a:r>
              <a:rPr kumimoji="0" sz="1412" b="1" i="0" u="none" strike="noStrike" kern="0" cap="none" spc="0" normalizeH="0" baseline="0" noProof="0">
                <a:ln>
                  <a:noFill/>
                </a:ln>
                <a:solidFill>
                  <a:sysClr val="windowText" lastClr="000000"/>
                </a:solidFill>
                <a:effectLst/>
                <a:uLnTx/>
                <a:uFillTx/>
                <a:latin typeface="Calibri"/>
                <a:ea typeface="+mn-ea"/>
                <a:cs typeface="Calibri"/>
              </a:rPr>
              <a:t>Air</a:t>
            </a:r>
            <a:r>
              <a:rPr kumimoji="0" sz="1412" b="1" i="0" u="none" strike="noStrike" kern="0" cap="none" spc="163" normalizeH="0" baseline="0" noProof="0">
                <a:ln>
                  <a:noFill/>
                </a:ln>
                <a:solidFill>
                  <a:sysClr val="windowText" lastClr="000000"/>
                </a:solidFill>
                <a:effectLst/>
                <a:uLnTx/>
                <a:uFillTx/>
                <a:latin typeface="Calibri"/>
                <a:ea typeface="+mn-ea"/>
                <a:cs typeface="Calibri"/>
              </a:rPr>
              <a:t> </a:t>
            </a:r>
            <a:r>
              <a:rPr kumimoji="0" sz="1412" b="1" i="0" u="none" strike="noStrike" kern="0" cap="none" spc="0" normalizeH="0" baseline="0" noProof="0">
                <a:ln>
                  <a:noFill/>
                </a:ln>
                <a:solidFill>
                  <a:sysClr val="windowText" lastClr="000000"/>
                </a:solidFill>
                <a:effectLst/>
                <a:uLnTx/>
                <a:uFillTx/>
                <a:latin typeface="Calibri"/>
                <a:ea typeface="+mn-ea"/>
                <a:cs typeface="Calibri"/>
              </a:rPr>
              <a:t>Canada</a:t>
            </a:r>
            <a:r>
              <a:rPr kumimoji="0" sz="1412" b="1" i="0" u="none" strike="noStrike" kern="0" cap="none" spc="168" normalizeH="0" baseline="0" noProof="0">
                <a:ln>
                  <a:noFill/>
                </a:ln>
                <a:solidFill>
                  <a:sysClr val="windowText" lastClr="000000"/>
                </a:solidFill>
                <a:effectLst/>
                <a:uLnTx/>
                <a:uFillTx/>
                <a:latin typeface="Calibri"/>
                <a:ea typeface="+mn-ea"/>
                <a:cs typeface="Calibri"/>
              </a:rPr>
              <a:t> </a:t>
            </a:r>
            <a:r>
              <a:rPr kumimoji="0" sz="1412" b="1" i="0" u="none" strike="noStrike" kern="0" cap="none" spc="31" normalizeH="0" baseline="0" noProof="0">
                <a:ln>
                  <a:noFill/>
                </a:ln>
                <a:solidFill>
                  <a:sysClr val="windowText" lastClr="000000"/>
                </a:solidFill>
                <a:effectLst/>
                <a:uLnTx/>
                <a:uFillTx/>
                <a:latin typeface="Calibri"/>
                <a:ea typeface="+mn-ea"/>
                <a:cs typeface="Calibri"/>
              </a:rPr>
              <a:t>Express</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1206" marR="24094" lvl="0" indent="0" algn="l" defTabSz="806867" rtl="0" eaLnBrk="1" fontAlgn="auto" latinLnBrk="0" hangingPunct="1">
              <a:lnSpc>
                <a:spcPts val="1059"/>
              </a:lnSpc>
              <a:spcBef>
                <a:spcPts val="282"/>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35"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nhances</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ts</a:t>
            </a:r>
            <a:r>
              <a:rPr kumimoji="0" sz="927" b="0" i="0" u="none" strike="noStrike" kern="0" cap="none" spc="35"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orth</a:t>
            </a:r>
            <a:r>
              <a:rPr kumimoji="0" sz="927" b="0" i="0" u="none" strike="noStrike" kern="0" cap="none" spc="31"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merican </a:t>
            </a:r>
            <a:r>
              <a:rPr kumimoji="0" sz="927" b="0" i="0" u="none" strike="noStrike" kern="0" cap="none" spc="0" normalizeH="0" baseline="0" noProof="0">
                <a:ln>
                  <a:noFill/>
                </a:ln>
                <a:solidFill>
                  <a:sysClr val="windowText" lastClr="000000"/>
                </a:solidFill>
                <a:effectLst/>
                <a:uLnTx/>
                <a:uFillTx/>
                <a:latin typeface="Calibri"/>
                <a:ea typeface="+mn-ea"/>
                <a:cs typeface="Calibri"/>
              </a:rPr>
              <a:t>domestic</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transborder</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network </a:t>
            </a:r>
            <a:r>
              <a:rPr kumimoji="0" sz="927" b="0" i="0" u="none" strike="noStrike" kern="0" cap="none" spc="0" normalizeH="0" baseline="0" noProof="0">
                <a:ln>
                  <a:noFill/>
                </a:ln>
                <a:solidFill>
                  <a:sysClr val="windowText" lastClr="000000"/>
                </a:solidFill>
                <a:effectLst/>
                <a:uLnTx/>
                <a:uFillTx/>
                <a:latin typeface="Calibri"/>
                <a:ea typeface="+mn-ea"/>
                <a:cs typeface="Calibri"/>
              </a:rPr>
              <a:t>through</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pacity</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urchase</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greement </a:t>
            </a:r>
            <a:r>
              <a:rPr kumimoji="0" sz="927" b="0" i="0" u="none" strike="noStrike" kern="0" cap="none" spc="0" normalizeH="0" baseline="0" noProof="0">
                <a:ln>
                  <a:noFill/>
                </a:ln>
                <a:solidFill>
                  <a:sysClr val="windowText" lastClr="000000"/>
                </a:solidFill>
                <a:effectLst/>
                <a:uLnTx/>
                <a:uFillTx/>
                <a:latin typeface="Calibri"/>
                <a:ea typeface="+mn-ea"/>
                <a:cs typeface="Calibri"/>
              </a:rPr>
              <a:t>with</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Jazz</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viation</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26" normalizeH="0" baseline="0" noProof="0">
                <a:ln>
                  <a:noFill/>
                </a:ln>
                <a:solidFill>
                  <a:sysClr val="windowText" lastClr="000000"/>
                </a:solidFill>
                <a:effectLst/>
                <a:uLnTx/>
                <a:uFillTx/>
                <a:latin typeface="Calibri"/>
                <a:ea typeface="+mn-ea"/>
                <a:cs typeface="Calibri"/>
              </a:rPr>
              <a:t>LP.</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i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anadian </a:t>
            </a:r>
            <a:r>
              <a:rPr kumimoji="0" sz="927" b="0" i="0" u="none" strike="noStrike" kern="0" cap="none" spc="0" normalizeH="0" baseline="0" noProof="0">
                <a:ln>
                  <a:noFill/>
                </a:ln>
                <a:solidFill>
                  <a:sysClr val="windowText" lastClr="000000"/>
                </a:solidFill>
                <a:effectLst/>
                <a:uLnTx/>
                <a:uFillTx/>
                <a:latin typeface="Calibri"/>
                <a:ea typeface="+mn-ea"/>
                <a:cs typeface="Calibri"/>
              </a:rPr>
              <a:t>regional</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rrie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perat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light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behalf </a:t>
            </a:r>
            <a:r>
              <a:rPr kumimoji="0" sz="927" b="0" i="0" u="none" strike="noStrike" kern="0" cap="none" spc="0" normalizeH="0" baseline="0" noProof="0">
                <a:ln>
                  <a:noFill/>
                </a:ln>
                <a:solidFill>
                  <a:sysClr val="windowText" lastClr="000000"/>
                </a:solidFill>
                <a:effectLst/>
                <a:uLnTx/>
                <a:uFillTx/>
                <a:latin typeface="Calibri"/>
                <a:ea typeface="+mn-ea"/>
                <a:cs typeface="Calibri"/>
              </a:rPr>
              <a:t>of</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unde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anada </a:t>
            </a:r>
            <a:r>
              <a:rPr kumimoji="0" sz="927" b="0" i="0" u="none" strike="noStrike" kern="0" cap="none" spc="0" normalizeH="0" baseline="0" noProof="0">
                <a:ln>
                  <a:noFill/>
                </a:ln>
                <a:solidFill>
                  <a:sysClr val="windowText" lastClr="000000"/>
                </a:solidFill>
                <a:effectLst/>
                <a:uLnTx/>
                <a:uFillTx/>
                <a:latin typeface="Calibri"/>
                <a:ea typeface="+mn-ea"/>
                <a:cs typeface="Calibri"/>
              </a:rPr>
              <a:t>Expres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brand.</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4" name="object 4"/>
          <p:cNvSpPr txBox="1"/>
          <p:nvPr/>
        </p:nvSpPr>
        <p:spPr>
          <a:xfrm>
            <a:off x="6101603" y="6090171"/>
            <a:ext cx="1052793" cy="303627"/>
          </a:xfrm>
          <a:prstGeom prst="rect">
            <a:avLst/>
          </a:prstGeom>
        </p:spPr>
        <p:txBody>
          <a:bodyPr vert="horz" wrap="square" lIns="0" tIns="21291" rIns="0" bIns="0" rtlCol="0">
            <a:spAutoFit/>
          </a:bodyPr>
          <a:lstStyle/>
          <a:p>
            <a:pPr marL="11206" marR="4483" lvl="0" indent="0" algn="l" defTabSz="806867" rtl="0" eaLnBrk="1" fontAlgn="auto" latinLnBrk="0" hangingPunct="1">
              <a:lnSpc>
                <a:spcPts val="1059"/>
              </a:lnSpc>
              <a:spcBef>
                <a:spcPts val="168"/>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New</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Roug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Uniforms </a:t>
            </a:r>
            <a:r>
              <a:rPr kumimoji="0" sz="927" b="0" i="0" u="none" strike="noStrike" kern="0" cap="none" spc="0" normalizeH="0" baseline="0" noProof="0">
                <a:ln>
                  <a:noFill/>
                </a:ln>
                <a:solidFill>
                  <a:sysClr val="windowText" lastClr="000000"/>
                </a:solidFill>
                <a:effectLst/>
                <a:uLnTx/>
                <a:uFillTx/>
                <a:latin typeface="Calibri"/>
                <a:ea typeface="+mn-ea"/>
                <a:cs typeface="Calibri"/>
              </a:rPr>
              <a:t>(2021-</a:t>
            </a:r>
            <a:r>
              <a:rPr kumimoji="0" sz="927" b="0" i="0" u="none" strike="noStrike" kern="0" cap="none" spc="-22" normalizeH="0" baseline="0" noProof="0">
                <a:ln>
                  <a:noFill/>
                </a:ln>
                <a:solidFill>
                  <a:sysClr val="windowText" lastClr="000000"/>
                </a:solidFill>
                <a:effectLst/>
                <a:uLnTx/>
                <a:uFillTx/>
                <a:latin typeface="Calibri"/>
                <a:ea typeface="+mn-ea"/>
                <a:cs typeface="Calibri"/>
              </a:rPr>
              <a:t>09)</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pic>
        <p:nvPicPr>
          <p:cNvPr id="5" name="object 5"/>
          <p:cNvPicPr/>
          <p:nvPr/>
        </p:nvPicPr>
        <p:blipFill>
          <a:blip r:embed="rId3" cstate="print"/>
          <a:stretch>
            <a:fillRect/>
          </a:stretch>
        </p:blipFill>
        <p:spPr>
          <a:xfrm>
            <a:off x="2068289" y="157333"/>
            <a:ext cx="127478" cy="125068"/>
          </a:xfrm>
          <a:prstGeom prst="rect">
            <a:avLst/>
          </a:prstGeom>
        </p:spPr>
      </p:pic>
      <p:grpSp>
        <p:nvGrpSpPr>
          <p:cNvPr id="6" name="object 6"/>
          <p:cNvGrpSpPr/>
          <p:nvPr/>
        </p:nvGrpSpPr>
        <p:grpSpPr>
          <a:xfrm>
            <a:off x="2249274" y="185592"/>
            <a:ext cx="210110" cy="64994"/>
            <a:chOff x="669577" y="210337"/>
            <a:chExt cx="238125" cy="73660"/>
          </a:xfrm>
        </p:grpSpPr>
        <p:pic>
          <p:nvPicPr>
            <p:cNvPr id="7" name="object 7"/>
            <p:cNvPicPr/>
            <p:nvPr/>
          </p:nvPicPr>
          <p:blipFill>
            <a:blip r:embed="rId4" cstate="print"/>
            <a:stretch>
              <a:fillRect/>
            </a:stretch>
          </p:blipFill>
          <p:spPr>
            <a:xfrm>
              <a:off x="830875" y="210381"/>
              <a:ext cx="76250" cy="73393"/>
            </a:xfrm>
            <a:prstGeom prst="rect">
              <a:avLst/>
            </a:prstGeom>
          </p:spPr>
        </p:pic>
        <p:pic>
          <p:nvPicPr>
            <p:cNvPr id="8" name="object 8"/>
            <p:cNvPicPr/>
            <p:nvPr/>
          </p:nvPicPr>
          <p:blipFill>
            <a:blip r:embed="rId5" cstate="print"/>
            <a:stretch>
              <a:fillRect/>
            </a:stretch>
          </p:blipFill>
          <p:spPr>
            <a:xfrm>
              <a:off x="669577" y="210375"/>
              <a:ext cx="83515" cy="73444"/>
            </a:xfrm>
            <a:prstGeom prst="rect">
              <a:avLst/>
            </a:prstGeom>
          </p:spPr>
        </p:pic>
        <p:sp>
          <p:nvSpPr>
            <p:cNvPr id="9" name="object 9"/>
            <p:cNvSpPr/>
            <p:nvPr/>
          </p:nvSpPr>
          <p:spPr>
            <a:xfrm>
              <a:off x="775957" y="210337"/>
              <a:ext cx="17780" cy="73660"/>
            </a:xfrm>
            <a:custGeom>
              <a:avLst/>
              <a:gdLst/>
              <a:ahLst/>
              <a:cxnLst/>
              <a:rect l="l" t="t" r="r" b="b"/>
              <a:pathLst>
                <a:path w="17779" h="73660">
                  <a:moveTo>
                    <a:pt x="17233" y="0"/>
                  </a:moveTo>
                  <a:lnTo>
                    <a:pt x="0" y="0"/>
                  </a:lnTo>
                  <a:lnTo>
                    <a:pt x="0" y="73444"/>
                  </a:lnTo>
                  <a:lnTo>
                    <a:pt x="17233" y="73444"/>
                  </a:lnTo>
                  <a:lnTo>
                    <a:pt x="17233"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10" name="object 10"/>
          <p:cNvGrpSpPr/>
          <p:nvPr/>
        </p:nvGrpSpPr>
        <p:grpSpPr>
          <a:xfrm>
            <a:off x="2500109" y="183698"/>
            <a:ext cx="524996" cy="68916"/>
            <a:chOff x="953857" y="208191"/>
            <a:chExt cx="594995" cy="78105"/>
          </a:xfrm>
        </p:grpSpPr>
        <p:pic>
          <p:nvPicPr>
            <p:cNvPr id="11" name="object 11"/>
            <p:cNvPicPr/>
            <p:nvPr/>
          </p:nvPicPr>
          <p:blipFill>
            <a:blip r:embed="rId6" cstate="print"/>
            <a:stretch>
              <a:fillRect/>
            </a:stretch>
          </p:blipFill>
          <p:spPr>
            <a:xfrm>
              <a:off x="953857" y="208191"/>
              <a:ext cx="76517" cy="77927"/>
            </a:xfrm>
            <a:prstGeom prst="rect">
              <a:avLst/>
            </a:prstGeom>
          </p:spPr>
        </p:pic>
        <p:pic>
          <p:nvPicPr>
            <p:cNvPr id="12" name="object 12"/>
            <p:cNvPicPr/>
            <p:nvPr/>
          </p:nvPicPr>
          <p:blipFill>
            <a:blip r:embed="rId7" cstate="print"/>
            <a:stretch>
              <a:fillRect/>
            </a:stretch>
          </p:blipFill>
          <p:spPr>
            <a:xfrm>
              <a:off x="1051401" y="210375"/>
              <a:ext cx="83502" cy="73444"/>
            </a:xfrm>
            <a:prstGeom prst="rect">
              <a:avLst/>
            </a:prstGeom>
          </p:spPr>
        </p:pic>
        <p:pic>
          <p:nvPicPr>
            <p:cNvPr id="13" name="object 13"/>
            <p:cNvPicPr/>
            <p:nvPr/>
          </p:nvPicPr>
          <p:blipFill>
            <a:blip r:embed="rId8" cstate="print"/>
            <a:stretch>
              <a:fillRect/>
            </a:stretch>
          </p:blipFill>
          <p:spPr>
            <a:xfrm>
              <a:off x="1263714" y="210375"/>
              <a:ext cx="83515" cy="73444"/>
            </a:xfrm>
            <a:prstGeom prst="rect">
              <a:avLst/>
            </a:prstGeom>
          </p:spPr>
        </p:pic>
        <p:pic>
          <p:nvPicPr>
            <p:cNvPr id="14" name="object 14"/>
            <p:cNvPicPr/>
            <p:nvPr/>
          </p:nvPicPr>
          <p:blipFill>
            <a:blip r:embed="rId9" cstate="print"/>
            <a:stretch>
              <a:fillRect/>
            </a:stretch>
          </p:blipFill>
          <p:spPr>
            <a:xfrm>
              <a:off x="1159389" y="210385"/>
              <a:ext cx="79794" cy="73431"/>
            </a:xfrm>
            <a:prstGeom prst="rect">
              <a:avLst/>
            </a:prstGeom>
          </p:spPr>
        </p:pic>
        <p:sp>
          <p:nvSpPr>
            <p:cNvPr id="15" name="object 15"/>
            <p:cNvSpPr/>
            <p:nvPr/>
          </p:nvSpPr>
          <p:spPr>
            <a:xfrm>
              <a:off x="1371422" y="210387"/>
              <a:ext cx="177800" cy="73660"/>
            </a:xfrm>
            <a:custGeom>
              <a:avLst/>
              <a:gdLst/>
              <a:ahLst/>
              <a:cxnLst/>
              <a:rect l="l" t="t" r="r" b="b"/>
              <a:pathLst>
                <a:path w="177800" h="73660">
                  <a:moveTo>
                    <a:pt x="74993" y="35293"/>
                  </a:moveTo>
                  <a:lnTo>
                    <a:pt x="74371" y="27292"/>
                  </a:lnTo>
                  <a:lnTo>
                    <a:pt x="72478" y="20256"/>
                  </a:lnTo>
                  <a:lnTo>
                    <a:pt x="69303" y="14224"/>
                  </a:lnTo>
                  <a:lnTo>
                    <a:pt x="65582" y="10007"/>
                  </a:lnTo>
                  <a:lnTo>
                    <a:pt x="64846" y="9169"/>
                  </a:lnTo>
                  <a:lnTo>
                    <a:pt x="59207" y="5194"/>
                  </a:lnTo>
                  <a:lnTo>
                    <a:pt x="56730" y="4152"/>
                  </a:lnTo>
                  <a:lnTo>
                    <a:pt x="56730" y="29095"/>
                  </a:lnTo>
                  <a:lnTo>
                    <a:pt x="56680" y="45161"/>
                  </a:lnTo>
                  <a:lnTo>
                    <a:pt x="54483" y="51904"/>
                  </a:lnTo>
                  <a:lnTo>
                    <a:pt x="49999" y="56349"/>
                  </a:lnTo>
                  <a:lnTo>
                    <a:pt x="45580" y="60782"/>
                  </a:lnTo>
                  <a:lnTo>
                    <a:pt x="38874" y="62979"/>
                  </a:lnTo>
                  <a:lnTo>
                    <a:pt x="17183" y="62941"/>
                  </a:lnTo>
                  <a:lnTo>
                    <a:pt x="17183" y="10007"/>
                  </a:lnTo>
                  <a:lnTo>
                    <a:pt x="54978" y="23241"/>
                  </a:lnTo>
                  <a:lnTo>
                    <a:pt x="56730" y="29095"/>
                  </a:lnTo>
                  <a:lnTo>
                    <a:pt x="56730" y="4152"/>
                  </a:lnTo>
                  <a:lnTo>
                    <a:pt x="52451" y="2324"/>
                  </a:lnTo>
                  <a:lnTo>
                    <a:pt x="44564" y="584"/>
                  </a:lnTo>
                  <a:lnTo>
                    <a:pt x="35547" y="0"/>
                  </a:lnTo>
                  <a:lnTo>
                    <a:pt x="0" y="0"/>
                  </a:lnTo>
                  <a:lnTo>
                    <a:pt x="0" y="73393"/>
                  </a:lnTo>
                  <a:lnTo>
                    <a:pt x="33858" y="73393"/>
                  </a:lnTo>
                  <a:lnTo>
                    <a:pt x="68834" y="57975"/>
                  </a:lnTo>
                  <a:lnTo>
                    <a:pt x="74282" y="43878"/>
                  </a:lnTo>
                  <a:lnTo>
                    <a:pt x="74993" y="35293"/>
                  </a:lnTo>
                  <a:close/>
                </a:path>
                <a:path w="177800" h="73660">
                  <a:moveTo>
                    <a:pt x="177304" y="73444"/>
                  </a:moveTo>
                  <a:lnTo>
                    <a:pt x="168783" y="53746"/>
                  </a:lnTo>
                  <a:lnTo>
                    <a:pt x="164579" y="44043"/>
                  </a:lnTo>
                  <a:lnTo>
                    <a:pt x="151930" y="14820"/>
                  </a:lnTo>
                  <a:lnTo>
                    <a:pt x="145529" y="0"/>
                  </a:lnTo>
                  <a:lnTo>
                    <a:pt x="144614" y="0"/>
                  </a:lnTo>
                  <a:lnTo>
                    <a:pt x="144614" y="44043"/>
                  </a:lnTo>
                  <a:lnTo>
                    <a:pt x="119176" y="44043"/>
                  </a:lnTo>
                  <a:lnTo>
                    <a:pt x="131953" y="14820"/>
                  </a:lnTo>
                  <a:lnTo>
                    <a:pt x="144614" y="44043"/>
                  </a:lnTo>
                  <a:lnTo>
                    <a:pt x="144614" y="0"/>
                  </a:lnTo>
                  <a:lnTo>
                    <a:pt x="125984" y="0"/>
                  </a:lnTo>
                  <a:lnTo>
                    <a:pt x="93789" y="73444"/>
                  </a:lnTo>
                  <a:lnTo>
                    <a:pt x="106273" y="73444"/>
                  </a:lnTo>
                  <a:lnTo>
                    <a:pt x="114935" y="53746"/>
                  </a:lnTo>
                  <a:lnTo>
                    <a:pt x="148831" y="53746"/>
                  </a:lnTo>
                  <a:lnTo>
                    <a:pt x="157353" y="73444"/>
                  </a:lnTo>
                  <a:lnTo>
                    <a:pt x="177304" y="73444"/>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6" name="object 16"/>
          <p:cNvSpPr txBox="1"/>
          <p:nvPr/>
        </p:nvSpPr>
        <p:spPr>
          <a:xfrm>
            <a:off x="8647744" y="153081"/>
            <a:ext cx="1224803" cy="119935"/>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tab pos="1160991" algn="l"/>
              </a:tabLst>
              <a:defRPr/>
            </a:pPr>
            <a:r>
              <a:rPr kumimoji="0" sz="706" b="1" i="0" u="none" strike="noStrike" kern="0" cap="none" spc="0" normalizeH="0" baseline="0" noProof="0">
                <a:ln>
                  <a:noFill/>
                </a:ln>
                <a:solidFill>
                  <a:sysClr val="windowText" lastClr="000000"/>
                </a:solidFill>
                <a:effectLst/>
                <a:uLnTx/>
                <a:uFillTx/>
                <a:latin typeface="Calibri"/>
                <a:ea typeface="+mn-ea"/>
                <a:cs typeface="Calibri"/>
              </a:rPr>
              <a:t>Overview</a:t>
            </a:r>
            <a:r>
              <a:rPr kumimoji="0" sz="706" b="1" i="0" u="none" strike="noStrike" kern="0" cap="none" spc="216" normalizeH="0" baseline="0" noProof="0">
                <a:ln>
                  <a:noFill/>
                </a:ln>
                <a:solidFill>
                  <a:sysClr val="windowText" lastClr="000000"/>
                </a:solidFill>
                <a:effectLst/>
                <a:uLnTx/>
                <a:uFillTx/>
                <a:latin typeface="Calibri"/>
                <a:ea typeface="+mn-ea"/>
                <a:cs typeface="Calibri"/>
              </a:rPr>
              <a:t> </a:t>
            </a:r>
            <a:r>
              <a:rPr kumimoji="0" sz="706" b="0" i="0" u="none" strike="noStrike" kern="0" cap="none" spc="-44" normalizeH="0" baseline="0" noProof="0">
                <a:ln>
                  <a:noFill/>
                </a:ln>
                <a:solidFill>
                  <a:sysClr val="windowText" lastClr="000000"/>
                </a:solidFill>
                <a:effectLst/>
                <a:uLnTx/>
                <a:uFillTx/>
                <a:latin typeface="Calibri"/>
                <a:ea typeface="+mn-ea"/>
                <a:cs typeface="Calibri"/>
              </a:rPr>
              <a:t>|</a:t>
            </a:r>
            <a:r>
              <a:rPr kumimoji="0" sz="706" b="0" i="0" u="none" strike="noStrike" kern="0" cap="none" spc="221" normalizeH="0" baseline="0" noProof="0">
                <a:ln>
                  <a:noFill/>
                </a:ln>
                <a:solidFill>
                  <a:sysClr val="windowText" lastClr="000000"/>
                </a:solidFill>
                <a:effectLst/>
                <a:uLnTx/>
                <a:uFillTx/>
                <a:latin typeface="Calibri"/>
                <a:ea typeface="+mn-ea"/>
                <a:cs typeface="Calibri"/>
              </a:rPr>
              <a:t> </a:t>
            </a:r>
            <a:r>
              <a:rPr kumimoji="0" sz="706" b="0" i="0" u="none" strike="noStrike" kern="0" cap="none" spc="0" normalizeH="0" baseline="0" noProof="0">
                <a:ln>
                  <a:noFill/>
                </a:ln>
                <a:solidFill>
                  <a:sysClr val="windowText" lastClr="000000"/>
                </a:solidFill>
                <a:effectLst/>
                <a:uLnTx/>
                <a:uFillTx/>
                <a:latin typeface="Calibri"/>
                <a:ea typeface="+mn-ea"/>
                <a:cs typeface="Calibri"/>
              </a:rPr>
              <a:t>MARCH</a:t>
            </a:r>
            <a:r>
              <a:rPr kumimoji="0" sz="706" b="0" i="0" u="none" strike="noStrike" kern="0" cap="none" spc="26" normalizeH="0" baseline="0" noProof="0">
                <a:ln>
                  <a:noFill/>
                </a:ln>
                <a:solidFill>
                  <a:sysClr val="windowText" lastClr="000000"/>
                </a:solidFill>
                <a:effectLst/>
                <a:uLnTx/>
                <a:uFillTx/>
                <a:latin typeface="Calibri"/>
                <a:ea typeface="+mn-ea"/>
                <a:cs typeface="Calibri"/>
              </a:rPr>
              <a:t> </a:t>
            </a:r>
            <a:r>
              <a:rPr kumimoji="0" sz="706" b="0" i="0" u="none" strike="noStrike" kern="0" cap="none" spc="-18" normalizeH="0" baseline="0" noProof="0">
                <a:ln>
                  <a:noFill/>
                </a:ln>
                <a:solidFill>
                  <a:sysClr val="windowText" lastClr="000000"/>
                </a:solidFill>
                <a:effectLst/>
                <a:uLnTx/>
                <a:uFillTx/>
                <a:latin typeface="Calibri"/>
                <a:ea typeface="+mn-ea"/>
                <a:cs typeface="Calibri"/>
              </a:rPr>
              <a:t>2022</a:t>
            </a:r>
            <a:r>
              <a:rPr kumimoji="0" sz="706" b="0" i="0" u="none" strike="noStrike" kern="0" cap="none" spc="0" normalizeH="0" baseline="0" noProof="0">
                <a:ln>
                  <a:noFill/>
                </a:ln>
                <a:solidFill>
                  <a:sysClr val="windowText" lastClr="000000"/>
                </a:solidFill>
                <a:effectLst/>
                <a:uLnTx/>
                <a:uFillTx/>
                <a:latin typeface="Calibri"/>
                <a:ea typeface="+mn-ea"/>
                <a:cs typeface="Calibri"/>
              </a:rPr>
              <a:t>	</a:t>
            </a:r>
            <a:r>
              <a:rPr kumimoji="0" sz="706" b="1" i="0" u="none" strike="noStrike" kern="0" cap="none" spc="4" normalizeH="0" baseline="0" noProof="0">
                <a:ln>
                  <a:noFill/>
                </a:ln>
                <a:solidFill>
                  <a:sysClr val="windowText" lastClr="000000"/>
                </a:solidFill>
                <a:effectLst/>
                <a:uLnTx/>
                <a:uFillTx/>
                <a:latin typeface="Calibri"/>
                <a:ea typeface="+mn-ea"/>
                <a:cs typeface="Calibri"/>
              </a:rPr>
              <a:t>9</a:t>
            </a:r>
            <a:endParaRPr kumimoji="0" sz="706"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7" name="Footer Placeholder 16">
            <a:extLst>
              <a:ext uri="{FF2B5EF4-FFF2-40B4-BE49-F238E27FC236}">
                <a16:creationId xmlns:a16="http://schemas.microsoft.com/office/drawing/2014/main" id="{84DAC747-49A6-35F7-4600-C3ACF3038EE1}"/>
              </a:ext>
            </a:extLst>
          </p:cNvPr>
          <p:cNvSpPr>
            <a:spLocks noGrp="1"/>
          </p:cNvSpPr>
          <p:nvPr>
            <p:ph type="ftr" sz="quarter" idx="5"/>
          </p:nvPr>
        </p:nvSpPr>
        <p:spPr/>
        <p:txBody>
          <a:bodyPr/>
          <a:lstStyle/>
          <a:p>
            <a:r>
              <a:rPr lang="en-CA"/>
              <a:t>Priveledged and Confidential</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Problem Description</a:t>
            </a:r>
          </a:p>
        </p:txBody>
      </p:sp>
      <p:sp>
        <p:nvSpPr>
          <p:cNvPr id="3" name="Content Placeholder 2">
            <a:extLst>
              <a:ext uri="{FF2B5EF4-FFF2-40B4-BE49-F238E27FC236}">
                <a16:creationId xmlns:a16="http://schemas.microsoft.com/office/drawing/2014/main" id="{0FDBD39D-FE35-F643-96E8-F9589917BC83}"/>
              </a:ext>
            </a:extLst>
          </p:cNvPr>
          <p:cNvSpPr txBox="1">
            <a:spLocks/>
          </p:cNvSpPr>
          <p:nvPr/>
        </p:nvSpPr>
        <p:spPr>
          <a:xfrm>
            <a:off x="838200" y="1825625"/>
            <a:ext cx="10515600" cy="910428"/>
          </a:xfrm>
          <a:prstGeom prst="rect">
            <a:avLst/>
          </a:prstGeom>
        </p:spPr>
        <p:txBody>
          <a:bodyPr>
            <a:normAutofit/>
          </a:bodyPr>
          <a:lst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bg1"/>
                </a:solidFill>
              </a:rPr>
              <a:t>Ground Times</a:t>
            </a:r>
          </a:p>
          <a:p>
            <a:r>
              <a:rPr lang="en-US" sz="2000" dirty="0">
                <a:solidFill>
                  <a:srgbClr val="FF0000"/>
                </a:solidFill>
              </a:rPr>
              <a:t>Block Times</a:t>
            </a:r>
          </a:p>
        </p:txBody>
      </p:sp>
      <p:cxnSp>
        <p:nvCxnSpPr>
          <p:cNvPr id="4" name="Straight Connector 3">
            <a:extLst>
              <a:ext uri="{FF2B5EF4-FFF2-40B4-BE49-F238E27FC236}">
                <a16:creationId xmlns:a16="http://schemas.microsoft.com/office/drawing/2014/main" id="{67E8EE02-764E-F74D-9CEF-7EA2549749D1}"/>
              </a:ext>
            </a:extLst>
          </p:cNvPr>
          <p:cNvCxnSpPr>
            <a:cxnSpLocks/>
          </p:cNvCxnSpPr>
          <p:nvPr/>
        </p:nvCxnSpPr>
        <p:spPr>
          <a:xfrm>
            <a:off x="1214438" y="3557595"/>
            <a:ext cx="671512" cy="0"/>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7DCCE8D-5766-414E-9858-3A163CA9F689}"/>
              </a:ext>
            </a:extLst>
          </p:cNvPr>
          <p:cNvCxnSpPr>
            <a:cxnSpLocks/>
          </p:cNvCxnSpPr>
          <p:nvPr/>
        </p:nvCxnSpPr>
        <p:spPr>
          <a:xfrm>
            <a:off x="1885950" y="3557595"/>
            <a:ext cx="1943100"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E6A6FA5-D745-C347-80D7-3F70B0F3EB71}"/>
              </a:ext>
            </a:extLst>
          </p:cNvPr>
          <p:cNvCxnSpPr>
            <a:cxnSpLocks/>
          </p:cNvCxnSpPr>
          <p:nvPr/>
        </p:nvCxnSpPr>
        <p:spPr>
          <a:xfrm>
            <a:off x="3829050" y="3557595"/>
            <a:ext cx="685800" cy="0"/>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34099C8-152A-784C-A92A-2C50791178BA}"/>
              </a:ext>
            </a:extLst>
          </p:cNvPr>
          <p:cNvCxnSpPr>
            <a:cxnSpLocks/>
          </p:cNvCxnSpPr>
          <p:nvPr/>
        </p:nvCxnSpPr>
        <p:spPr>
          <a:xfrm>
            <a:off x="4514850" y="3557594"/>
            <a:ext cx="1228727"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492ABD9-06E6-7446-AF05-C139F7493C33}"/>
              </a:ext>
            </a:extLst>
          </p:cNvPr>
          <p:cNvCxnSpPr>
            <a:cxnSpLocks/>
          </p:cNvCxnSpPr>
          <p:nvPr/>
        </p:nvCxnSpPr>
        <p:spPr>
          <a:xfrm>
            <a:off x="5743577" y="3557595"/>
            <a:ext cx="2614609" cy="0"/>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8FEE14D-C3C6-934F-81A5-11571A170DDE}"/>
              </a:ext>
            </a:extLst>
          </p:cNvPr>
          <p:cNvCxnSpPr>
            <a:cxnSpLocks/>
          </p:cNvCxnSpPr>
          <p:nvPr/>
        </p:nvCxnSpPr>
        <p:spPr>
          <a:xfrm>
            <a:off x="8358186" y="3557594"/>
            <a:ext cx="657227"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245E54-8872-994F-B43D-92008F4D3C28}"/>
              </a:ext>
            </a:extLst>
          </p:cNvPr>
          <p:cNvCxnSpPr>
            <a:cxnSpLocks/>
          </p:cNvCxnSpPr>
          <p:nvPr/>
        </p:nvCxnSpPr>
        <p:spPr>
          <a:xfrm>
            <a:off x="9015413" y="3557595"/>
            <a:ext cx="1057277" cy="0"/>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3BCEEB9-18F7-0348-B9AE-BA503D8DB9BC}"/>
              </a:ext>
            </a:extLst>
          </p:cNvPr>
          <p:cNvCxnSpPr/>
          <p:nvPr/>
        </p:nvCxnSpPr>
        <p:spPr>
          <a:xfrm>
            <a:off x="1214438" y="3321851"/>
            <a:ext cx="0" cy="47148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FB21851-4D96-8148-9EE5-AEAD354C9145}"/>
              </a:ext>
            </a:extLst>
          </p:cNvPr>
          <p:cNvCxnSpPr/>
          <p:nvPr/>
        </p:nvCxnSpPr>
        <p:spPr>
          <a:xfrm>
            <a:off x="10072690" y="3321851"/>
            <a:ext cx="0" cy="471487"/>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104DF36-82EB-574B-B6F5-070E3F5C816B}"/>
              </a:ext>
            </a:extLst>
          </p:cNvPr>
          <p:cNvSpPr txBox="1"/>
          <p:nvPr/>
        </p:nvSpPr>
        <p:spPr>
          <a:xfrm>
            <a:off x="2055019" y="3779050"/>
            <a:ext cx="1600200" cy="369332"/>
          </a:xfrm>
          <a:prstGeom prst="rect">
            <a:avLst/>
          </a:prstGeom>
          <a:noFill/>
        </p:spPr>
        <p:txBody>
          <a:bodyPr wrap="square" rtlCol="0">
            <a:spAutoFit/>
          </a:bodyPr>
          <a:lstStyle/>
          <a:p>
            <a:pPr algn="ctr"/>
            <a:r>
              <a:rPr lang="en-US" b="1" dirty="0">
                <a:solidFill>
                  <a:schemeClr val="bg1"/>
                </a:solidFill>
              </a:rPr>
              <a:t>YYZ</a:t>
            </a:r>
          </a:p>
        </p:txBody>
      </p:sp>
      <p:sp>
        <p:nvSpPr>
          <p:cNvPr id="14" name="TextBox 13">
            <a:extLst>
              <a:ext uri="{FF2B5EF4-FFF2-40B4-BE49-F238E27FC236}">
                <a16:creationId xmlns:a16="http://schemas.microsoft.com/office/drawing/2014/main" id="{9820B10E-71B4-D84C-A924-CD1C5B4E0749}"/>
              </a:ext>
            </a:extLst>
          </p:cNvPr>
          <p:cNvSpPr txBox="1"/>
          <p:nvPr/>
        </p:nvSpPr>
        <p:spPr>
          <a:xfrm>
            <a:off x="4379120" y="3779050"/>
            <a:ext cx="1600200" cy="369332"/>
          </a:xfrm>
          <a:prstGeom prst="rect">
            <a:avLst/>
          </a:prstGeom>
          <a:noFill/>
        </p:spPr>
        <p:txBody>
          <a:bodyPr wrap="square" rtlCol="0">
            <a:spAutoFit/>
          </a:bodyPr>
          <a:lstStyle/>
          <a:p>
            <a:pPr algn="ctr"/>
            <a:r>
              <a:rPr lang="en-US" b="1" dirty="0">
                <a:solidFill>
                  <a:schemeClr val="bg1"/>
                </a:solidFill>
              </a:rPr>
              <a:t>YUL</a:t>
            </a:r>
          </a:p>
        </p:txBody>
      </p:sp>
      <p:sp>
        <p:nvSpPr>
          <p:cNvPr id="15" name="TextBox 14">
            <a:extLst>
              <a:ext uri="{FF2B5EF4-FFF2-40B4-BE49-F238E27FC236}">
                <a16:creationId xmlns:a16="http://schemas.microsoft.com/office/drawing/2014/main" id="{A19F3A4F-F335-B34C-9F93-9E9A71760F97}"/>
              </a:ext>
            </a:extLst>
          </p:cNvPr>
          <p:cNvSpPr txBox="1"/>
          <p:nvPr/>
        </p:nvSpPr>
        <p:spPr>
          <a:xfrm>
            <a:off x="7886703" y="3727178"/>
            <a:ext cx="1600200" cy="369332"/>
          </a:xfrm>
          <a:prstGeom prst="rect">
            <a:avLst/>
          </a:prstGeom>
          <a:noFill/>
        </p:spPr>
        <p:txBody>
          <a:bodyPr wrap="square" rtlCol="0">
            <a:spAutoFit/>
          </a:bodyPr>
          <a:lstStyle/>
          <a:p>
            <a:pPr algn="ctr"/>
            <a:r>
              <a:rPr lang="en-US" b="1" dirty="0">
                <a:solidFill>
                  <a:schemeClr val="bg1"/>
                </a:solidFill>
              </a:rPr>
              <a:t>YVR</a:t>
            </a:r>
          </a:p>
        </p:txBody>
      </p:sp>
      <p:pic>
        <p:nvPicPr>
          <p:cNvPr id="16" name="Picture 15">
            <a:extLst>
              <a:ext uri="{FF2B5EF4-FFF2-40B4-BE49-F238E27FC236}">
                <a16:creationId xmlns:a16="http://schemas.microsoft.com/office/drawing/2014/main" id="{0F36F545-B536-954E-BFEE-65CDBB1F4DC8}"/>
              </a:ext>
            </a:extLst>
          </p:cNvPr>
          <p:cNvPicPr>
            <a:picLocks noChangeAspect="1"/>
          </p:cNvPicPr>
          <p:nvPr/>
        </p:nvPicPr>
        <p:blipFill>
          <a:blip r:embed="rId2"/>
          <a:stretch>
            <a:fillRect/>
          </a:stretch>
        </p:blipFill>
        <p:spPr>
          <a:xfrm>
            <a:off x="9039051" y="2905635"/>
            <a:ext cx="574673" cy="574673"/>
          </a:xfrm>
          <a:prstGeom prst="rect">
            <a:avLst/>
          </a:prstGeom>
        </p:spPr>
      </p:pic>
      <p:pic>
        <p:nvPicPr>
          <p:cNvPr id="17" name="Picture 16">
            <a:extLst>
              <a:ext uri="{FF2B5EF4-FFF2-40B4-BE49-F238E27FC236}">
                <a16:creationId xmlns:a16="http://schemas.microsoft.com/office/drawing/2014/main" id="{8368AF83-C669-2A4C-AFB7-E68CA22254DD}"/>
              </a:ext>
            </a:extLst>
          </p:cNvPr>
          <p:cNvPicPr>
            <a:picLocks noChangeAspect="1"/>
          </p:cNvPicPr>
          <p:nvPr/>
        </p:nvPicPr>
        <p:blipFill>
          <a:blip r:embed="rId2"/>
          <a:stretch>
            <a:fillRect/>
          </a:stretch>
        </p:blipFill>
        <p:spPr>
          <a:xfrm>
            <a:off x="3829811" y="2920207"/>
            <a:ext cx="574673" cy="574673"/>
          </a:xfrm>
          <a:prstGeom prst="rect">
            <a:avLst/>
          </a:prstGeom>
        </p:spPr>
      </p:pic>
      <p:pic>
        <p:nvPicPr>
          <p:cNvPr id="18" name="Picture 17">
            <a:extLst>
              <a:ext uri="{FF2B5EF4-FFF2-40B4-BE49-F238E27FC236}">
                <a16:creationId xmlns:a16="http://schemas.microsoft.com/office/drawing/2014/main" id="{D59A2364-940B-F743-AEDA-3BB3BE0DB1F3}"/>
              </a:ext>
            </a:extLst>
          </p:cNvPr>
          <p:cNvPicPr>
            <a:picLocks noChangeAspect="1"/>
          </p:cNvPicPr>
          <p:nvPr/>
        </p:nvPicPr>
        <p:blipFill>
          <a:blip r:embed="rId2"/>
          <a:stretch>
            <a:fillRect/>
          </a:stretch>
        </p:blipFill>
        <p:spPr>
          <a:xfrm>
            <a:off x="5754196" y="2909498"/>
            <a:ext cx="574673" cy="574673"/>
          </a:xfrm>
          <a:prstGeom prst="rect">
            <a:avLst/>
          </a:prstGeom>
        </p:spPr>
      </p:pic>
      <p:sp>
        <p:nvSpPr>
          <p:cNvPr id="19" name="TextBox 18">
            <a:extLst>
              <a:ext uri="{FF2B5EF4-FFF2-40B4-BE49-F238E27FC236}">
                <a16:creationId xmlns:a16="http://schemas.microsoft.com/office/drawing/2014/main" id="{F6C78B73-0E1E-E540-8E04-5FE5ABFEC4DE}"/>
              </a:ext>
            </a:extLst>
          </p:cNvPr>
          <p:cNvSpPr txBox="1"/>
          <p:nvPr/>
        </p:nvSpPr>
        <p:spPr>
          <a:xfrm>
            <a:off x="9044882" y="2629685"/>
            <a:ext cx="1137684" cy="396890"/>
          </a:xfrm>
          <a:prstGeom prst="rect">
            <a:avLst/>
          </a:prstGeom>
          <a:noFill/>
        </p:spPr>
        <p:txBody>
          <a:bodyPr wrap="square" lIns="0" tIns="0" rIns="0" bIns="0" rtlCol="0">
            <a:noAutofit/>
          </a:bodyPr>
          <a:lstStyle/>
          <a:p>
            <a:r>
              <a:rPr lang="en-US" sz="1400" dirty="0">
                <a:solidFill>
                  <a:schemeClr val="bg1"/>
                </a:solidFill>
              </a:rPr>
              <a:t>F-295</a:t>
            </a:r>
          </a:p>
        </p:txBody>
      </p:sp>
      <p:sp>
        <p:nvSpPr>
          <p:cNvPr id="20" name="TextBox 19">
            <a:extLst>
              <a:ext uri="{FF2B5EF4-FFF2-40B4-BE49-F238E27FC236}">
                <a16:creationId xmlns:a16="http://schemas.microsoft.com/office/drawing/2014/main" id="{5F933F45-9C9E-D242-8681-E3B715110901}"/>
              </a:ext>
            </a:extLst>
          </p:cNvPr>
          <p:cNvSpPr txBox="1"/>
          <p:nvPr/>
        </p:nvSpPr>
        <p:spPr>
          <a:xfrm>
            <a:off x="5776802" y="2622399"/>
            <a:ext cx="1137684" cy="396890"/>
          </a:xfrm>
          <a:prstGeom prst="rect">
            <a:avLst/>
          </a:prstGeom>
          <a:noFill/>
        </p:spPr>
        <p:txBody>
          <a:bodyPr wrap="square" lIns="0" tIns="0" rIns="0" bIns="0" rtlCol="0">
            <a:noAutofit/>
          </a:bodyPr>
          <a:lstStyle/>
          <a:p>
            <a:r>
              <a:rPr lang="en-US" sz="1400" dirty="0">
                <a:solidFill>
                  <a:schemeClr val="bg1"/>
                </a:solidFill>
              </a:rPr>
              <a:t>F-295</a:t>
            </a:r>
          </a:p>
        </p:txBody>
      </p:sp>
      <p:sp>
        <p:nvSpPr>
          <p:cNvPr id="21" name="TextBox 20">
            <a:extLst>
              <a:ext uri="{FF2B5EF4-FFF2-40B4-BE49-F238E27FC236}">
                <a16:creationId xmlns:a16="http://schemas.microsoft.com/office/drawing/2014/main" id="{4596F648-7091-9144-AC91-0D62CAB15D92}"/>
              </a:ext>
            </a:extLst>
          </p:cNvPr>
          <p:cNvSpPr txBox="1"/>
          <p:nvPr/>
        </p:nvSpPr>
        <p:spPr>
          <a:xfrm>
            <a:off x="3835642" y="2622399"/>
            <a:ext cx="1137684" cy="396890"/>
          </a:xfrm>
          <a:prstGeom prst="rect">
            <a:avLst/>
          </a:prstGeom>
          <a:noFill/>
        </p:spPr>
        <p:txBody>
          <a:bodyPr wrap="square" lIns="0" tIns="0" rIns="0" bIns="0" rtlCol="0">
            <a:noAutofit/>
          </a:bodyPr>
          <a:lstStyle/>
          <a:p>
            <a:r>
              <a:rPr lang="en-US" sz="1400" dirty="0">
                <a:solidFill>
                  <a:schemeClr val="bg1"/>
                </a:solidFill>
              </a:rPr>
              <a:t>F-295</a:t>
            </a:r>
          </a:p>
        </p:txBody>
      </p:sp>
    </p:spTree>
    <p:extLst>
      <p:ext uri="{BB962C8B-B14F-4D97-AF65-F5344CB8AC3E}">
        <p14:creationId xmlns:p14="http://schemas.microsoft.com/office/powerpoint/2010/main" val="26230823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0130118" y="0"/>
            <a:ext cx="403412" cy="6858000"/>
          </a:xfrm>
          <a:custGeom>
            <a:avLst/>
            <a:gdLst/>
            <a:ahLst/>
            <a:cxnLst/>
            <a:rect l="l" t="t" r="r" b="b"/>
            <a:pathLst>
              <a:path w="457200" h="7772400">
                <a:moveTo>
                  <a:pt x="0" y="7772400"/>
                </a:moveTo>
                <a:lnTo>
                  <a:pt x="457200" y="7772400"/>
                </a:lnTo>
                <a:lnTo>
                  <a:pt x="457200" y="0"/>
                </a:lnTo>
                <a:lnTo>
                  <a:pt x="0" y="0"/>
                </a:lnTo>
                <a:lnTo>
                  <a:pt x="0" y="7772400"/>
                </a:lnTo>
                <a:close/>
              </a:path>
            </a:pathLst>
          </a:custGeom>
          <a:solidFill>
            <a:srgbClr val="EDF4F6"/>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 name="object 3"/>
          <p:cNvSpPr/>
          <p:nvPr/>
        </p:nvSpPr>
        <p:spPr>
          <a:xfrm>
            <a:off x="1658470" y="0"/>
            <a:ext cx="6420971" cy="6858000"/>
          </a:xfrm>
          <a:custGeom>
            <a:avLst/>
            <a:gdLst/>
            <a:ahLst/>
            <a:cxnLst/>
            <a:rect l="l" t="t" r="r" b="b"/>
            <a:pathLst>
              <a:path w="7277100" h="7772400">
                <a:moveTo>
                  <a:pt x="0" y="7772400"/>
                </a:moveTo>
                <a:lnTo>
                  <a:pt x="7277100" y="7772400"/>
                </a:lnTo>
                <a:lnTo>
                  <a:pt x="7277100" y="0"/>
                </a:lnTo>
                <a:lnTo>
                  <a:pt x="0" y="0"/>
                </a:lnTo>
                <a:lnTo>
                  <a:pt x="0" y="7772400"/>
                </a:lnTo>
                <a:close/>
              </a:path>
            </a:pathLst>
          </a:custGeom>
          <a:solidFill>
            <a:srgbClr val="EDF4F6"/>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4" name="object 4"/>
          <p:cNvPicPr/>
          <p:nvPr/>
        </p:nvPicPr>
        <p:blipFill>
          <a:blip r:embed="rId2" cstate="print"/>
          <a:stretch>
            <a:fillRect/>
          </a:stretch>
        </p:blipFill>
        <p:spPr>
          <a:xfrm>
            <a:off x="3625860" y="3861238"/>
            <a:ext cx="117236" cy="117236"/>
          </a:xfrm>
          <a:prstGeom prst="rect">
            <a:avLst/>
          </a:prstGeom>
        </p:spPr>
      </p:pic>
      <p:pic>
        <p:nvPicPr>
          <p:cNvPr id="5" name="object 5"/>
          <p:cNvPicPr/>
          <p:nvPr/>
        </p:nvPicPr>
        <p:blipFill>
          <a:blip r:embed="rId2" cstate="print"/>
          <a:stretch>
            <a:fillRect/>
          </a:stretch>
        </p:blipFill>
        <p:spPr>
          <a:xfrm>
            <a:off x="3280640" y="5004238"/>
            <a:ext cx="117236" cy="117236"/>
          </a:xfrm>
          <a:prstGeom prst="rect">
            <a:avLst/>
          </a:prstGeom>
        </p:spPr>
      </p:pic>
      <p:pic>
        <p:nvPicPr>
          <p:cNvPr id="6" name="object 6"/>
          <p:cNvPicPr/>
          <p:nvPr/>
        </p:nvPicPr>
        <p:blipFill>
          <a:blip r:embed="rId2" cstate="print"/>
          <a:stretch>
            <a:fillRect/>
          </a:stretch>
        </p:blipFill>
        <p:spPr>
          <a:xfrm>
            <a:off x="3044554" y="5609356"/>
            <a:ext cx="117236" cy="117236"/>
          </a:xfrm>
          <a:prstGeom prst="rect">
            <a:avLst/>
          </a:prstGeom>
        </p:spPr>
      </p:pic>
      <p:sp>
        <p:nvSpPr>
          <p:cNvPr id="7" name="object 7"/>
          <p:cNvSpPr txBox="1"/>
          <p:nvPr/>
        </p:nvSpPr>
        <p:spPr>
          <a:xfrm>
            <a:off x="2050676" y="3009117"/>
            <a:ext cx="4137212" cy="2820203"/>
          </a:xfrm>
          <a:prstGeom prst="rect">
            <a:avLst/>
          </a:prstGeom>
        </p:spPr>
        <p:txBody>
          <a:bodyPr vert="horz" wrap="square" lIns="0" tIns="50426" rIns="0" bIns="0" rtlCol="0">
            <a:spAutoFit/>
          </a:bodyPr>
          <a:lstStyle/>
          <a:p>
            <a:pPr marL="11206" marR="0" lvl="0" indent="0" algn="l" defTabSz="806867" rtl="0" eaLnBrk="1" fontAlgn="auto" latinLnBrk="0" hangingPunct="1">
              <a:lnSpc>
                <a:spcPct val="100000"/>
              </a:lnSpc>
              <a:spcBef>
                <a:spcPts val="397"/>
              </a:spcBef>
              <a:spcAft>
                <a:spcPts val="0"/>
              </a:spcAft>
              <a:buClrTx/>
              <a:buSzTx/>
              <a:buFontTx/>
              <a:buNone/>
              <a:tabLst/>
              <a:defRPr/>
            </a:pPr>
            <a:r>
              <a:rPr kumimoji="0" sz="1412" b="1" i="0" u="none" strike="noStrike" kern="0" cap="none" spc="0" normalizeH="0" baseline="0" noProof="0">
                <a:ln>
                  <a:noFill/>
                </a:ln>
                <a:solidFill>
                  <a:sysClr val="windowText" lastClr="000000"/>
                </a:solidFill>
                <a:effectLst/>
                <a:uLnTx/>
                <a:uFillTx/>
                <a:latin typeface="Calibri"/>
                <a:ea typeface="+mn-ea"/>
                <a:cs typeface="Calibri"/>
              </a:rPr>
              <a:t>Specialized</a:t>
            </a:r>
            <a:r>
              <a:rPr kumimoji="0" sz="1412" b="1" i="0" u="none" strike="noStrike" kern="0" cap="none" spc="318" normalizeH="0" baseline="0" noProof="0">
                <a:ln>
                  <a:noFill/>
                </a:ln>
                <a:solidFill>
                  <a:sysClr val="windowText" lastClr="000000"/>
                </a:solidFill>
                <a:effectLst/>
                <a:uLnTx/>
                <a:uFillTx/>
                <a:latin typeface="Calibri"/>
                <a:ea typeface="+mn-ea"/>
                <a:cs typeface="Calibri"/>
              </a:rPr>
              <a:t> </a:t>
            </a:r>
            <a:r>
              <a:rPr kumimoji="0" sz="1412" b="1" i="0" u="none" strike="noStrike" kern="0" cap="none" spc="-9" normalizeH="0" baseline="0" noProof="0">
                <a:ln>
                  <a:noFill/>
                </a:ln>
                <a:solidFill>
                  <a:sysClr val="windowText" lastClr="000000"/>
                </a:solidFill>
                <a:effectLst/>
                <a:uLnTx/>
                <a:uFillTx/>
                <a:latin typeface="Calibri"/>
                <a:ea typeface="+mn-ea"/>
                <a:cs typeface="Calibri"/>
              </a:rPr>
              <a:t>Services</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1206" marR="58274" lvl="0" indent="0" algn="l" defTabSz="806867" rtl="0" eaLnBrk="1" fontAlgn="auto" latinLnBrk="0" hangingPunct="1">
              <a:lnSpc>
                <a:spcPts val="1059"/>
              </a:lnSpc>
              <a:spcBef>
                <a:spcPts val="282"/>
              </a:spcBef>
              <a:spcAft>
                <a:spcPts val="0"/>
              </a:spcAft>
              <a:buClrTx/>
              <a:buSzTx/>
              <a:buFontTx/>
              <a:buNone/>
              <a:tabLst>
                <a:tab pos="1692178" algn="l"/>
              </a:tabLst>
              <a:defRPr/>
            </a:pPr>
            <a:r>
              <a:rPr kumimoji="0" sz="927" b="1" i="0" u="none" strike="noStrike" kern="0" cap="none" spc="0" normalizeH="0" baseline="0" noProof="0">
                <a:ln>
                  <a:noFill/>
                </a:ln>
                <a:solidFill>
                  <a:srgbClr val="2A2A2A"/>
                </a:solidFill>
                <a:effectLst/>
                <a:uLnTx/>
                <a:uFillTx/>
                <a:latin typeface="Calibri"/>
                <a:ea typeface="+mn-ea"/>
                <a:cs typeface="Calibri"/>
              </a:rPr>
              <a:t>Family</a:t>
            </a:r>
            <a:r>
              <a:rPr kumimoji="0" sz="927" b="1" i="0" u="none" strike="noStrike" kern="0" cap="none" spc="18" normalizeH="0" baseline="0" noProof="0">
                <a:ln>
                  <a:noFill/>
                </a:ln>
                <a:solidFill>
                  <a:srgbClr val="2A2A2A"/>
                </a:solidFill>
                <a:effectLst/>
                <a:uLnTx/>
                <a:uFillTx/>
                <a:latin typeface="Calibri"/>
                <a:ea typeface="+mn-ea"/>
                <a:cs typeface="Calibri"/>
              </a:rPr>
              <a:t> </a:t>
            </a:r>
            <a:r>
              <a:rPr kumimoji="0" sz="927" b="1" i="0" u="none" strike="noStrike" kern="0" cap="none" spc="0" normalizeH="0" baseline="0" noProof="0">
                <a:ln>
                  <a:noFill/>
                </a:ln>
                <a:solidFill>
                  <a:srgbClr val="2A2A2A"/>
                </a:solidFill>
                <a:effectLst/>
                <a:uLnTx/>
                <a:uFillTx/>
                <a:latin typeface="Calibri"/>
                <a:ea typeface="+mn-ea"/>
                <a:cs typeface="Calibri"/>
              </a:rPr>
              <a:t>Travel</a:t>
            </a:r>
            <a:r>
              <a:rPr kumimoji="0" sz="927" b="1" i="0" u="none" strike="noStrike" kern="0" cap="none" spc="31" normalizeH="0" baseline="0" noProof="0">
                <a:ln>
                  <a:noFill/>
                </a:ln>
                <a:solidFill>
                  <a:srgbClr val="2A2A2A"/>
                </a:solidFill>
                <a:effectLst/>
                <a:uLnTx/>
                <a:uFillTx/>
                <a:latin typeface="Calibri"/>
                <a:ea typeface="+mn-ea"/>
                <a:cs typeface="Calibri"/>
              </a:rPr>
              <a:t> </a:t>
            </a:r>
            <a:r>
              <a:rPr kumimoji="0" sz="927" b="1" i="0" u="none" strike="noStrike" kern="0" cap="none" spc="0" normalizeH="0" baseline="0" noProof="0">
                <a:ln>
                  <a:noFill/>
                </a:ln>
                <a:solidFill>
                  <a:srgbClr val="2A2A2A"/>
                </a:solidFill>
                <a:effectLst/>
                <a:uLnTx/>
                <a:uFillTx/>
                <a:latin typeface="Calibri"/>
                <a:ea typeface="+mn-ea"/>
                <a:cs typeface="Calibri"/>
              </a:rPr>
              <a:t>–</a:t>
            </a:r>
            <a:r>
              <a:rPr kumimoji="0" sz="927" b="1"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ustomers</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with</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young</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hildren</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may</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ake</a:t>
            </a:r>
            <a:r>
              <a:rPr kumimoji="0" sz="927" b="0" i="0" u="none" strike="noStrike" kern="0" cap="none" spc="40"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dvantage</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f</a:t>
            </a:r>
            <a:r>
              <a:rPr kumimoji="0" sz="927" b="0" i="0" u="none" strike="noStrike" kern="0" cap="none" spc="35"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dedicated </a:t>
            </a:r>
            <a:r>
              <a:rPr kumimoji="0" sz="927" b="0" i="0" u="none" strike="noStrike" kern="0" cap="none" spc="0" normalizeH="0" baseline="0" noProof="0">
                <a:ln>
                  <a:noFill/>
                </a:ln>
                <a:solidFill>
                  <a:srgbClr val="2A2A2A"/>
                </a:solidFill>
                <a:effectLst/>
                <a:uLnTx/>
                <a:uFillTx/>
                <a:latin typeface="Calibri"/>
                <a:ea typeface="+mn-ea"/>
                <a:cs typeface="Calibri"/>
              </a:rPr>
              <a:t>check-in counters at major hubs, complimentary on-board travel</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goodies, </a:t>
            </a:r>
            <a:r>
              <a:rPr kumimoji="0" sz="927" b="0" i="0" u="none" strike="noStrike" kern="0" cap="none" spc="-22" normalizeH="0" baseline="0" noProof="0">
                <a:ln>
                  <a:noFill/>
                </a:ln>
                <a:solidFill>
                  <a:srgbClr val="2A2A2A"/>
                </a:solidFill>
                <a:effectLst/>
                <a:uLnTx/>
                <a:uFillTx/>
                <a:latin typeface="Calibri"/>
                <a:ea typeface="+mn-ea"/>
                <a:cs typeface="Calibri"/>
              </a:rPr>
              <a:t>fun </a:t>
            </a:r>
            <a:r>
              <a:rPr kumimoji="0" sz="927" b="0" i="0" u="none" strike="noStrike" kern="0" cap="none" spc="-9" normalizeH="0" baseline="0" noProof="0">
                <a:ln>
                  <a:noFill/>
                </a:ln>
                <a:solidFill>
                  <a:srgbClr val="2A2A2A"/>
                </a:solidFill>
                <a:effectLst/>
                <a:uLnTx/>
                <a:uFillTx/>
                <a:latin typeface="Calibri"/>
                <a:ea typeface="+mn-ea"/>
                <a:cs typeface="Calibri"/>
              </a:rPr>
              <a:t>children’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meal option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nd early</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boarding.</a:t>
            </a:r>
            <a:r>
              <a:rPr kumimoji="0" sz="927" b="0" i="0" u="none" strike="noStrike" kern="0" cap="none" spc="0" normalizeH="0" baseline="0" noProof="0">
                <a:ln>
                  <a:noFill/>
                </a:ln>
                <a:solidFill>
                  <a:srgbClr val="2A2A2A"/>
                </a:solidFill>
                <a:effectLst/>
                <a:uLnTx/>
                <a:uFillTx/>
                <a:latin typeface="Calibri"/>
                <a:ea typeface="+mn-ea"/>
                <a:cs typeface="Calibri"/>
              </a:rPr>
              <a:t> Customer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n </a:t>
            </a:r>
            <a:r>
              <a:rPr kumimoji="0" sz="927" b="0" i="0" u="none" strike="noStrike" kern="0" cap="none" spc="-9" normalizeH="0" baseline="0" noProof="0">
                <a:ln>
                  <a:noFill/>
                </a:ln>
                <a:solidFill>
                  <a:srgbClr val="2A2A2A"/>
                </a:solidFill>
                <a:effectLst/>
                <a:uLnTx/>
                <a:uFillTx/>
                <a:latin typeface="Calibri"/>
                <a:ea typeface="+mn-ea"/>
                <a:cs typeface="Calibri"/>
              </a:rPr>
              <a:t>register</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heir children</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22" normalizeH="0" baseline="0" noProof="0">
                <a:ln>
                  <a:noFill/>
                </a:ln>
                <a:solidFill>
                  <a:srgbClr val="2A2A2A"/>
                </a:solidFill>
                <a:effectLst/>
                <a:uLnTx/>
                <a:uFillTx/>
                <a:latin typeface="Calibri"/>
                <a:ea typeface="+mn-ea"/>
                <a:cs typeface="Calibri"/>
              </a:rPr>
              <a:t>for </a:t>
            </a:r>
            <a:r>
              <a:rPr kumimoji="0" sz="927" b="0" i="0" u="none" strike="noStrike" kern="0" cap="none" spc="0" normalizeH="0" baseline="0" noProof="0">
                <a:ln>
                  <a:noFill/>
                </a:ln>
                <a:solidFill>
                  <a:srgbClr val="2A2A2A"/>
                </a:solidFill>
                <a:effectLst/>
                <a:uLnTx/>
                <a:uFillTx/>
                <a:latin typeface="Calibri"/>
                <a:ea typeface="+mn-ea"/>
                <a:cs typeface="Calibri"/>
              </a:rPr>
              <a:t>free</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nline</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t</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ir</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nada</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kyriders</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o</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receive</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dditional</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ravel</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goodies. (</a:t>
            </a:r>
            <a:r>
              <a:rPr kumimoji="0" sz="927" b="0" i="0" u="none" strike="noStrike" kern="0" cap="none" spc="-9" normalizeH="0" baseline="0" noProof="0">
                <a:ln>
                  <a:noFill/>
                </a:ln>
                <a:solidFill>
                  <a:srgbClr val="E2201F"/>
                </a:solidFill>
                <a:effectLst/>
                <a:uLnTx/>
                <a:uFillTx/>
                <a:latin typeface="Calibri"/>
                <a:ea typeface="+mn-ea"/>
                <a:cs typeface="Calibri"/>
                <a:hlinkClick r:id="rId3"/>
              </a:rPr>
              <a:t>aircanada.com/familytraveltips</a:t>
            </a:r>
            <a:r>
              <a:rPr kumimoji="0" sz="927" b="0" i="0" u="none" strike="noStrike" kern="0" cap="none" spc="0" normalizeH="0" baseline="0" noProof="0">
                <a:ln>
                  <a:noFill/>
                </a:ln>
                <a:solidFill>
                  <a:srgbClr val="E2201F"/>
                </a:solidFill>
                <a:effectLst/>
                <a:uLnTx/>
                <a:uFillTx/>
                <a:latin typeface="Calibri"/>
                <a:ea typeface="+mn-ea"/>
                <a:cs typeface="Calibri"/>
              </a:rPr>
              <a:t>	</a:t>
            </a:r>
            <a:r>
              <a:rPr kumimoji="0" sz="927" b="0" i="0" u="none" strike="noStrike" kern="0" cap="none" spc="-44" normalizeH="0" baseline="0" noProof="0">
                <a:ln>
                  <a:noFill/>
                </a:ln>
                <a:solidFill>
                  <a:srgbClr val="2A2A2A"/>
                </a:solidFill>
                <a:effectLst/>
                <a:uLnTx/>
                <a:uFillTx/>
                <a:latin typeface="Calibri"/>
                <a:ea typeface="+mn-ea"/>
                <a:cs typeface="Calibri"/>
              </a:rPr>
              <a: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250465" lvl="0" indent="0" algn="l" defTabSz="806867" rtl="0" eaLnBrk="1" fontAlgn="auto" latinLnBrk="0" hangingPunct="1">
              <a:lnSpc>
                <a:spcPts val="1059"/>
              </a:lnSpc>
              <a:spcBef>
                <a:spcPts val="529"/>
              </a:spcBef>
              <a:spcAft>
                <a:spcPts val="0"/>
              </a:spcAft>
              <a:buClrTx/>
              <a:buSzTx/>
              <a:buFontTx/>
              <a:buNone/>
              <a:tabLst/>
              <a:defRPr/>
            </a:pPr>
            <a:r>
              <a:rPr kumimoji="0" sz="927" b="1" i="0" u="none" strike="noStrike" kern="0" cap="none" spc="0" normalizeH="0" baseline="0" noProof="0">
                <a:ln>
                  <a:noFill/>
                </a:ln>
                <a:solidFill>
                  <a:srgbClr val="2A2A2A"/>
                </a:solidFill>
                <a:effectLst/>
                <a:uLnTx/>
                <a:uFillTx/>
                <a:latin typeface="Calibri"/>
                <a:ea typeface="+mn-ea"/>
                <a:cs typeface="Calibri"/>
              </a:rPr>
              <a:t>Air</a:t>
            </a:r>
            <a:r>
              <a:rPr kumimoji="0" sz="927" b="1" i="0" u="none" strike="noStrike" kern="0" cap="none" spc="57" normalizeH="0" baseline="0" noProof="0">
                <a:ln>
                  <a:noFill/>
                </a:ln>
                <a:solidFill>
                  <a:srgbClr val="2A2A2A"/>
                </a:solidFill>
                <a:effectLst/>
                <a:uLnTx/>
                <a:uFillTx/>
                <a:latin typeface="Calibri"/>
                <a:ea typeface="+mn-ea"/>
                <a:cs typeface="Calibri"/>
              </a:rPr>
              <a:t> </a:t>
            </a:r>
            <a:r>
              <a:rPr kumimoji="0" sz="927" b="1" i="0" u="none" strike="noStrike" kern="0" cap="none" spc="0" normalizeH="0" baseline="0" noProof="0">
                <a:ln>
                  <a:noFill/>
                </a:ln>
                <a:solidFill>
                  <a:srgbClr val="2A2A2A"/>
                </a:solidFill>
                <a:effectLst/>
                <a:uLnTx/>
                <a:uFillTx/>
                <a:latin typeface="Calibri"/>
                <a:ea typeface="+mn-ea"/>
                <a:cs typeface="Calibri"/>
              </a:rPr>
              <a:t>Canada</a:t>
            </a:r>
            <a:r>
              <a:rPr kumimoji="0" sz="927" b="1" i="0" u="none" strike="noStrike" kern="0" cap="none" spc="62" normalizeH="0" baseline="0" noProof="0">
                <a:ln>
                  <a:noFill/>
                </a:ln>
                <a:solidFill>
                  <a:srgbClr val="2A2A2A"/>
                </a:solidFill>
                <a:effectLst/>
                <a:uLnTx/>
                <a:uFillTx/>
                <a:latin typeface="Calibri"/>
                <a:ea typeface="+mn-ea"/>
                <a:cs typeface="Calibri"/>
              </a:rPr>
              <a:t> </a:t>
            </a:r>
            <a:r>
              <a:rPr kumimoji="0" sz="927" b="1" i="0" u="none" strike="noStrike" kern="0" cap="none" spc="0" normalizeH="0" baseline="0" noProof="0">
                <a:ln>
                  <a:noFill/>
                </a:ln>
                <a:solidFill>
                  <a:srgbClr val="2A2A2A"/>
                </a:solidFill>
                <a:effectLst/>
                <a:uLnTx/>
                <a:uFillTx/>
                <a:latin typeface="Calibri"/>
                <a:ea typeface="+mn-ea"/>
                <a:cs typeface="Calibri"/>
              </a:rPr>
              <a:t>Vacations</a:t>
            </a:r>
            <a:r>
              <a:rPr kumimoji="0" sz="927" b="1" i="0" u="none" strike="noStrike" kern="0" cap="none" spc="6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is</a:t>
            </a:r>
            <a:r>
              <a:rPr kumimoji="0" sz="927" b="0" i="0" u="none" strike="noStrike" kern="0" cap="none" spc="7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a:t>
            </a:r>
            <a:r>
              <a:rPr kumimoji="0" sz="927" b="0" i="0" u="none" strike="noStrike" kern="0" cap="none" spc="7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leading</a:t>
            </a:r>
            <a:r>
              <a:rPr kumimoji="0" sz="927" b="0" i="0" u="none" strike="noStrike" kern="0" cap="none" spc="75"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nadian</a:t>
            </a:r>
            <a:r>
              <a:rPr kumimoji="0" sz="927" b="0" i="0" u="none" strike="noStrike" kern="0" cap="none" spc="7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our</a:t>
            </a:r>
            <a:r>
              <a:rPr kumimoji="0" sz="927" b="0" i="0" u="none" strike="noStrike" kern="0" cap="none" spc="79" normalizeH="0" baseline="0" noProof="0">
                <a:ln>
                  <a:noFill/>
                </a:ln>
                <a:solidFill>
                  <a:srgbClr val="2A2A2A"/>
                </a:solidFill>
                <a:effectLst/>
                <a:uLnTx/>
                <a:uFillTx/>
                <a:latin typeface="Calibri"/>
                <a:ea typeface="+mn-ea"/>
                <a:cs typeface="Calibri"/>
              </a:rPr>
              <a:t> </a:t>
            </a:r>
            <a:r>
              <a:rPr kumimoji="0" sz="927" b="0" i="0" u="none" strike="noStrike" kern="0" cap="none" spc="-18" normalizeH="0" baseline="0" noProof="0">
                <a:ln>
                  <a:noFill/>
                </a:ln>
                <a:solidFill>
                  <a:srgbClr val="2A2A2A"/>
                </a:solidFill>
                <a:effectLst/>
                <a:uLnTx/>
                <a:uFillTx/>
                <a:latin typeface="Calibri"/>
                <a:ea typeface="+mn-ea"/>
                <a:cs typeface="Calibri"/>
              </a:rPr>
              <a:t>operator,</a:t>
            </a:r>
            <a:r>
              <a:rPr kumimoji="0" sz="927" b="0" i="0" u="none" strike="noStrike" kern="0" cap="none" spc="7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ffering</a:t>
            </a:r>
            <a:r>
              <a:rPr kumimoji="0" sz="927" b="0" i="0" u="none" strike="noStrike" kern="0" cap="none" spc="7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ll-</a:t>
            </a:r>
            <a:r>
              <a:rPr kumimoji="0" sz="927" b="0" i="0" u="none" strike="noStrike" kern="0" cap="none" spc="-9" normalizeH="0" baseline="0" noProof="0">
                <a:ln>
                  <a:noFill/>
                </a:ln>
                <a:solidFill>
                  <a:srgbClr val="2A2A2A"/>
                </a:solidFill>
                <a:effectLst/>
                <a:uLnTx/>
                <a:uFillTx/>
                <a:latin typeface="Calibri"/>
                <a:ea typeface="+mn-ea"/>
                <a:cs typeface="Calibri"/>
              </a:rPr>
              <a:t>inclusive </a:t>
            </a:r>
            <a:r>
              <a:rPr kumimoji="0" sz="927" b="0" i="0" u="none" strike="noStrike" kern="0" cap="none" spc="0" normalizeH="0" baseline="0" noProof="0">
                <a:ln>
                  <a:noFill/>
                </a:ln>
                <a:solidFill>
                  <a:srgbClr val="2A2A2A"/>
                </a:solidFill>
                <a:effectLst/>
                <a:uLnTx/>
                <a:uFillTx/>
                <a:latin typeface="Calibri"/>
                <a:ea typeface="+mn-ea"/>
                <a:cs typeface="Calibri"/>
              </a:rPr>
              <a:t>packages</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featuring</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ccommodation,</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roundtrip</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irfare</a:t>
            </a:r>
            <a:r>
              <a:rPr kumimoji="0" sz="927" b="0" i="0" u="none" strike="noStrike" kern="0" cap="none" spc="-18"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n</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board</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ir</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Canada,</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114305"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rgbClr val="2A2A2A"/>
                </a:solidFill>
                <a:effectLst/>
                <a:uLnTx/>
                <a:uFillTx/>
                <a:latin typeface="Calibri"/>
                <a:ea typeface="+mn-ea"/>
                <a:cs typeface="Calibri"/>
              </a:rPr>
              <a:t>Air</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nada</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Rouge,</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nd</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its</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tar</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lliance</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partners,</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eroplan</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flight</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rewards,</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s</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well</a:t>
            </a:r>
            <a:r>
              <a:rPr kumimoji="0" sz="927" b="0" i="0" u="none" strike="noStrike" kern="0" cap="none" spc="13" normalizeH="0" baseline="0" noProof="0">
                <a:ln>
                  <a:noFill/>
                </a:ln>
                <a:solidFill>
                  <a:srgbClr val="2A2A2A"/>
                </a:solidFill>
                <a:effectLst/>
                <a:uLnTx/>
                <a:uFillTx/>
                <a:latin typeface="Calibri"/>
                <a:ea typeface="+mn-ea"/>
                <a:cs typeface="Calibri"/>
              </a:rPr>
              <a:t> </a:t>
            </a:r>
            <a:r>
              <a:rPr kumimoji="0" sz="927" b="0" i="0" u="none" strike="noStrike" kern="0" cap="none" spc="-22" normalizeH="0" baseline="0" noProof="0">
                <a:ln>
                  <a:noFill/>
                </a:ln>
                <a:solidFill>
                  <a:srgbClr val="2A2A2A"/>
                </a:solidFill>
                <a:effectLst/>
                <a:uLnTx/>
                <a:uFillTx/>
                <a:latin typeface="Calibri"/>
                <a:ea typeface="+mn-ea"/>
                <a:cs typeface="Calibri"/>
              </a:rPr>
              <a:t>as </a:t>
            </a:r>
            <a:r>
              <a:rPr kumimoji="0" sz="927" b="0" i="0" u="none" strike="noStrike" kern="0" cap="none" spc="0" normalizeH="0" baseline="0" noProof="0">
                <a:ln>
                  <a:noFill/>
                </a:ln>
                <a:solidFill>
                  <a:srgbClr val="2A2A2A"/>
                </a:solidFill>
                <a:effectLst/>
                <a:uLnTx/>
                <a:uFillTx/>
                <a:latin typeface="Calibri"/>
                <a:ea typeface="+mn-ea"/>
                <a:cs typeface="Calibri"/>
              </a:rPr>
              <a:t>a</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wide assortment of cruises, tour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nd excursions. A </a:t>
            </a:r>
            <a:r>
              <a:rPr kumimoji="0" sz="927" b="0" i="0" u="none" strike="noStrike" kern="0" cap="none" spc="-9" normalizeH="0" baseline="0" noProof="0">
                <a:ln>
                  <a:noFill/>
                </a:ln>
                <a:solidFill>
                  <a:srgbClr val="2A2A2A"/>
                </a:solidFill>
                <a:effectLst/>
                <a:uLnTx/>
                <a:uFillTx/>
                <a:latin typeface="Calibri"/>
                <a:ea typeface="+mn-ea"/>
                <a:cs typeface="Calibri"/>
              </a:rPr>
              <a:t>repeat</a:t>
            </a:r>
            <a:r>
              <a:rPr kumimoji="0" sz="927" b="0" i="0" u="none" strike="noStrike" kern="0" cap="none" spc="0"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recipient</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f the </a:t>
            </a:r>
            <a:r>
              <a:rPr kumimoji="0" sz="927" b="0" i="1" u="none" strike="noStrike" kern="0" cap="none" spc="-9" normalizeH="0" baseline="0" noProof="0">
                <a:ln>
                  <a:noFill/>
                </a:ln>
                <a:solidFill>
                  <a:srgbClr val="2A2A2A"/>
                </a:solidFill>
                <a:effectLst/>
                <a:uLnTx/>
                <a:uFillTx/>
                <a:latin typeface="Calibri"/>
                <a:ea typeface="+mn-ea"/>
                <a:cs typeface="Calibri"/>
              </a:rPr>
              <a:t>Travel </a:t>
            </a:r>
            <a:r>
              <a:rPr kumimoji="0" sz="927" b="0" i="1" u="none" strike="noStrike" kern="0" cap="none" spc="-31" normalizeH="0" baseline="0" noProof="0">
                <a:ln>
                  <a:noFill/>
                </a:ln>
                <a:solidFill>
                  <a:srgbClr val="2A2A2A"/>
                </a:solidFill>
                <a:effectLst/>
                <a:uLnTx/>
                <a:uFillTx/>
                <a:latin typeface="Calibri"/>
                <a:ea typeface="+mn-ea"/>
                <a:cs typeface="Calibri"/>
              </a:rPr>
              <a:t>Media</a:t>
            </a:r>
            <a:r>
              <a:rPr kumimoji="0" sz="927" b="0" i="1" u="none" strike="noStrike" kern="0" cap="none" spc="-35" normalizeH="0" baseline="0" noProof="0">
                <a:ln>
                  <a:noFill/>
                </a:ln>
                <a:solidFill>
                  <a:srgbClr val="2A2A2A"/>
                </a:solidFill>
                <a:effectLst/>
                <a:uLnTx/>
                <a:uFillTx/>
                <a:latin typeface="Calibri"/>
                <a:ea typeface="+mn-ea"/>
                <a:cs typeface="Calibri"/>
              </a:rPr>
              <a:t> </a:t>
            </a:r>
            <a:r>
              <a:rPr kumimoji="0" sz="927" b="0" i="1" u="none" strike="noStrike" kern="0" cap="none" spc="-9" normalizeH="0" baseline="0" noProof="0">
                <a:ln>
                  <a:noFill/>
                </a:ln>
                <a:solidFill>
                  <a:srgbClr val="2A2A2A"/>
                </a:solidFill>
                <a:effectLst/>
                <a:uLnTx/>
                <a:uFillTx/>
                <a:latin typeface="Calibri"/>
                <a:ea typeface="+mn-ea"/>
                <a:cs typeface="Calibri"/>
              </a:rPr>
              <a:t>Agents’ </a:t>
            </a:r>
            <a:r>
              <a:rPr kumimoji="0" sz="927" b="0" i="0" u="none" strike="noStrike" kern="0" cap="none" spc="0" normalizeH="0" baseline="0" noProof="0">
                <a:ln>
                  <a:noFill/>
                </a:ln>
                <a:solidFill>
                  <a:srgbClr val="2A2A2A"/>
                </a:solidFill>
                <a:effectLst/>
                <a:uLnTx/>
                <a:uFillTx/>
                <a:latin typeface="Calibri"/>
                <a:ea typeface="+mn-ea"/>
                <a:cs typeface="Calibri"/>
              </a:rPr>
              <a:t>“Choice Award for </a:t>
            </a:r>
            <a:r>
              <a:rPr kumimoji="0" sz="927" b="0" i="0" u="none" strike="noStrike" kern="0" cap="none" spc="-9" normalizeH="0" baseline="0" noProof="0">
                <a:ln>
                  <a:noFill/>
                </a:ln>
                <a:solidFill>
                  <a:srgbClr val="2A2A2A"/>
                </a:solidFill>
                <a:effectLst/>
                <a:uLnTx/>
                <a:uFillTx/>
                <a:latin typeface="Calibri"/>
                <a:ea typeface="+mn-ea"/>
                <a:cs typeface="Calibri"/>
              </a:rPr>
              <a:t>Favourite</a:t>
            </a:r>
            <a:r>
              <a:rPr kumimoji="0" sz="927" b="0" i="0" u="none" strike="noStrike" kern="0" cap="none" spc="0"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Tour</a:t>
            </a:r>
            <a:r>
              <a:rPr kumimoji="0" sz="927" b="0" i="0" u="none" strike="noStrike" kern="0" cap="none" spc="0"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Operator,”</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ir Canada </a:t>
            </a:r>
            <a:r>
              <a:rPr kumimoji="0" sz="927" b="0" i="0" u="none" strike="noStrike" kern="0" cap="none" spc="-9" normalizeH="0" baseline="0" noProof="0">
                <a:ln>
                  <a:noFill/>
                </a:ln>
                <a:solidFill>
                  <a:srgbClr val="2A2A2A"/>
                </a:solidFill>
                <a:effectLst/>
                <a:uLnTx/>
                <a:uFillTx/>
                <a:latin typeface="Calibri"/>
                <a:ea typeface="+mn-ea"/>
                <a:cs typeface="Calibri"/>
              </a:rPr>
              <a:t>Vacation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4483"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rgbClr val="2A2A2A"/>
                </a:solidFill>
                <a:effectLst/>
                <a:uLnTx/>
                <a:uFillTx/>
                <a:latin typeface="Calibri"/>
                <a:ea typeface="+mn-ea"/>
                <a:cs typeface="Calibri"/>
              </a:rPr>
              <a:t>offer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hundreds</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f</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destination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in</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he</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ribbean,</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Mexico,</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entral</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nd</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outh</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America, </a:t>
            </a:r>
            <a:r>
              <a:rPr kumimoji="0" sz="927" b="0" i="0" u="none" strike="noStrike" kern="0" cap="none" spc="0" normalizeH="0" baseline="0" noProof="0">
                <a:ln>
                  <a:noFill/>
                </a:ln>
                <a:solidFill>
                  <a:srgbClr val="2A2A2A"/>
                </a:solidFill>
                <a:effectLst/>
                <a:uLnTx/>
                <a:uFillTx/>
                <a:latin typeface="Calibri"/>
                <a:ea typeface="+mn-ea"/>
                <a:cs typeface="Calibri"/>
              </a:rPr>
              <a:t>Asia,</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18" normalizeH="0" baseline="0" noProof="0">
                <a:ln>
                  <a:noFill/>
                </a:ln>
                <a:solidFill>
                  <a:srgbClr val="2A2A2A"/>
                </a:solidFill>
                <a:effectLst/>
                <a:uLnTx/>
                <a:uFillTx/>
                <a:latin typeface="Calibri"/>
                <a:ea typeface="+mn-ea"/>
                <a:cs typeface="Calibri"/>
              </a:rPr>
              <a:t>Europe,</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nd</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he</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18" normalizeH="0" baseline="0" noProof="0">
                <a:ln>
                  <a:noFill/>
                </a:ln>
                <a:solidFill>
                  <a:srgbClr val="2A2A2A"/>
                </a:solidFill>
                <a:effectLst/>
                <a:uLnTx/>
                <a:uFillTx/>
                <a:latin typeface="Calibri"/>
                <a:ea typeface="+mn-ea"/>
                <a:cs typeface="Calibri"/>
              </a:rPr>
              <a:t>U.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ts val="1032"/>
              </a:lnSpc>
              <a:spcBef>
                <a:spcPts val="0"/>
              </a:spcBef>
              <a:spcAft>
                <a:spcPts val="0"/>
              </a:spcAft>
              <a:buClrTx/>
              <a:buSzTx/>
              <a:buFontTx/>
              <a:buNone/>
              <a:tabLst>
                <a:tab pos="1347019" algn="l"/>
              </a:tabLst>
              <a:defRPr/>
            </a:pPr>
            <a:r>
              <a:rPr kumimoji="0" sz="927" b="0" i="0" u="none" strike="noStrike" kern="0" cap="none" spc="-9" normalizeH="0" baseline="0" noProof="0">
                <a:ln>
                  <a:noFill/>
                </a:ln>
                <a:solidFill>
                  <a:srgbClr val="2A2A2A"/>
                </a:solidFill>
                <a:effectLst/>
                <a:uLnTx/>
                <a:uFillTx/>
                <a:latin typeface="Calibri"/>
                <a:ea typeface="+mn-ea"/>
                <a:cs typeface="Calibri"/>
              </a:rPr>
              <a:t>(</a:t>
            </a:r>
            <a:r>
              <a:rPr kumimoji="0" sz="927" b="0" i="0" u="none" strike="noStrike" kern="0" cap="none" spc="-9" normalizeH="0" baseline="0" noProof="0">
                <a:ln>
                  <a:noFill/>
                </a:ln>
                <a:solidFill>
                  <a:srgbClr val="E2201F"/>
                </a:solidFill>
                <a:effectLst/>
                <a:uLnTx/>
                <a:uFillTx/>
                <a:latin typeface="Calibri"/>
                <a:ea typeface="+mn-ea"/>
                <a:cs typeface="Calibri"/>
                <a:hlinkClick r:id="rId4"/>
              </a:rPr>
              <a:t>aircanadavacations.com</a:t>
            </a:r>
            <a:r>
              <a:rPr kumimoji="0" sz="927" b="0" i="0" u="none" strike="noStrike" kern="0" cap="none" spc="0" normalizeH="0" baseline="0" noProof="0">
                <a:ln>
                  <a:noFill/>
                </a:ln>
                <a:solidFill>
                  <a:srgbClr val="E2201F"/>
                </a:solidFill>
                <a:effectLst/>
                <a:uLnTx/>
                <a:uFillTx/>
                <a:latin typeface="Calibri"/>
                <a:ea typeface="+mn-ea"/>
                <a:cs typeface="Calibri"/>
              </a:rPr>
              <a:t>	</a:t>
            </a:r>
            <a:r>
              <a:rPr kumimoji="0" sz="927" b="0" i="0" u="none" strike="noStrike" kern="0" cap="none" spc="-44" normalizeH="0" baseline="0" noProof="0">
                <a:ln>
                  <a:noFill/>
                </a:ln>
                <a:solidFill>
                  <a:srgbClr val="2A2A2A"/>
                </a:solidFill>
                <a:effectLst/>
                <a:uLnTx/>
                <a:uFillTx/>
                <a:latin typeface="Calibri"/>
                <a:ea typeface="+mn-ea"/>
                <a:cs typeface="Calibri"/>
              </a:rPr>
              <a: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220206" lvl="0" indent="0" algn="l" defTabSz="806867" rtl="0" eaLnBrk="1" fontAlgn="auto" latinLnBrk="0" hangingPunct="1">
              <a:lnSpc>
                <a:spcPts val="1059"/>
              </a:lnSpc>
              <a:spcBef>
                <a:spcPts val="556"/>
              </a:spcBef>
              <a:spcAft>
                <a:spcPts val="0"/>
              </a:spcAft>
              <a:buClrTx/>
              <a:buSzTx/>
              <a:buFontTx/>
              <a:buNone/>
              <a:tabLst/>
              <a:defRPr/>
            </a:pPr>
            <a:r>
              <a:rPr kumimoji="0" sz="927" b="1" i="0" u="none" strike="noStrike" kern="0" cap="none" spc="0" normalizeH="0" baseline="0" noProof="0">
                <a:ln>
                  <a:noFill/>
                </a:ln>
                <a:solidFill>
                  <a:srgbClr val="2A2A2A"/>
                </a:solidFill>
                <a:effectLst/>
                <a:uLnTx/>
                <a:uFillTx/>
                <a:latin typeface="Calibri"/>
                <a:ea typeface="+mn-ea"/>
                <a:cs typeface="Calibri"/>
              </a:rPr>
              <a:t>Jetz</a:t>
            </a:r>
            <a:r>
              <a:rPr kumimoji="0" sz="927" b="1"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i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ir</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anada’s</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premium</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harter</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viation</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ervice</a:t>
            </a:r>
            <a:r>
              <a:rPr kumimoji="0" sz="927" b="0" i="0" u="none" strike="noStrike" kern="0" cap="none" spc="9"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provider</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delivering</a:t>
            </a:r>
            <a:r>
              <a:rPr kumimoji="0" sz="927" b="0" i="0" u="none" strike="noStrike" kern="0" cap="none" spc="4"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superior </a:t>
            </a:r>
            <a:r>
              <a:rPr kumimoji="0" sz="927" b="0" i="0" u="none" strike="noStrike" kern="0" cap="none" spc="0" normalizeH="0" baseline="0" noProof="0">
                <a:ln>
                  <a:noFill/>
                </a:ln>
                <a:solidFill>
                  <a:srgbClr val="2A2A2A"/>
                </a:solidFill>
                <a:effectLst/>
                <a:uLnTx/>
                <a:uFillTx/>
                <a:latin typeface="Calibri"/>
                <a:ea typeface="+mn-ea"/>
                <a:cs typeface="Calibri"/>
              </a:rPr>
              <a:t>Business</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lass</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ervice</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o</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atisfy</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he</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travel</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needs</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of</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professional</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sports</a:t>
            </a:r>
            <a:r>
              <a:rPr kumimoji="0" sz="927" b="0" i="0" u="none" strike="noStrike" kern="0" cap="none" spc="22"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teams, </a:t>
            </a:r>
            <a:r>
              <a:rPr kumimoji="0" sz="927" b="0" i="0" u="none" strike="noStrike" kern="0" cap="none" spc="0" normalizeH="0" baseline="0" noProof="0">
                <a:ln>
                  <a:noFill/>
                </a:ln>
                <a:solidFill>
                  <a:srgbClr val="2A2A2A"/>
                </a:solidFill>
                <a:effectLst/>
                <a:uLnTx/>
                <a:uFillTx/>
                <a:latin typeface="Calibri"/>
                <a:ea typeface="+mn-ea"/>
                <a:cs typeface="Calibri"/>
              </a:rPr>
              <a:t>entertainment</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groups</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and</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0" normalizeH="0" baseline="0" noProof="0">
                <a:ln>
                  <a:noFill/>
                </a:ln>
                <a:solidFill>
                  <a:srgbClr val="2A2A2A"/>
                </a:solidFill>
                <a:effectLst/>
                <a:uLnTx/>
                <a:uFillTx/>
                <a:latin typeface="Calibri"/>
                <a:ea typeface="+mn-ea"/>
                <a:cs typeface="Calibri"/>
              </a:rPr>
              <a:t>corporate</a:t>
            </a:r>
            <a:r>
              <a:rPr kumimoji="0" sz="927" b="0" i="0" u="none" strike="noStrike" kern="0" cap="none" spc="-26" normalizeH="0" baseline="0" noProof="0">
                <a:ln>
                  <a:noFill/>
                </a:ln>
                <a:solidFill>
                  <a:srgbClr val="2A2A2A"/>
                </a:solidFill>
                <a:effectLst/>
                <a:uLnTx/>
                <a:uFillTx/>
                <a:latin typeface="Calibri"/>
                <a:ea typeface="+mn-ea"/>
                <a:cs typeface="Calibri"/>
              </a:rPr>
              <a:t> </a:t>
            </a:r>
            <a:r>
              <a:rPr kumimoji="0" sz="927" b="0" i="0" u="none" strike="noStrike" kern="0" cap="none" spc="-9" normalizeH="0" baseline="0" noProof="0">
                <a:ln>
                  <a:noFill/>
                </a:ln>
                <a:solidFill>
                  <a:srgbClr val="2A2A2A"/>
                </a:solidFill>
                <a:effectLst/>
                <a:uLnTx/>
                <a:uFillTx/>
                <a:latin typeface="Calibri"/>
                <a:ea typeface="+mn-ea"/>
                <a:cs typeface="Calibri"/>
              </a:rPr>
              <a:t>client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ts val="1032"/>
              </a:lnSpc>
              <a:spcBef>
                <a:spcPts val="0"/>
              </a:spcBef>
              <a:spcAft>
                <a:spcPts val="0"/>
              </a:spcAft>
              <a:buClrTx/>
              <a:buSzTx/>
              <a:buFontTx/>
              <a:buNone/>
              <a:tabLst>
                <a:tab pos="1111122" algn="l"/>
              </a:tabLst>
              <a:defRPr/>
            </a:pPr>
            <a:r>
              <a:rPr kumimoji="0" sz="927" b="0" i="0" u="none" strike="noStrike" kern="0" cap="none" spc="-9" normalizeH="0" baseline="0" noProof="0">
                <a:ln>
                  <a:noFill/>
                </a:ln>
                <a:solidFill>
                  <a:srgbClr val="2A2A2A"/>
                </a:solidFill>
                <a:effectLst/>
                <a:uLnTx/>
                <a:uFillTx/>
                <a:latin typeface="Calibri"/>
                <a:ea typeface="+mn-ea"/>
                <a:cs typeface="Calibri"/>
              </a:rPr>
              <a:t>(</a:t>
            </a:r>
            <a:r>
              <a:rPr kumimoji="0" sz="927" b="0" i="0" u="none" strike="noStrike" kern="0" cap="none" spc="-9" normalizeH="0" baseline="0" noProof="0">
                <a:ln>
                  <a:noFill/>
                </a:ln>
                <a:solidFill>
                  <a:srgbClr val="E2201F"/>
                </a:solidFill>
                <a:effectLst/>
                <a:uLnTx/>
                <a:uFillTx/>
                <a:latin typeface="Calibri"/>
                <a:ea typeface="+mn-ea"/>
                <a:cs typeface="Calibri"/>
                <a:hlinkClick r:id="rId5"/>
              </a:rPr>
              <a:t>aircanada.com/jetz</a:t>
            </a:r>
            <a:r>
              <a:rPr kumimoji="0" sz="927" b="0" i="0" u="none" strike="noStrike" kern="0" cap="none" spc="0" normalizeH="0" baseline="0" noProof="0">
                <a:ln>
                  <a:noFill/>
                </a:ln>
                <a:solidFill>
                  <a:srgbClr val="E2201F"/>
                </a:solidFill>
                <a:effectLst/>
                <a:uLnTx/>
                <a:uFillTx/>
                <a:latin typeface="Calibri"/>
                <a:ea typeface="+mn-ea"/>
                <a:cs typeface="Calibri"/>
              </a:rPr>
              <a:t>	</a:t>
            </a:r>
            <a:r>
              <a:rPr kumimoji="0" sz="927" b="0" i="0" u="none" strike="noStrike" kern="0" cap="none" spc="-44" normalizeH="0" baseline="0" noProof="0">
                <a:ln>
                  <a:noFill/>
                </a:ln>
                <a:solidFill>
                  <a:srgbClr val="2A2A2A"/>
                </a:solidFill>
                <a:effectLst/>
                <a:uLnTx/>
                <a:uFillTx/>
                <a:latin typeface="Calibri"/>
                <a:ea typeface="+mn-ea"/>
                <a:cs typeface="Calibri"/>
              </a:rPr>
              <a: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8" name="object 8"/>
          <p:cNvSpPr/>
          <p:nvPr/>
        </p:nvSpPr>
        <p:spPr>
          <a:xfrm>
            <a:off x="8079441" y="0"/>
            <a:ext cx="2050676" cy="6858000"/>
          </a:xfrm>
          <a:custGeom>
            <a:avLst/>
            <a:gdLst/>
            <a:ahLst/>
            <a:cxnLst/>
            <a:rect l="l" t="t" r="r" b="b"/>
            <a:pathLst>
              <a:path w="2324100" h="7772400">
                <a:moveTo>
                  <a:pt x="2324100" y="0"/>
                </a:moveTo>
                <a:lnTo>
                  <a:pt x="0" y="0"/>
                </a:lnTo>
                <a:lnTo>
                  <a:pt x="0" y="7772400"/>
                </a:lnTo>
                <a:lnTo>
                  <a:pt x="2324100" y="7772400"/>
                </a:lnTo>
                <a:lnTo>
                  <a:pt x="2324100" y="0"/>
                </a:lnTo>
                <a:close/>
              </a:path>
            </a:pathLst>
          </a:custGeom>
          <a:solidFill>
            <a:srgbClr val="FFFF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9" name="object 9"/>
          <p:cNvPicPr/>
          <p:nvPr/>
        </p:nvPicPr>
        <p:blipFill>
          <a:blip r:embed="rId6" cstate="print"/>
          <a:stretch>
            <a:fillRect/>
          </a:stretch>
        </p:blipFill>
        <p:spPr>
          <a:xfrm>
            <a:off x="2061883" y="493059"/>
            <a:ext cx="5711055" cy="2409342"/>
          </a:xfrm>
          <a:prstGeom prst="rect">
            <a:avLst/>
          </a:prstGeom>
        </p:spPr>
      </p:pic>
      <p:pic>
        <p:nvPicPr>
          <p:cNvPr id="10" name="object 10"/>
          <p:cNvPicPr/>
          <p:nvPr/>
        </p:nvPicPr>
        <p:blipFill>
          <a:blip r:embed="rId7" cstate="print"/>
          <a:stretch>
            <a:fillRect/>
          </a:stretch>
        </p:blipFill>
        <p:spPr>
          <a:xfrm>
            <a:off x="2068289" y="157333"/>
            <a:ext cx="127478" cy="125068"/>
          </a:xfrm>
          <a:prstGeom prst="rect">
            <a:avLst/>
          </a:prstGeom>
        </p:spPr>
      </p:pic>
      <p:grpSp>
        <p:nvGrpSpPr>
          <p:cNvPr id="11" name="object 11"/>
          <p:cNvGrpSpPr/>
          <p:nvPr/>
        </p:nvGrpSpPr>
        <p:grpSpPr>
          <a:xfrm>
            <a:off x="2249274" y="185592"/>
            <a:ext cx="210110" cy="64994"/>
            <a:chOff x="669577" y="210337"/>
            <a:chExt cx="238125" cy="73660"/>
          </a:xfrm>
        </p:grpSpPr>
        <p:pic>
          <p:nvPicPr>
            <p:cNvPr id="12" name="object 12"/>
            <p:cNvPicPr/>
            <p:nvPr/>
          </p:nvPicPr>
          <p:blipFill>
            <a:blip r:embed="rId8" cstate="print"/>
            <a:stretch>
              <a:fillRect/>
            </a:stretch>
          </p:blipFill>
          <p:spPr>
            <a:xfrm>
              <a:off x="830875" y="210381"/>
              <a:ext cx="76250" cy="73393"/>
            </a:xfrm>
            <a:prstGeom prst="rect">
              <a:avLst/>
            </a:prstGeom>
          </p:spPr>
        </p:pic>
        <p:pic>
          <p:nvPicPr>
            <p:cNvPr id="13" name="object 13"/>
            <p:cNvPicPr/>
            <p:nvPr/>
          </p:nvPicPr>
          <p:blipFill>
            <a:blip r:embed="rId9" cstate="print"/>
            <a:stretch>
              <a:fillRect/>
            </a:stretch>
          </p:blipFill>
          <p:spPr>
            <a:xfrm>
              <a:off x="669577" y="210375"/>
              <a:ext cx="83515" cy="73444"/>
            </a:xfrm>
            <a:prstGeom prst="rect">
              <a:avLst/>
            </a:prstGeom>
          </p:spPr>
        </p:pic>
        <p:sp>
          <p:nvSpPr>
            <p:cNvPr id="14" name="object 14"/>
            <p:cNvSpPr/>
            <p:nvPr/>
          </p:nvSpPr>
          <p:spPr>
            <a:xfrm>
              <a:off x="775957" y="210337"/>
              <a:ext cx="17780" cy="73660"/>
            </a:xfrm>
            <a:custGeom>
              <a:avLst/>
              <a:gdLst/>
              <a:ahLst/>
              <a:cxnLst/>
              <a:rect l="l" t="t" r="r" b="b"/>
              <a:pathLst>
                <a:path w="17779" h="73660">
                  <a:moveTo>
                    <a:pt x="17233" y="0"/>
                  </a:moveTo>
                  <a:lnTo>
                    <a:pt x="0" y="0"/>
                  </a:lnTo>
                  <a:lnTo>
                    <a:pt x="0" y="73444"/>
                  </a:lnTo>
                  <a:lnTo>
                    <a:pt x="17233" y="73444"/>
                  </a:lnTo>
                  <a:lnTo>
                    <a:pt x="17233"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15" name="object 15"/>
          <p:cNvGrpSpPr/>
          <p:nvPr/>
        </p:nvGrpSpPr>
        <p:grpSpPr>
          <a:xfrm>
            <a:off x="2500109" y="183698"/>
            <a:ext cx="524996" cy="68916"/>
            <a:chOff x="953857" y="208191"/>
            <a:chExt cx="594995" cy="78105"/>
          </a:xfrm>
        </p:grpSpPr>
        <p:pic>
          <p:nvPicPr>
            <p:cNvPr id="16" name="object 16"/>
            <p:cNvPicPr/>
            <p:nvPr/>
          </p:nvPicPr>
          <p:blipFill>
            <a:blip r:embed="rId10" cstate="print"/>
            <a:stretch>
              <a:fillRect/>
            </a:stretch>
          </p:blipFill>
          <p:spPr>
            <a:xfrm>
              <a:off x="953857" y="208191"/>
              <a:ext cx="76517" cy="77927"/>
            </a:xfrm>
            <a:prstGeom prst="rect">
              <a:avLst/>
            </a:prstGeom>
          </p:spPr>
        </p:pic>
        <p:pic>
          <p:nvPicPr>
            <p:cNvPr id="17" name="object 17"/>
            <p:cNvPicPr/>
            <p:nvPr/>
          </p:nvPicPr>
          <p:blipFill>
            <a:blip r:embed="rId11" cstate="print"/>
            <a:stretch>
              <a:fillRect/>
            </a:stretch>
          </p:blipFill>
          <p:spPr>
            <a:xfrm>
              <a:off x="1051401" y="210375"/>
              <a:ext cx="83502" cy="73444"/>
            </a:xfrm>
            <a:prstGeom prst="rect">
              <a:avLst/>
            </a:prstGeom>
          </p:spPr>
        </p:pic>
        <p:pic>
          <p:nvPicPr>
            <p:cNvPr id="18" name="object 18"/>
            <p:cNvPicPr/>
            <p:nvPr/>
          </p:nvPicPr>
          <p:blipFill>
            <a:blip r:embed="rId12" cstate="print"/>
            <a:stretch>
              <a:fillRect/>
            </a:stretch>
          </p:blipFill>
          <p:spPr>
            <a:xfrm>
              <a:off x="1263714" y="210375"/>
              <a:ext cx="83515" cy="73444"/>
            </a:xfrm>
            <a:prstGeom prst="rect">
              <a:avLst/>
            </a:prstGeom>
          </p:spPr>
        </p:pic>
        <p:pic>
          <p:nvPicPr>
            <p:cNvPr id="19" name="object 19"/>
            <p:cNvPicPr/>
            <p:nvPr/>
          </p:nvPicPr>
          <p:blipFill>
            <a:blip r:embed="rId13" cstate="print"/>
            <a:stretch>
              <a:fillRect/>
            </a:stretch>
          </p:blipFill>
          <p:spPr>
            <a:xfrm>
              <a:off x="1159389" y="210385"/>
              <a:ext cx="79794" cy="73431"/>
            </a:xfrm>
            <a:prstGeom prst="rect">
              <a:avLst/>
            </a:prstGeom>
          </p:spPr>
        </p:pic>
        <p:sp>
          <p:nvSpPr>
            <p:cNvPr id="20" name="object 20"/>
            <p:cNvSpPr/>
            <p:nvPr/>
          </p:nvSpPr>
          <p:spPr>
            <a:xfrm>
              <a:off x="1371422" y="210387"/>
              <a:ext cx="177800" cy="73660"/>
            </a:xfrm>
            <a:custGeom>
              <a:avLst/>
              <a:gdLst/>
              <a:ahLst/>
              <a:cxnLst/>
              <a:rect l="l" t="t" r="r" b="b"/>
              <a:pathLst>
                <a:path w="177800" h="73660">
                  <a:moveTo>
                    <a:pt x="74993" y="35293"/>
                  </a:moveTo>
                  <a:lnTo>
                    <a:pt x="74371" y="27292"/>
                  </a:lnTo>
                  <a:lnTo>
                    <a:pt x="72478" y="20256"/>
                  </a:lnTo>
                  <a:lnTo>
                    <a:pt x="69303" y="14224"/>
                  </a:lnTo>
                  <a:lnTo>
                    <a:pt x="65582" y="10007"/>
                  </a:lnTo>
                  <a:lnTo>
                    <a:pt x="64846" y="9169"/>
                  </a:lnTo>
                  <a:lnTo>
                    <a:pt x="59207" y="5194"/>
                  </a:lnTo>
                  <a:lnTo>
                    <a:pt x="56730" y="4152"/>
                  </a:lnTo>
                  <a:lnTo>
                    <a:pt x="56730" y="29095"/>
                  </a:lnTo>
                  <a:lnTo>
                    <a:pt x="56680" y="45161"/>
                  </a:lnTo>
                  <a:lnTo>
                    <a:pt x="54483" y="51904"/>
                  </a:lnTo>
                  <a:lnTo>
                    <a:pt x="49999" y="56349"/>
                  </a:lnTo>
                  <a:lnTo>
                    <a:pt x="45580" y="60782"/>
                  </a:lnTo>
                  <a:lnTo>
                    <a:pt x="38874" y="62979"/>
                  </a:lnTo>
                  <a:lnTo>
                    <a:pt x="17183" y="62941"/>
                  </a:lnTo>
                  <a:lnTo>
                    <a:pt x="17183" y="10007"/>
                  </a:lnTo>
                  <a:lnTo>
                    <a:pt x="54978" y="23241"/>
                  </a:lnTo>
                  <a:lnTo>
                    <a:pt x="56730" y="29095"/>
                  </a:lnTo>
                  <a:lnTo>
                    <a:pt x="56730" y="4152"/>
                  </a:lnTo>
                  <a:lnTo>
                    <a:pt x="52451" y="2324"/>
                  </a:lnTo>
                  <a:lnTo>
                    <a:pt x="44564" y="584"/>
                  </a:lnTo>
                  <a:lnTo>
                    <a:pt x="35547" y="0"/>
                  </a:lnTo>
                  <a:lnTo>
                    <a:pt x="0" y="0"/>
                  </a:lnTo>
                  <a:lnTo>
                    <a:pt x="0" y="73393"/>
                  </a:lnTo>
                  <a:lnTo>
                    <a:pt x="33858" y="73393"/>
                  </a:lnTo>
                  <a:lnTo>
                    <a:pt x="68834" y="57975"/>
                  </a:lnTo>
                  <a:lnTo>
                    <a:pt x="74282" y="43878"/>
                  </a:lnTo>
                  <a:lnTo>
                    <a:pt x="74993" y="35293"/>
                  </a:lnTo>
                  <a:close/>
                </a:path>
                <a:path w="177800" h="73660">
                  <a:moveTo>
                    <a:pt x="177304" y="73444"/>
                  </a:moveTo>
                  <a:lnTo>
                    <a:pt x="168783" y="53746"/>
                  </a:lnTo>
                  <a:lnTo>
                    <a:pt x="164579" y="44043"/>
                  </a:lnTo>
                  <a:lnTo>
                    <a:pt x="151930" y="14820"/>
                  </a:lnTo>
                  <a:lnTo>
                    <a:pt x="145529" y="0"/>
                  </a:lnTo>
                  <a:lnTo>
                    <a:pt x="144614" y="0"/>
                  </a:lnTo>
                  <a:lnTo>
                    <a:pt x="144614" y="44043"/>
                  </a:lnTo>
                  <a:lnTo>
                    <a:pt x="119176" y="44043"/>
                  </a:lnTo>
                  <a:lnTo>
                    <a:pt x="131953" y="14820"/>
                  </a:lnTo>
                  <a:lnTo>
                    <a:pt x="144614" y="44043"/>
                  </a:lnTo>
                  <a:lnTo>
                    <a:pt x="144614" y="0"/>
                  </a:lnTo>
                  <a:lnTo>
                    <a:pt x="125984" y="0"/>
                  </a:lnTo>
                  <a:lnTo>
                    <a:pt x="93789" y="73444"/>
                  </a:lnTo>
                  <a:lnTo>
                    <a:pt x="106273" y="73444"/>
                  </a:lnTo>
                  <a:lnTo>
                    <a:pt x="114935" y="53746"/>
                  </a:lnTo>
                  <a:lnTo>
                    <a:pt x="148831" y="53746"/>
                  </a:lnTo>
                  <a:lnTo>
                    <a:pt x="157353" y="73444"/>
                  </a:lnTo>
                  <a:lnTo>
                    <a:pt x="177304" y="73444"/>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1" name="object 21"/>
          <p:cNvSpPr txBox="1"/>
          <p:nvPr/>
        </p:nvSpPr>
        <p:spPr>
          <a:xfrm>
            <a:off x="8269941" y="153081"/>
            <a:ext cx="1669676" cy="5822906"/>
          </a:xfrm>
          <a:prstGeom prst="rect">
            <a:avLst/>
          </a:prstGeom>
        </p:spPr>
        <p:txBody>
          <a:bodyPr vert="horz" wrap="square" lIns="0" tIns="11206" rIns="0" bIns="0" rtlCol="0">
            <a:spAutoFit/>
          </a:bodyPr>
          <a:lstStyle/>
          <a:p>
            <a:pPr marL="345160" marR="0" lvl="0" indent="0" algn="l" defTabSz="806867" rtl="0" eaLnBrk="1" fontAlgn="auto" latinLnBrk="0" hangingPunct="1">
              <a:lnSpc>
                <a:spcPct val="100000"/>
              </a:lnSpc>
              <a:spcBef>
                <a:spcPts val="88"/>
              </a:spcBef>
              <a:spcAft>
                <a:spcPts val="0"/>
              </a:spcAft>
              <a:buClrTx/>
              <a:buSzTx/>
              <a:buFontTx/>
              <a:buNone/>
              <a:tabLst>
                <a:tab pos="1494944" algn="l"/>
              </a:tabLst>
              <a:defRPr/>
            </a:pPr>
            <a:r>
              <a:rPr kumimoji="0" sz="706" b="1" i="0" u="none" strike="noStrike" kern="0" cap="none" spc="0" normalizeH="0" baseline="0" noProof="0">
                <a:ln>
                  <a:noFill/>
                </a:ln>
                <a:solidFill>
                  <a:sysClr val="windowText" lastClr="000000"/>
                </a:solidFill>
                <a:effectLst/>
                <a:uLnTx/>
                <a:uFillTx/>
                <a:latin typeface="Calibri"/>
                <a:ea typeface="+mn-ea"/>
                <a:cs typeface="Calibri"/>
              </a:rPr>
              <a:t>Overview</a:t>
            </a:r>
            <a:r>
              <a:rPr kumimoji="0" sz="706" b="1" i="0" u="none" strike="noStrike" kern="0" cap="none" spc="216" normalizeH="0" baseline="0" noProof="0">
                <a:ln>
                  <a:noFill/>
                </a:ln>
                <a:solidFill>
                  <a:sysClr val="windowText" lastClr="000000"/>
                </a:solidFill>
                <a:effectLst/>
                <a:uLnTx/>
                <a:uFillTx/>
                <a:latin typeface="Calibri"/>
                <a:ea typeface="+mn-ea"/>
                <a:cs typeface="Calibri"/>
              </a:rPr>
              <a:t> </a:t>
            </a:r>
            <a:r>
              <a:rPr kumimoji="0" sz="706" b="0" i="0" u="none" strike="noStrike" kern="0" cap="none" spc="-44" normalizeH="0" baseline="0" noProof="0">
                <a:ln>
                  <a:noFill/>
                </a:ln>
                <a:solidFill>
                  <a:sysClr val="windowText" lastClr="000000"/>
                </a:solidFill>
                <a:effectLst/>
                <a:uLnTx/>
                <a:uFillTx/>
                <a:latin typeface="Calibri"/>
                <a:ea typeface="+mn-ea"/>
                <a:cs typeface="Calibri"/>
              </a:rPr>
              <a:t>|</a:t>
            </a:r>
            <a:r>
              <a:rPr kumimoji="0" sz="706" b="0" i="0" u="none" strike="noStrike" kern="0" cap="none" spc="221" normalizeH="0" baseline="0" noProof="0">
                <a:ln>
                  <a:noFill/>
                </a:ln>
                <a:solidFill>
                  <a:sysClr val="windowText" lastClr="000000"/>
                </a:solidFill>
                <a:effectLst/>
                <a:uLnTx/>
                <a:uFillTx/>
                <a:latin typeface="Calibri"/>
                <a:ea typeface="+mn-ea"/>
                <a:cs typeface="Calibri"/>
              </a:rPr>
              <a:t> </a:t>
            </a:r>
            <a:r>
              <a:rPr kumimoji="0" sz="706" b="0" i="0" u="none" strike="noStrike" kern="0" cap="none" spc="0" normalizeH="0" baseline="0" noProof="0">
                <a:ln>
                  <a:noFill/>
                </a:ln>
                <a:solidFill>
                  <a:sysClr val="windowText" lastClr="000000"/>
                </a:solidFill>
                <a:effectLst/>
                <a:uLnTx/>
                <a:uFillTx/>
                <a:latin typeface="Calibri"/>
                <a:ea typeface="+mn-ea"/>
                <a:cs typeface="Calibri"/>
              </a:rPr>
              <a:t>MARCH</a:t>
            </a:r>
            <a:r>
              <a:rPr kumimoji="0" sz="706" b="0" i="0" u="none" strike="noStrike" kern="0" cap="none" spc="26" normalizeH="0" baseline="0" noProof="0">
                <a:ln>
                  <a:noFill/>
                </a:ln>
                <a:solidFill>
                  <a:sysClr val="windowText" lastClr="000000"/>
                </a:solidFill>
                <a:effectLst/>
                <a:uLnTx/>
                <a:uFillTx/>
                <a:latin typeface="Calibri"/>
                <a:ea typeface="+mn-ea"/>
                <a:cs typeface="Calibri"/>
              </a:rPr>
              <a:t> </a:t>
            </a:r>
            <a:r>
              <a:rPr kumimoji="0" sz="706" b="0" i="0" u="none" strike="noStrike" kern="0" cap="none" spc="-18" normalizeH="0" baseline="0" noProof="0">
                <a:ln>
                  <a:noFill/>
                </a:ln>
                <a:solidFill>
                  <a:sysClr val="windowText" lastClr="000000"/>
                </a:solidFill>
                <a:effectLst/>
                <a:uLnTx/>
                <a:uFillTx/>
                <a:latin typeface="Calibri"/>
                <a:ea typeface="+mn-ea"/>
                <a:cs typeface="Calibri"/>
              </a:rPr>
              <a:t>2022</a:t>
            </a:r>
            <a:r>
              <a:rPr kumimoji="0" sz="706" b="0" i="0" u="none" strike="noStrike" kern="0" cap="none" spc="0" normalizeH="0" baseline="0" noProof="0">
                <a:ln>
                  <a:noFill/>
                </a:ln>
                <a:solidFill>
                  <a:sysClr val="windowText" lastClr="000000"/>
                </a:solidFill>
                <a:effectLst/>
                <a:uLnTx/>
                <a:uFillTx/>
                <a:latin typeface="Calibri"/>
                <a:ea typeface="+mn-ea"/>
                <a:cs typeface="Calibri"/>
              </a:rPr>
              <a:t>	</a:t>
            </a:r>
            <a:r>
              <a:rPr kumimoji="0" sz="706" b="1" i="0" u="none" strike="noStrike" kern="0" cap="none" spc="-22" normalizeH="0" baseline="0" noProof="0">
                <a:ln>
                  <a:noFill/>
                </a:ln>
                <a:solidFill>
                  <a:sysClr val="windowText" lastClr="000000"/>
                </a:solidFill>
                <a:effectLst/>
                <a:uLnTx/>
                <a:uFillTx/>
                <a:latin typeface="Calibri"/>
                <a:ea typeface="+mn-ea"/>
                <a:cs typeface="Calibri"/>
              </a:rPr>
              <a:t>10</a:t>
            </a:r>
            <a:endParaRPr kumimoji="0" sz="706"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806867" rtl="0" eaLnBrk="1" fontAlgn="auto" latinLnBrk="0" hangingPunct="1">
              <a:lnSpc>
                <a:spcPct val="100000"/>
              </a:lnSpc>
              <a:spcBef>
                <a:spcPts val="0"/>
              </a:spcBef>
              <a:spcAft>
                <a:spcPts val="0"/>
              </a:spcAft>
              <a:buClrTx/>
              <a:buSzTx/>
              <a:buFontTx/>
              <a:buNone/>
              <a:tabLst/>
              <a:defRPr/>
            </a:pPr>
            <a:endParaRPr kumimoji="0" sz="1147" b="0" i="0" u="none" strike="noStrike" kern="0" cap="none" spc="0" normalizeH="0" baseline="0" noProof="0">
              <a:ln>
                <a:noFill/>
              </a:ln>
              <a:solidFill>
                <a:sysClr val="windowText" lastClr="000000"/>
              </a:solidFill>
              <a:effectLst/>
              <a:uLnTx/>
              <a:uFillTx/>
              <a:latin typeface="Calibri"/>
              <a:ea typeface="+mn-ea"/>
              <a:cs typeface="Calibri"/>
            </a:endParaRPr>
          </a:p>
          <a:p>
            <a:pPr marL="11206" marR="0" lvl="0" indent="0" algn="l" defTabSz="806867" rtl="0" eaLnBrk="1" fontAlgn="auto" latinLnBrk="0" hangingPunct="1">
              <a:lnSpc>
                <a:spcPct val="100000"/>
              </a:lnSpc>
              <a:spcBef>
                <a:spcPts val="0"/>
              </a:spcBef>
              <a:spcAft>
                <a:spcPts val="0"/>
              </a:spcAft>
              <a:buClrTx/>
              <a:buSzTx/>
              <a:buFontTx/>
              <a:buNone/>
              <a:tabLst/>
              <a:defRPr/>
            </a:pPr>
            <a:r>
              <a:rPr kumimoji="0" sz="1412" b="1" i="0" u="none" strike="noStrike" kern="0" cap="none" spc="-9" normalizeH="0" baseline="0" noProof="0">
                <a:ln>
                  <a:noFill/>
                </a:ln>
                <a:solidFill>
                  <a:srgbClr val="E2201F"/>
                </a:solidFill>
                <a:effectLst/>
                <a:uLnTx/>
                <a:uFillTx/>
                <a:latin typeface="Calibri"/>
                <a:ea typeface="+mn-ea"/>
                <a:cs typeface="Calibri"/>
              </a:rPr>
              <a:t>Awards</a:t>
            </a:r>
            <a:endParaRPr kumimoji="0" sz="1412" b="0" i="0" u="none" strike="noStrike" kern="0" cap="none" spc="0" normalizeH="0" baseline="0" noProof="0">
              <a:ln>
                <a:noFill/>
              </a:ln>
              <a:solidFill>
                <a:sysClr val="windowText" lastClr="000000"/>
              </a:solidFill>
              <a:effectLst/>
              <a:uLnTx/>
              <a:uFillTx/>
              <a:latin typeface="Calibri"/>
              <a:ea typeface="+mn-ea"/>
              <a:cs typeface="Calibri"/>
            </a:endParaRPr>
          </a:p>
          <a:p>
            <a:pPr marL="123271" marR="86290" lvl="0" indent="-112065" algn="l" defTabSz="806867" rtl="0" eaLnBrk="1" fontAlgn="auto" latinLnBrk="0" hangingPunct="1">
              <a:lnSpc>
                <a:spcPts val="1059"/>
              </a:lnSpc>
              <a:spcBef>
                <a:spcPts val="282"/>
              </a:spcBef>
              <a:spcAft>
                <a:spcPts val="0"/>
              </a:spcAft>
              <a:buClrTx/>
              <a:buSzTx/>
              <a:buFontTx/>
              <a:buChar char="•"/>
              <a:tabLst>
                <a:tab pos="123271" algn="l"/>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I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2021,</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was </a:t>
            </a:r>
            <a:r>
              <a:rPr kumimoji="0" sz="927" b="0" i="0" u="none" strike="noStrike" kern="0" cap="none" spc="-9" normalizeH="0" baseline="0" noProof="0">
                <a:ln>
                  <a:noFill/>
                </a:ln>
                <a:solidFill>
                  <a:sysClr val="windowText" lastClr="000000"/>
                </a:solidFill>
                <a:effectLst/>
                <a:uLnTx/>
                <a:uFillTx/>
                <a:latin typeface="Calibri"/>
                <a:ea typeface="+mn-ea"/>
                <a:cs typeface="Calibri"/>
              </a:rPr>
              <a:t>recognized</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or</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t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people, </a:t>
            </a:r>
            <a:r>
              <a:rPr kumimoji="0" sz="927" b="0" i="0" u="none" strike="noStrike" kern="0" cap="none" spc="0" normalizeH="0" baseline="0" noProof="0">
                <a:ln>
                  <a:noFill/>
                </a:ln>
                <a:solidFill>
                  <a:sysClr val="windowText" lastClr="000000"/>
                </a:solidFill>
                <a:effectLst/>
                <a:uLnTx/>
                <a:uFillTx/>
                <a:latin typeface="Calibri"/>
                <a:ea typeface="+mn-ea"/>
                <a:cs typeface="Calibri"/>
              </a:rPr>
              <a:t>product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services</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t</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the </a:t>
            </a:r>
            <a:r>
              <a:rPr kumimoji="0" sz="927" b="1" i="0" u="none" strike="noStrike" kern="0" cap="none" spc="0" normalizeH="0" baseline="0" noProof="0">
                <a:ln>
                  <a:noFill/>
                </a:ln>
                <a:solidFill>
                  <a:sysClr val="windowText" lastClr="000000"/>
                </a:solidFill>
                <a:effectLst/>
                <a:uLnTx/>
                <a:uFillTx/>
                <a:latin typeface="Calibri"/>
                <a:ea typeface="+mn-ea"/>
                <a:cs typeface="Calibri"/>
              </a:rPr>
              <a:t>2021</a:t>
            </a:r>
            <a:r>
              <a:rPr kumimoji="0" sz="927" b="1" i="0" u="none" strike="noStrike" kern="0" cap="none" spc="124" normalizeH="0" baseline="0" noProof="0">
                <a:ln>
                  <a:noFill/>
                </a:ln>
                <a:solidFill>
                  <a:sysClr val="windowText" lastClr="000000"/>
                </a:solidFill>
                <a:effectLst/>
                <a:uLnTx/>
                <a:uFillTx/>
                <a:latin typeface="Calibri"/>
                <a:ea typeface="+mn-ea"/>
                <a:cs typeface="Calibri"/>
              </a:rPr>
              <a:t> </a:t>
            </a:r>
            <a:r>
              <a:rPr kumimoji="0" sz="927" b="1" i="0" u="none" strike="noStrike" kern="0" cap="none" spc="62" normalizeH="0" baseline="0" noProof="0">
                <a:ln>
                  <a:noFill/>
                </a:ln>
                <a:solidFill>
                  <a:sysClr val="windowText" lastClr="000000"/>
                </a:solidFill>
                <a:effectLst/>
                <a:uLnTx/>
                <a:uFillTx/>
                <a:latin typeface="Calibri"/>
                <a:ea typeface="+mn-ea"/>
                <a:cs typeface="Calibri"/>
              </a:rPr>
              <a:t>Skytrax</a:t>
            </a:r>
            <a:r>
              <a:rPr kumimoji="0" sz="927" b="1" i="0" u="none" strike="noStrike" kern="0" cap="none" spc="128"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World</a:t>
            </a:r>
            <a:r>
              <a:rPr kumimoji="0" sz="927" b="1" i="0" u="none" strike="noStrike" kern="0" cap="none" spc="128" normalizeH="0" baseline="0" noProof="0">
                <a:ln>
                  <a:noFill/>
                </a:ln>
                <a:solidFill>
                  <a:sysClr val="windowText" lastClr="000000"/>
                </a:solidFill>
                <a:effectLst/>
                <a:uLnTx/>
                <a:uFillTx/>
                <a:latin typeface="Calibri"/>
                <a:ea typeface="+mn-ea"/>
                <a:cs typeface="Calibri"/>
              </a:rPr>
              <a:t> </a:t>
            </a:r>
            <a:r>
              <a:rPr kumimoji="0" sz="927" b="1" i="0" u="none" strike="noStrike" kern="0" cap="none" spc="-9" normalizeH="0" baseline="0" noProof="0">
                <a:ln>
                  <a:noFill/>
                </a:ln>
                <a:solidFill>
                  <a:sysClr val="windowText" lastClr="000000"/>
                </a:solidFill>
                <a:effectLst/>
                <a:uLnTx/>
                <a:uFillTx/>
                <a:latin typeface="Calibri"/>
                <a:ea typeface="+mn-ea"/>
                <a:cs typeface="Calibri"/>
              </a:rPr>
              <a:t>Airline </a:t>
            </a:r>
            <a:r>
              <a:rPr kumimoji="0" sz="927" b="1" i="0" u="none" strike="noStrike" kern="0" cap="none" spc="0" normalizeH="0" baseline="0" noProof="0">
                <a:ln>
                  <a:noFill/>
                </a:ln>
                <a:solidFill>
                  <a:sysClr val="windowText" lastClr="000000"/>
                </a:solidFill>
                <a:effectLst/>
                <a:uLnTx/>
                <a:uFillTx/>
                <a:latin typeface="Calibri"/>
                <a:ea typeface="+mn-ea"/>
                <a:cs typeface="Calibri"/>
              </a:rPr>
              <a:t>Awards</a:t>
            </a:r>
            <a:r>
              <a:rPr kumimoji="0" sz="927" b="1" i="0" u="none" strike="noStrike" kern="0" cap="none" spc="57"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ith</a:t>
            </a:r>
            <a:r>
              <a:rPr kumimoji="0" sz="927" b="0" i="0" u="none" strike="noStrike" kern="0" cap="none" spc="6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honours</a:t>
            </a:r>
            <a:r>
              <a:rPr kumimoji="0" sz="927" b="0" i="0" u="none" strike="noStrike" kern="0" cap="none" spc="62"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for: </a:t>
            </a:r>
            <a:r>
              <a:rPr kumimoji="0" sz="927" b="1" i="0" u="none" strike="noStrike" kern="0" cap="none" spc="0" normalizeH="0" baseline="0" noProof="0">
                <a:ln>
                  <a:noFill/>
                </a:ln>
                <a:solidFill>
                  <a:sysClr val="windowText" lastClr="000000"/>
                </a:solidFill>
                <a:effectLst/>
                <a:uLnTx/>
                <a:uFillTx/>
                <a:latin typeface="Calibri"/>
                <a:ea typeface="+mn-ea"/>
                <a:cs typeface="Calibri"/>
              </a:rPr>
              <a:t>Best</a:t>
            </a:r>
            <a:r>
              <a:rPr kumimoji="0" sz="927" b="1" i="0" u="none" strike="noStrike" kern="0" cap="none" spc="101"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Airline</a:t>
            </a:r>
            <a:r>
              <a:rPr kumimoji="0" sz="927" b="1" i="0" u="none" strike="noStrike" kern="0" cap="none" spc="101" normalizeH="0" baseline="0" noProof="0">
                <a:ln>
                  <a:noFill/>
                </a:ln>
                <a:solidFill>
                  <a:sysClr val="windowText" lastClr="000000"/>
                </a:solidFill>
                <a:effectLst/>
                <a:uLnTx/>
                <a:uFillTx/>
                <a:latin typeface="Calibri"/>
                <a:ea typeface="+mn-ea"/>
                <a:cs typeface="Calibri"/>
              </a:rPr>
              <a:t> </a:t>
            </a:r>
            <a:r>
              <a:rPr kumimoji="0" sz="927" b="1" i="0" u="none" strike="noStrike" kern="0" cap="none" spc="57" normalizeH="0" baseline="0" noProof="0">
                <a:ln>
                  <a:noFill/>
                </a:ln>
                <a:solidFill>
                  <a:sysClr val="windowText" lastClr="000000"/>
                </a:solidFill>
                <a:effectLst/>
                <a:uLnTx/>
                <a:uFillTx/>
                <a:latin typeface="Calibri"/>
                <a:ea typeface="+mn-ea"/>
                <a:cs typeface="Calibri"/>
              </a:rPr>
              <a:t>Staff</a:t>
            </a:r>
            <a:r>
              <a:rPr kumimoji="0" sz="927" b="1" i="0" u="none" strike="noStrike" kern="0" cap="none" spc="101"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in</a:t>
            </a:r>
            <a:r>
              <a:rPr kumimoji="0" sz="927" b="1" i="0" u="none" strike="noStrike" kern="0" cap="none" spc="101" normalizeH="0" baseline="0" noProof="0">
                <a:ln>
                  <a:noFill/>
                </a:ln>
                <a:solidFill>
                  <a:sysClr val="windowText" lastClr="000000"/>
                </a:solidFill>
                <a:effectLst/>
                <a:uLnTx/>
                <a:uFillTx/>
                <a:latin typeface="Calibri"/>
                <a:ea typeface="+mn-ea"/>
                <a:cs typeface="Calibri"/>
              </a:rPr>
              <a:t> </a:t>
            </a:r>
            <a:r>
              <a:rPr kumimoji="0" sz="927" b="1" i="0" u="none" strike="noStrike" kern="0" cap="none" spc="53" normalizeH="0" baseline="0" noProof="0">
                <a:ln>
                  <a:noFill/>
                </a:ln>
                <a:solidFill>
                  <a:sysClr val="windowText" lastClr="000000"/>
                </a:solidFill>
                <a:effectLst/>
                <a:uLnTx/>
                <a:uFillTx/>
                <a:latin typeface="Calibri"/>
                <a:ea typeface="+mn-ea"/>
                <a:cs typeface="Calibri"/>
              </a:rPr>
              <a:t>North </a:t>
            </a:r>
            <a:r>
              <a:rPr kumimoji="0" sz="927" b="1" i="0" u="none" strike="noStrike" kern="0" cap="none" spc="0" normalizeH="0" baseline="0" noProof="0">
                <a:ln>
                  <a:noFill/>
                </a:ln>
                <a:solidFill>
                  <a:sysClr val="windowText" lastClr="000000"/>
                </a:solidFill>
                <a:effectLst/>
                <a:uLnTx/>
                <a:uFillTx/>
                <a:latin typeface="Calibri"/>
                <a:ea typeface="+mn-ea"/>
                <a:cs typeface="Calibri"/>
              </a:rPr>
              <a:t>America</a:t>
            </a:r>
            <a:r>
              <a:rPr kumimoji="0" sz="927" b="0" i="0" u="none" strike="noStrike" kern="0" cap="none" spc="0" normalizeH="0" baseline="0" noProof="0">
                <a:ln>
                  <a:noFill/>
                </a:ln>
                <a:solidFill>
                  <a:sysClr val="windowText" lastClr="000000"/>
                </a:solidFill>
                <a:effectLst/>
                <a:uLnTx/>
                <a:uFillTx/>
                <a:latin typeface="Calibri"/>
                <a:ea typeface="+mn-ea"/>
                <a:cs typeface="Calibri"/>
              </a:rPr>
              <a:t>,</a:t>
            </a:r>
            <a:r>
              <a:rPr kumimoji="0" sz="927" b="0" i="0" u="none" strike="noStrike" kern="0" cap="none" spc="221"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Best</a:t>
            </a:r>
            <a:r>
              <a:rPr kumimoji="0" sz="927" b="1" i="0" u="none" strike="noStrike" kern="0" cap="none" spc="199"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Airline</a:t>
            </a:r>
            <a:r>
              <a:rPr kumimoji="0" sz="927" b="1" i="0" u="none" strike="noStrike" kern="0" cap="none" spc="194" normalizeH="0" baseline="0" noProof="0">
                <a:ln>
                  <a:noFill/>
                </a:ln>
                <a:solidFill>
                  <a:sysClr val="windowText" lastClr="000000"/>
                </a:solidFill>
                <a:effectLst/>
                <a:uLnTx/>
                <a:uFillTx/>
                <a:latin typeface="Calibri"/>
                <a:ea typeface="+mn-ea"/>
                <a:cs typeface="Calibri"/>
              </a:rPr>
              <a:t> </a:t>
            </a:r>
            <a:r>
              <a:rPr kumimoji="0" sz="927" b="1" i="0" u="none" strike="noStrike" kern="0" cap="none" spc="49" normalizeH="0" baseline="0" noProof="0">
                <a:ln>
                  <a:noFill/>
                </a:ln>
                <a:solidFill>
                  <a:sysClr val="windowText" lastClr="000000"/>
                </a:solidFill>
                <a:effectLst/>
                <a:uLnTx/>
                <a:uFillTx/>
                <a:latin typeface="Calibri"/>
                <a:ea typeface="+mn-ea"/>
                <a:cs typeface="Calibri"/>
              </a:rPr>
              <a:t>Staff </a:t>
            </a:r>
            <a:r>
              <a:rPr kumimoji="0" sz="927" b="1" i="0" u="none" strike="noStrike" kern="0" cap="none" spc="0" normalizeH="0" baseline="0" noProof="0">
                <a:ln>
                  <a:noFill/>
                </a:ln>
                <a:solidFill>
                  <a:sysClr val="windowText" lastClr="000000"/>
                </a:solidFill>
                <a:effectLst/>
                <a:uLnTx/>
                <a:uFillTx/>
                <a:latin typeface="Calibri"/>
                <a:ea typeface="+mn-ea"/>
                <a:cs typeface="Calibri"/>
              </a:rPr>
              <a:t>in</a:t>
            </a:r>
            <a:r>
              <a:rPr kumimoji="0" sz="927" b="1" i="0" u="none" strike="noStrike" kern="0" cap="none" spc="119"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0" normalizeH="0" baseline="0" noProof="0">
                <a:ln>
                  <a:noFill/>
                </a:ln>
                <a:solidFill>
                  <a:sysClr val="windowText" lastClr="000000"/>
                </a:solidFill>
                <a:effectLst/>
                <a:uLnTx/>
                <a:uFillTx/>
                <a:latin typeface="Calibri"/>
                <a:ea typeface="+mn-ea"/>
                <a:cs typeface="Calibri"/>
              </a:rPr>
              <a:t>,</a:t>
            </a:r>
            <a:r>
              <a:rPr kumimoji="0" sz="927" b="0" i="0" u="none" strike="noStrike" kern="0" cap="none" spc="146"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Best</a:t>
            </a:r>
            <a:r>
              <a:rPr kumimoji="0" sz="927" b="1" i="0" u="none" strike="noStrike" kern="0" cap="none" spc="124" normalizeH="0" baseline="0" noProof="0">
                <a:ln>
                  <a:noFill/>
                </a:ln>
                <a:solidFill>
                  <a:sysClr val="windowText" lastClr="000000"/>
                </a:solidFill>
                <a:effectLst/>
                <a:uLnTx/>
                <a:uFillTx/>
                <a:latin typeface="Calibri"/>
                <a:ea typeface="+mn-ea"/>
                <a:cs typeface="Calibri"/>
              </a:rPr>
              <a:t> </a:t>
            </a:r>
            <a:r>
              <a:rPr kumimoji="0" sz="927" b="1" i="0" u="none" strike="noStrike" kern="0" cap="none" spc="-9" normalizeH="0" baseline="0" noProof="0">
                <a:ln>
                  <a:noFill/>
                </a:ln>
                <a:solidFill>
                  <a:sysClr val="windowText" lastClr="000000"/>
                </a:solidFill>
                <a:effectLst/>
                <a:uLnTx/>
                <a:uFillTx/>
                <a:latin typeface="Calibri"/>
                <a:ea typeface="+mn-ea"/>
                <a:cs typeface="Calibri"/>
              </a:rPr>
              <a:t>Business </a:t>
            </a:r>
            <a:r>
              <a:rPr kumimoji="0" sz="927" b="1" i="0" u="none" strike="noStrike" kern="0" cap="none" spc="53" normalizeH="0" baseline="0" noProof="0">
                <a:ln>
                  <a:noFill/>
                </a:ln>
                <a:solidFill>
                  <a:sysClr val="windowText" lastClr="000000"/>
                </a:solidFill>
                <a:effectLst/>
                <a:uLnTx/>
                <a:uFillTx/>
                <a:latin typeface="Calibri"/>
                <a:ea typeface="+mn-ea"/>
                <a:cs typeface="Calibri"/>
              </a:rPr>
              <a:t>Class</a:t>
            </a:r>
            <a:r>
              <a:rPr kumimoji="0" sz="927" b="1" i="0" u="none" strike="noStrike" kern="0" cap="none" spc="62"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Lounge</a:t>
            </a:r>
            <a:r>
              <a:rPr kumimoji="0" sz="927" b="1" i="0" u="none" strike="noStrike" kern="0" cap="none" spc="62"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in</a:t>
            </a:r>
            <a:r>
              <a:rPr kumimoji="0" sz="927" b="1" i="0" u="none" strike="noStrike" kern="0" cap="none" spc="62" normalizeH="0" baseline="0" noProof="0">
                <a:ln>
                  <a:noFill/>
                </a:ln>
                <a:solidFill>
                  <a:sysClr val="windowText" lastClr="000000"/>
                </a:solidFill>
                <a:effectLst/>
                <a:uLnTx/>
                <a:uFillTx/>
                <a:latin typeface="Calibri"/>
                <a:ea typeface="+mn-ea"/>
                <a:cs typeface="Calibri"/>
              </a:rPr>
              <a:t> </a:t>
            </a:r>
            <a:r>
              <a:rPr kumimoji="0" sz="927" b="1" i="0" u="none" strike="noStrike" kern="0" cap="none" spc="53" normalizeH="0" baseline="0" noProof="0">
                <a:ln>
                  <a:noFill/>
                </a:ln>
                <a:solidFill>
                  <a:sysClr val="windowText" lastClr="000000"/>
                </a:solidFill>
                <a:effectLst/>
                <a:uLnTx/>
                <a:uFillTx/>
                <a:latin typeface="Calibri"/>
                <a:ea typeface="+mn-ea"/>
                <a:cs typeface="Calibri"/>
              </a:rPr>
              <a:t>North </a:t>
            </a:r>
            <a:r>
              <a:rPr kumimoji="0" sz="927" b="1" i="0" u="none" strike="noStrike" kern="0" cap="none" spc="0" normalizeH="0" baseline="0" noProof="0">
                <a:ln>
                  <a:noFill/>
                </a:ln>
                <a:solidFill>
                  <a:sysClr val="windowText" lastClr="000000"/>
                </a:solidFill>
                <a:effectLst/>
                <a:uLnTx/>
                <a:uFillTx/>
                <a:latin typeface="Calibri"/>
                <a:ea typeface="+mn-ea"/>
                <a:cs typeface="Calibri"/>
              </a:rPr>
              <a:t>America</a:t>
            </a:r>
            <a:r>
              <a:rPr kumimoji="0" sz="927" b="0" i="0" u="none" strike="noStrike" kern="0" cap="none" spc="0" normalizeH="0" baseline="0" noProof="0">
                <a:ln>
                  <a:noFill/>
                </a:ln>
                <a:solidFill>
                  <a:sysClr val="windowText" lastClr="000000"/>
                </a:solidFill>
                <a:effectLst/>
                <a:uLnTx/>
                <a:uFillTx/>
                <a:latin typeface="Calibri"/>
                <a:ea typeface="+mn-ea"/>
                <a:cs typeface="Calibri"/>
              </a:rPr>
              <a:t>,</a:t>
            </a:r>
            <a:r>
              <a:rPr kumimoji="0" sz="927" b="0" i="0" u="none" strike="noStrike" kern="0" cap="none" spc="19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199"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Excellence</a:t>
            </a:r>
            <a:r>
              <a:rPr kumimoji="0" sz="927" b="1" i="0" u="none" strike="noStrike" kern="0" cap="none" spc="172" normalizeH="0" baseline="0" noProof="0">
                <a:ln>
                  <a:noFill/>
                </a:ln>
                <a:solidFill>
                  <a:sysClr val="windowText" lastClr="000000"/>
                </a:solidFill>
                <a:effectLst/>
                <a:uLnTx/>
                <a:uFillTx/>
                <a:latin typeface="Calibri"/>
                <a:ea typeface="+mn-ea"/>
                <a:cs typeface="Calibri"/>
              </a:rPr>
              <a:t> </a:t>
            </a:r>
            <a:r>
              <a:rPr kumimoji="0" sz="927" b="1" i="0" u="none" strike="noStrike" kern="0" cap="none" spc="-22" normalizeH="0" baseline="0" noProof="0">
                <a:ln>
                  <a:noFill/>
                </a:ln>
                <a:solidFill>
                  <a:sysClr val="windowText" lastClr="000000"/>
                </a:solidFill>
                <a:effectLst/>
                <a:uLnTx/>
                <a:uFillTx/>
                <a:latin typeface="Calibri"/>
                <a:ea typeface="+mn-ea"/>
                <a:cs typeface="Calibri"/>
              </a:rPr>
              <a:t>for </a:t>
            </a:r>
            <a:r>
              <a:rPr kumimoji="0" sz="927" b="1" i="0" u="none" strike="noStrike" kern="0" cap="none" spc="66" normalizeH="0" baseline="0" noProof="0">
                <a:ln>
                  <a:noFill/>
                </a:ln>
                <a:solidFill>
                  <a:sysClr val="windowText" lastClr="000000"/>
                </a:solidFill>
                <a:effectLst/>
                <a:uLnTx/>
                <a:uFillTx/>
                <a:latin typeface="Calibri"/>
                <a:ea typeface="+mn-ea"/>
                <a:cs typeface="Calibri"/>
              </a:rPr>
              <a:t>COVID-</a:t>
            </a:r>
            <a:r>
              <a:rPr kumimoji="0" sz="927" b="1" i="0" u="none" strike="noStrike" kern="0" cap="none" spc="-22" normalizeH="0" baseline="0" noProof="0">
                <a:ln>
                  <a:noFill/>
                </a:ln>
                <a:solidFill>
                  <a:sysClr val="windowText" lastClr="000000"/>
                </a:solidFill>
                <a:effectLst/>
                <a:uLnTx/>
                <a:uFillTx/>
                <a:latin typeface="Calibri"/>
                <a:ea typeface="+mn-ea"/>
                <a:cs typeface="Calibri"/>
              </a:rPr>
              <a:t>19</a:t>
            </a:r>
            <a:r>
              <a:rPr kumimoji="0" sz="927" b="0" i="0" u="none" strike="noStrike" kern="0" cap="none" spc="-22" normalizeH="0" baseline="0" noProof="0">
                <a:ln>
                  <a:noFill/>
                </a:ln>
                <a:solidFill>
                  <a:sysClr val="windowText" lastClr="000000"/>
                </a:solidFill>
                <a:effectLst/>
                <a:uLnTx/>
                <a:uFillTx/>
                <a:latin typeface="Calibri"/>
                <a:ea typeface="+mn-ea"/>
                <a:cs typeface="Calibri"/>
              </a:rPr>
              <a:t>.</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23271" marR="170899" lvl="0" indent="-112065" algn="l" defTabSz="806867" rtl="0" eaLnBrk="1" fontAlgn="auto" latinLnBrk="0" hangingPunct="1">
              <a:lnSpc>
                <a:spcPts val="1059"/>
              </a:lnSpc>
              <a:spcBef>
                <a:spcPts val="529"/>
              </a:spcBef>
              <a:spcAft>
                <a:spcPts val="0"/>
              </a:spcAft>
              <a:buClrTx/>
              <a:buSzTx/>
              <a:buFontTx/>
              <a:buChar char="•"/>
              <a:tabLst>
                <a:tab pos="123271" algn="l"/>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In</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2021,</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eceived </a:t>
            </a:r>
            <a:r>
              <a:rPr kumimoji="0" sz="927" b="1" i="0" u="none" strike="noStrike" kern="0" cap="none" spc="44" normalizeH="0" baseline="0" noProof="0">
                <a:ln>
                  <a:noFill/>
                </a:ln>
                <a:solidFill>
                  <a:sysClr val="windowText" lastClr="000000"/>
                </a:solidFill>
                <a:effectLst/>
                <a:uLnTx/>
                <a:uFillTx/>
                <a:latin typeface="Calibri"/>
                <a:ea typeface="+mn-ea"/>
                <a:cs typeface="Calibri"/>
              </a:rPr>
              <a:t>APEX’s</a:t>
            </a:r>
            <a:r>
              <a:rPr kumimoji="0" sz="927" b="1" i="0" u="none" strike="noStrike" kern="0" cap="none" spc="119"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Diamond</a:t>
            </a:r>
            <a:r>
              <a:rPr kumimoji="0" sz="927" b="1" i="0" u="none" strike="noStrike" kern="0" cap="none" spc="124" normalizeH="0" baseline="0" noProof="0">
                <a:ln>
                  <a:noFill/>
                </a:ln>
                <a:solidFill>
                  <a:sysClr val="windowText" lastClr="000000"/>
                </a:solidFill>
                <a:effectLst/>
                <a:uLnTx/>
                <a:uFillTx/>
                <a:latin typeface="Calibri"/>
                <a:ea typeface="+mn-ea"/>
                <a:cs typeface="Calibri"/>
              </a:rPr>
              <a:t> </a:t>
            </a:r>
            <a:r>
              <a:rPr kumimoji="0" sz="927" b="1" i="0" u="none" strike="noStrike" kern="0" cap="none" spc="40" normalizeH="0" baseline="0" noProof="0">
                <a:ln>
                  <a:noFill/>
                </a:ln>
                <a:solidFill>
                  <a:sysClr val="windowText" lastClr="000000"/>
                </a:solidFill>
                <a:effectLst/>
                <a:uLnTx/>
                <a:uFillTx/>
                <a:latin typeface="Calibri"/>
                <a:ea typeface="+mn-ea"/>
                <a:cs typeface="Calibri"/>
              </a:rPr>
              <a:t>Status Certification</a:t>
            </a:r>
            <a:r>
              <a:rPr kumimoji="0" sz="927" b="1"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o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the</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23271" marR="93574" lvl="0" indent="0" algn="l" defTabSz="806867" rtl="0" eaLnBrk="1" fontAlgn="auto" latinLnBrk="0" hangingPunct="1">
              <a:lnSpc>
                <a:spcPts val="1059"/>
              </a:lnSpc>
              <a:spcBef>
                <a:spcPts val="0"/>
              </a:spcBef>
              <a:spcAft>
                <a:spcPts val="0"/>
              </a:spcAft>
              <a:buClrTx/>
              <a:buSzTx/>
              <a:buFontTx/>
              <a:buNone/>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leanCare+ </a:t>
            </a:r>
            <a:r>
              <a:rPr kumimoji="0" sz="927" b="0" i="0" u="none" strike="noStrike" kern="0" cap="none" spc="0" normalizeH="0" baseline="0" noProof="0">
                <a:ln>
                  <a:noFill/>
                </a:ln>
                <a:solidFill>
                  <a:sysClr val="windowText" lastClr="000000"/>
                </a:solidFill>
                <a:effectLst/>
                <a:uLnTx/>
                <a:uFillTx/>
                <a:latin typeface="Calibri"/>
                <a:ea typeface="+mn-ea"/>
                <a:cs typeface="Calibri"/>
              </a:rPr>
              <a:t>biosafety</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program</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for </a:t>
            </a:r>
            <a:r>
              <a:rPr kumimoji="0" sz="927" b="0" i="0" u="none" strike="noStrike" kern="0" cap="none" spc="0" normalizeH="0" baseline="0" noProof="0">
                <a:ln>
                  <a:noFill/>
                </a:ln>
                <a:solidFill>
                  <a:sysClr val="windowText" lastClr="000000"/>
                </a:solidFill>
                <a:effectLst/>
                <a:uLnTx/>
                <a:uFillTx/>
                <a:latin typeface="Calibri"/>
                <a:ea typeface="+mn-ea"/>
                <a:cs typeface="Calibri"/>
              </a:rPr>
              <a:t>managing</a:t>
            </a:r>
            <a:r>
              <a:rPr kumimoji="0" sz="927" b="0" i="0" u="none" strike="noStrike" kern="0" cap="none" spc="75"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OVID-</a:t>
            </a:r>
            <a:r>
              <a:rPr kumimoji="0" sz="927" b="0" i="0" u="none" strike="noStrike" kern="0" cap="none" spc="-18" normalizeH="0" baseline="0" noProof="0">
                <a:ln>
                  <a:noFill/>
                </a:ln>
                <a:solidFill>
                  <a:sysClr val="windowText" lastClr="000000"/>
                </a:solidFill>
                <a:effectLst/>
                <a:uLnTx/>
                <a:uFillTx/>
                <a:latin typeface="Calibri"/>
                <a:ea typeface="+mn-ea"/>
                <a:cs typeface="Calibri"/>
              </a:rPr>
              <a:t>19,</a:t>
            </a:r>
            <a:r>
              <a:rPr kumimoji="0" sz="927" b="0" i="0" u="none" strike="noStrike" kern="0" cap="none" spc="7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75"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only </a:t>
            </a:r>
            <a:r>
              <a:rPr kumimoji="0" sz="927" b="0" i="0" u="none" strike="noStrike" kern="0" cap="none" spc="0" normalizeH="0" baseline="0" noProof="0">
                <a:ln>
                  <a:noFill/>
                </a:ln>
                <a:solidFill>
                  <a:sysClr val="windowText" lastClr="000000"/>
                </a:solidFill>
                <a:effectLst/>
                <a:uLnTx/>
                <a:uFillTx/>
                <a:latin typeface="Calibri"/>
                <a:ea typeface="+mn-ea"/>
                <a:cs typeface="Calibri"/>
              </a:rPr>
              <a:t>airlin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n</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ttain</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the </a:t>
            </a:r>
            <a:r>
              <a:rPr kumimoji="0" sz="927" b="0" i="0" u="none" strike="noStrike" kern="0" cap="none" spc="0" normalizeH="0" baseline="0" noProof="0">
                <a:ln>
                  <a:noFill/>
                </a:ln>
                <a:solidFill>
                  <a:sysClr val="windowText" lastClr="000000"/>
                </a:solidFill>
                <a:effectLst/>
                <a:uLnTx/>
                <a:uFillTx/>
                <a:latin typeface="Calibri"/>
                <a:ea typeface="+mn-ea"/>
                <a:cs typeface="Calibri"/>
              </a:rPr>
              <a:t>highest</a:t>
            </a:r>
            <a:r>
              <a:rPr kumimoji="0" sz="927" b="0" i="0" u="none" strike="noStrike" kern="0" cap="none" spc="5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PEX</a:t>
            </a:r>
            <a:r>
              <a:rPr kumimoji="0" sz="927" b="0" i="0" u="none" strike="noStrike" kern="0" cap="none" spc="5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ranking.</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23271" marR="76764" lvl="0" indent="-112065" algn="l" defTabSz="806867" rtl="0" eaLnBrk="1" fontAlgn="auto" latinLnBrk="0" hangingPunct="1">
              <a:lnSpc>
                <a:spcPts val="1059"/>
              </a:lnSpc>
              <a:spcBef>
                <a:spcPts val="529"/>
              </a:spcBef>
              <a:spcAft>
                <a:spcPts val="0"/>
              </a:spcAft>
              <a:buClrTx/>
              <a:buSzTx/>
              <a:buFontTx/>
              <a:buChar char="•"/>
              <a:tabLst>
                <a:tab pos="123271" algn="l"/>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as</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named</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the </a:t>
            </a:r>
            <a:r>
              <a:rPr kumimoji="0" sz="927" b="0" i="0" u="none" strike="noStrike" kern="0" cap="none" spc="0" normalizeH="0" baseline="0" noProof="0">
                <a:ln>
                  <a:noFill/>
                </a:ln>
                <a:solidFill>
                  <a:sysClr val="windowText" lastClr="000000"/>
                </a:solidFill>
                <a:effectLst/>
                <a:uLnTx/>
                <a:uFillTx/>
                <a:latin typeface="Calibri"/>
                <a:ea typeface="+mn-ea"/>
                <a:cs typeface="Calibri"/>
              </a:rPr>
              <a:t>2018</a:t>
            </a:r>
            <a:r>
              <a:rPr kumimoji="0" sz="927" b="0" i="0" u="none" strike="noStrike" kern="0" cap="none" spc="119" normalizeH="0" baseline="0" noProof="0">
                <a:ln>
                  <a:noFill/>
                </a:ln>
                <a:solidFill>
                  <a:sysClr val="windowText" lastClr="000000"/>
                </a:solidFill>
                <a:effectLst/>
                <a:uLnTx/>
                <a:uFillTx/>
                <a:latin typeface="Calibri"/>
                <a:ea typeface="+mn-ea"/>
                <a:cs typeface="Calibri"/>
              </a:rPr>
              <a:t> </a:t>
            </a:r>
            <a:r>
              <a:rPr kumimoji="0" sz="927" b="1" i="0" u="none" strike="noStrike" kern="0" cap="none" spc="49" normalizeH="0" baseline="0" noProof="0">
                <a:ln>
                  <a:noFill/>
                </a:ln>
                <a:solidFill>
                  <a:sysClr val="windowText" lastClr="000000"/>
                </a:solidFill>
                <a:effectLst/>
                <a:uLnTx/>
                <a:uFillTx/>
                <a:latin typeface="Calibri"/>
                <a:ea typeface="+mn-ea"/>
                <a:cs typeface="Calibri"/>
              </a:rPr>
              <a:t>Eco-</a:t>
            </a:r>
            <a:r>
              <a:rPr kumimoji="0" sz="927" b="1" i="0" u="none" strike="noStrike" kern="0" cap="none" spc="0" normalizeH="0" baseline="0" noProof="0">
                <a:ln>
                  <a:noFill/>
                </a:ln>
                <a:solidFill>
                  <a:sysClr val="windowText" lastClr="000000"/>
                </a:solidFill>
                <a:effectLst/>
                <a:uLnTx/>
                <a:uFillTx/>
                <a:latin typeface="Calibri"/>
                <a:ea typeface="+mn-ea"/>
                <a:cs typeface="Calibri"/>
              </a:rPr>
              <a:t>Airline</a:t>
            </a:r>
            <a:r>
              <a:rPr kumimoji="0" sz="927" b="1" i="0" u="none" strike="noStrike" kern="0" cap="none" spc="101"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of</a:t>
            </a:r>
            <a:r>
              <a:rPr kumimoji="0" sz="927" b="1" i="0" u="none" strike="noStrike" kern="0" cap="none" spc="101"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the</a:t>
            </a:r>
            <a:r>
              <a:rPr kumimoji="0" sz="927" b="1" i="0" u="none" strike="noStrike" kern="0" cap="none" spc="97" normalizeH="0" baseline="0" noProof="0">
                <a:ln>
                  <a:noFill/>
                </a:ln>
                <a:solidFill>
                  <a:sysClr val="windowText" lastClr="000000"/>
                </a:solidFill>
                <a:effectLst/>
                <a:uLnTx/>
                <a:uFillTx/>
                <a:latin typeface="Calibri"/>
                <a:ea typeface="+mn-ea"/>
                <a:cs typeface="Calibri"/>
              </a:rPr>
              <a:t> </a:t>
            </a:r>
            <a:r>
              <a:rPr kumimoji="0" sz="927" b="1" i="0" u="none" strike="noStrike" kern="0" cap="none" spc="-18" normalizeH="0" baseline="0" noProof="0">
                <a:ln>
                  <a:noFill/>
                </a:ln>
                <a:solidFill>
                  <a:sysClr val="windowText" lastClr="000000"/>
                </a:solidFill>
                <a:effectLst/>
                <a:uLnTx/>
                <a:uFillTx/>
                <a:latin typeface="Calibri"/>
                <a:ea typeface="+mn-ea"/>
                <a:cs typeface="Calibri"/>
              </a:rPr>
              <a:t>Year </a:t>
            </a:r>
            <a:r>
              <a:rPr kumimoji="0" sz="927" b="1" i="0" u="none" strike="noStrike" kern="0" cap="none" spc="0" normalizeH="0" baseline="0" noProof="0">
                <a:ln>
                  <a:noFill/>
                </a:ln>
                <a:solidFill>
                  <a:sysClr val="windowText" lastClr="000000"/>
                </a:solidFill>
                <a:effectLst/>
                <a:uLnTx/>
                <a:uFillTx/>
                <a:latin typeface="Calibri"/>
                <a:ea typeface="+mn-ea"/>
                <a:cs typeface="Calibri"/>
              </a:rPr>
              <a:t>at</a:t>
            </a:r>
            <a:r>
              <a:rPr kumimoji="0" sz="927" b="1" i="0" u="none" strike="noStrike" kern="0" cap="none" spc="150"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the</a:t>
            </a:r>
            <a:r>
              <a:rPr kumimoji="0" sz="927" b="1" i="0" u="none" strike="noStrike" kern="0" cap="none" spc="150"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Air</a:t>
            </a:r>
            <a:r>
              <a:rPr kumimoji="0" sz="927" b="1" i="0" u="none" strike="noStrike" kern="0" cap="none" spc="150"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Transport</a:t>
            </a:r>
            <a:r>
              <a:rPr kumimoji="0" sz="927" b="1" i="0" u="none" strike="noStrike" kern="0" cap="none" spc="150" normalizeH="0" baseline="0" noProof="0">
                <a:ln>
                  <a:noFill/>
                </a:ln>
                <a:solidFill>
                  <a:sysClr val="windowText" lastClr="000000"/>
                </a:solidFill>
                <a:effectLst/>
                <a:uLnTx/>
                <a:uFillTx/>
                <a:latin typeface="Calibri"/>
                <a:ea typeface="+mn-ea"/>
                <a:cs typeface="Calibri"/>
              </a:rPr>
              <a:t> </a:t>
            </a:r>
            <a:r>
              <a:rPr kumimoji="0" sz="927" b="1" i="0" u="none" strike="noStrike" kern="0" cap="none" spc="-18" normalizeH="0" baseline="0" noProof="0">
                <a:ln>
                  <a:noFill/>
                </a:ln>
                <a:solidFill>
                  <a:sysClr val="windowText" lastClr="000000"/>
                </a:solidFill>
                <a:effectLst/>
                <a:uLnTx/>
                <a:uFillTx/>
                <a:latin typeface="Calibri"/>
                <a:ea typeface="+mn-ea"/>
                <a:cs typeface="Calibri"/>
              </a:rPr>
              <a:t>World </a:t>
            </a:r>
            <a:r>
              <a:rPr kumimoji="0" sz="927" b="1" i="0" u="none" strike="noStrike" kern="0" cap="none" spc="57" normalizeH="0" baseline="0" noProof="0">
                <a:ln>
                  <a:noFill/>
                </a:ln>
                <a:solidFill>
                  <a:sysClr val="windowText" lastClr="000000"/>
                </a:solidFill>
                <a:effectLst/>
                <a:uLnTx/>
                <a:uFillTx/>
                <a:latin typeface="Calibri"/>
                <a:ea typeface="+mn-ea"/>
                <a:cs typeface="Calibri"/>
              </a:rPr>
              <a:t>(ATW) </a:t>
            </a:r>
            <a:r>
              <a:rPr kumimoji="0" sz="927" b="0" i="0" u="none" strike="noStrike" kern="0" cap="none" spc="0" normalizeH="0" baseline="0" noProof="0">
                <a:ln>
                  <a:noFill/>
                </a:ln>
                <a:solidFill>
                  <a:sysClr val="windowText" lastClr="000000"/>
                </a:solidFill>
                <a:effectLst/>
                <a:uLnTx/>
                <a:uFillTx/>
                <a:latin typeface="Calibri"/>
                <a:ea typeface="+mn-ea"/>
                <a:cs typeface="Calibri"/>
              </a:rPr>
              <a:t>44th</a:t>
            </a:r>
            <a:r>
              <a:rPr kumimoji="0" sz="927" b="0" i="0" u="none" strike="noStrike" kern="0" cap="none" spc="57"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nual</a:t>
            </a:r>
            <a:r>
              <a:rPr kumimoji="0" sz="927" b="0" i="0" u="none" strike="noStrike" kern="0" cap="none" spc="62"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irline </a:t>
            </a:r>
            <a:r>
              <a:rPr kumimoji="0" sz="927" b="0" i="0" u="none" strike="noStrike" kern="0" cap="none" spc="0" normalizeH="0" baseline="0" noProof="0">
                <a:ln>
                  <a:noFill/>
                </a:ln>
                <a:solidFill>
                  <a:sysClr val="windowText" lastClr="000000"/>
                </a:solidFill>
                <a:effectLst/>
                <a:uLnTx/>
                <a:uFillTx/>
                <a:latin typeface="Calibri"/>
                <a:ea typeface="+mn-ea"/>
                <a:cs typeface="Calibri"/>
              </a:rPr>
              <a:t>Industry</a:t>
            </a:r>
            <a:r>
              <a:rPr kumimoji="0" sz="927" b="0" i="0" u="none" strike="noStrike" kern="0" cap="none" spc="22"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chievement</a:t>
            </a:r>
            <a:r>
              <a:rPr kumimoji="0" sz="927" b="0" i="0" u="none" strike="noStrike" kern="0" cap="none" spc="26"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wards </a:t>
            </a:r>
            <a:r>
              <a:rPr kumimoji="0" sz="927" b="0" i="0" u="none" strike="noStrike" kern="0" cap="none" spc="0" normalizeH="0" baseline="0" noProof="0">
                <a:ln>
                  <a:noFill/>
                </a:ln>
                <a:solidFill>
                  <a:sysClr val="windowText" lastClr="000000"/>
                </a:solidFill>
                <a:effectLst/>
                <a:uLnTx/>
                <a:uFillTx/>
                <a:latin typeface="Calibri"/>
                <a:ea typeface="+mn-ea"/>
                <a:cs typeface="Calibri"/>
              </a:rPr>
              <a:t>fo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being the</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first airline </a:t>
            </a:r>
            <a:r>
              <a:rPr kumimoji="0" sz="927" b="0" i="0" u="none" strike="noStrike" kern="0" cap="none" spc="-22" normalizeH="0" baseline="0" noProof="0">
                <a:ln>
                  <a:noFill/>
                </a:ln>
                <a:solidFill>
                  <a:sysClr val="windowText" lastClr="000000"/>
                </a:solidFill>
                <a:effectLst/>
                <a:uLnTx/>
                <a:uFillTx/>
                <a:latin typeface="Calibri"/>
                <a:ea typeface="+mn-ea"/>
                <a:cs typeface="Calibri"/>
              </a:rPr>
              <a:t>in</a:t>
            </a:r>
            <a:r>
              <a:rPr kumimoji="0" sz="927" b="0"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orld</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a:t>
            </a:r>
            <a:r>
              <a:rPr kumimoji="0" sz="927" b="0" i="0" u="none" strike="noStrike" kern="0" cap="none" spc="18"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voluntarily</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18" normalizeH="0" baseline="0" noProof="0">
                <a:ln>
                  <a:noFill/>
                </a:ln>
                <a:solidFill>
                  <a:sysClr val="windowText" lastClr="000000"/>
                </a:solidFill>
                <a:effectLst/>
                <a:uLnTx/>
                <a:uFillTx/>
                <a:latin typeface="Calibri"/>
                <a:ea typeface="+mn-ea"/>
                <a:cs typeface="Calibri"/>
              </a:rPr>
              <a:t>join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World</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Bank’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MF</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arbon </a:t>
            </a:r>
            <a:r>
              <a:rPr kumimoji="0" sz="927" b="0" i="0" u="none" strike="noStrike" kern="0" cap="none" spc="0" normalizeH="0" baseline="0" noProof="0">
                <a:ln>
                  <a:noFill/>
                </a:ln>
                <a:solidFill>
                  <a:sysClr val="windowText" lastClr="000000"/>
                </a:solidFill>
                <a:effectLst/>
                <a:uLnTx/>
                <a:uFillTx/>
                <a:latin typeface="Calibri"/>
                <a:ea typeface="+mn-ea"/>
                <a:cs typeface="Calibri"/>
              </a:rPr>
              <a:t>Pricing </a:t>
            </a:r>
            <a:r>
              <a:rPr kumimoji="0" sz="927" b="0" i="0" u="none" strike="noStrike" kern="0" cap="none" spc="-9" normalizeH="0" baseline="0" noProof="0">
                <a:ln>
                  <a:noFill/>
                </a:ln>
                <a:solidFill>
                  <a:sysClr val="windowText" lastClr="000000"/>
                </a:solidFill>
                <a:effectLst/>
                <a:uLnTx/>
                <a:uFillTx/>
                <a:latin typeface="Calibri"/>
                <a:ea typeface="+mn-ea"/>
                <a:cs typeface="Calibri"/>
              </a:rPr>
              <a:t>Leadership</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Coalition.</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23271" marR="180984" lvl="0" indent="-112065" algn="l" defTabSz="806867" rtl="0" eaLnBrk="1" fontAlgn="auto" latinLnBrk="0" hangingPunct="1">
              <a:lnSpc>
                <a:spcPts val="1059"/>
              </a:lnSpc>
              <a:spcBef>
                <a:spcPts val="529"/>
              </a:spcBef>
              <a:spcAft>
                <a:spcPts val="0"/>
              </a:spcAft>
              <a:buClrTx/>
              <a:buSzTx/>
              <a:buFontTx/>
              <a:buChar char="•"/>
              <a:tabLst>
                <a:tab pos="123271" algn="l"/>
              </a:tabLst>
              <a:defRPr/>
            </a:pPr>
            <a:r>
              <a:rPr kumimoji="0" sz="927" b="0" i="0" u="none" strike="noStrike" kern="0" cap="none" spc="0" normalizeH="0" baseline="0" noProof="0">
                <a:ln>
                  <a:noFill/>
                </a:ln>
                <a:solidFill>
                  <a:sysClr val="windowText" lastClr="000000"/>
                </a:solidFill>
                <a:effectLst/>
                <a:uLnTx/>
                <a:uFillTx/>
                <a:latin typeface="Calibri"/>
                <a:ea typeface="+mn-ea"/>
                <a:cs typeface="Calibri"/>
              </a:rPr>
              <a:t>Air</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Canada</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is</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routinely</a:t>
            </a:r>
            <a:r>
              <a:rPr kumimoji="0" sz="927" b="0" i="0" u="none" strike="noStrike" kern="0" cap="none" spc="13" normalizeH="0" baseline="0" noProof="0">
                <a:ln>
                  <a:noFill/>
                </a:ln>
                <a:solidFill>
                  <a:sysClr val="windowText" lastClr="000000"/>
                </a:solidFill>
                <a:effectLst/>
                <a:uLnTx/>
                <a:uFillTx/>
                <a:latin typeface="Calibri"/>
                <a:ea typeface="+mn-ea"/>
                <a:cs typeface="Calibri"/>
              </a:rPr>
              <a:t> </a:t>
            </a:r>
            <a:r>
              <a:rPr kumimoji="0" sz="927" b="0" i="0" u="none" strike="noStrike" kern="0" cap="none" spc="-22" normalizeH="0" baseline="0" noProof="0">
                <a:ln>
                  <a:noFill/>
                </a:ln>
                <a:solidFill>
                  <a:sysClr val="windowText" lastClr="000000"/>
                </a:solidFill>
                <a:effectLst/>
                <a:uLnTx/>
                <a:uFillTx/>
                <a:latin typeface="Calibri"/>
                <a:ea typeface="+mn-ea"/>
                <a:cs typeface="Calibri"/>
              </a:rPr>
              <a:t>at </a:t>
            </a:r>
            <a:r>
              <a:rPr kumimoji="0" sz="927" b="0" i="0" u="none" strike="noStrike" kern="0" cap="none" spc="0" normalizeH="0" baseline="0" noProof="0">
                <a:ln>
                  <a:noFill/>
                </a:ln>
                <a:solidFill>
                  <a:sysClr val="windowText" lastClr="000000"/>
                </a:solidFill>
                <a:effectLst/>
                <a:uLnTx/>
                <a:uFillTx/>
                <a:latin typeface="Calibri"/>
                <a:ea typeface="+mn-ea"/>
                <a:cs typeface="Calibri"/>
              </a:rPr>
              <a:t>the</a:t>
            </a:r>
            <a:r>
              <a:rPr kumimoji="0" sz="927" b="0" i="0" u="none" strike="noStrike" kern="0" cap="none" spc="-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top</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of</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employer</a:t>
            </a:r>
            <a:r>
              <a:rPr kumimoji="0" sz="927" b="0" i="0" u="none" strike="noStrike" kern="0" cap="none" spc="-4"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awards, </a:t>
            </a:r>
            <a:r>
              <a:rPr kumimoji="0" sz="927" b="0" i="0" u="none" strike="noStrike" kern="0" cap="none" spc="0" normalizeH="0" baseline="0" noProof="0">
                <a:ln>
                  <a:noFill/>
                </a:ln>
                <a:solidFill>
                  <a:sysClr val="windowText" lastClr="000000"/>
                </a:solidFill>
                <a:effectLst/>
                <a:uLnTx/>
                <a:uFillTx/>
                <a:latin typeface="Calibri"/>
                <a:ea typeface="+mn-ea"/>
                <a:cs typeface="Calibri"/>
              </a:rPr>
              <a:t>including</a:t>
            </a:r>
            <a:r>
              <a:rPr kumimoji="0" sz="927" b="0" i="0" u="none" strike="noStrike" kern="0" cap="none" spc="93"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Forbes</a:t>
            </a:r>
            <a:r>
              <a:rPr kumimoji="0" sz="927" b="1" i="0" u="none" strike="noStrike" kern="0" cap="none" spc="75" normalizeH="0" baseline="0" noProof="0">
                <a:ln>
                  <a:noFill/>
                </a:ln>
                <a:solidFill>
                  <a:sysClr val="windowText" lastClr="000000"/>
                </a:solidFill>
                <a:effectLst/>
                <a:uLnTx/>
                <a:uFillTx/>
                <a:latin typeface="Calibri"/>
                <a:ea typeface="+mn-ea"/>
                <a:cs typeface="Calibri"/>
              </a:rPr>
              <a:t> </a:t>
            </a:r>
            <a:r>
              <a:rPr kumimoji="0" sz="927" b="1" i="0" u="none" strike="noStrike" kern="0" cap="none" spc="-9" normalizeH="0" baseline="0" noProof="0">
                <a:ln>
                  <a:noFill/>
                </a:ln>
                <a:solidFill>
                  <a:sysClr val="windowText" lastClr="000000"/>
                </a:solidFill>
                <a:effectLst/>
                <a:uLnTx/>
                <a:uFillTx/>
                <a:latin typeface="Calibri"/>
                <a:ea typeface="+mn-ea"/>
                <a:cs typeface="Calibri"/>
              </a:rPr>
              <a:t>World’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a:p>
            <a:pPr marL="123271" marR="4483" lvl="0" indent="0" algn="l" defTabSz="806867" rtl="0" eaLnBrk="1" fontAlgn="auto" latinLnBrk="0" hangingPunct="1">
              <a:lnSpc>
                <a:spcPts val="1059"/>
              </a:lnSpc>
              <a:spcBef>
                <a:spcPts val="0"/>
              </a:spcBef>
              <a:spcAft>
                <a:spcPts val="0"/>
              </a:spcAft>
              <a:buClrTx/>
              <a:buSzTx/>
              <a:buFontTx/>
              <a:buNone/>
              <a:tabLst/>
              <a:defRPr/>
            </a:pPr>
            <a:r>
              <a:rPr kumimoji="0" sz="927" b="1" i="0" u="none" strike="noStrike" kern="0" cap="none" spc="0" normalizeH="0" baseline="0" noProof="0">
                <a:ln>
                  <a:noFill/>
                </a:ln>
                <a:solidFill>
                  <a:sysClr val="windowText" lastClr="000000"/>
                </a:solidFill>
                <a:effectLst/>
                <a:uLnTx/>
                <a:uFillTx/>
                <a:latin typeface="Calibri"/>
                <a:ea typeface="+mn-ea"/>
                <a:cs typeface="Calibri"/>
              </a:rPr>
              <a:t>Best</a:t>
            </a:r>
            <a:r>
              <a:rPr kumimoji="0" sz="927" b="1" i="0" u="none" strike="noStrike" kern="0" cap="none" spc="234"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Employers,</a:t>
            </a:r>
            <a:r>
              <a:rPr kumimoji="0" sz="927" b="1" i="0" u="none" strike="noStrike" kern="0" cap="none" spc="234" normalizeH="0" baseline="0" noProof="0">
                <a:ln>
                  <a:noFill/>
                </a:ln>
                <a:solidFill>
                  <a:sysClr val="windowText" lastClr="000000"/>
                </a:solidFill>
                <a:effectLst/>
                <a:uLnTx/>
                <a:uFillTx/>
                <a:latin typeface="Calibri"/>
                <a:ea typeface="+mn-ea"/>
                <a:cs typeface="Calibri"/>
              </a:rPr>
              <a:t> </a:t>
            </a:r>
            <a:r>
              <a:rPr kumimoji="0" sz="927" b="1" i="0" u="none" strike="noStrike" kern="0" cap="none" spc="-9" normalizeH="0" baseline="0" noProof="0">
                <a:ln>
                  <a:noFill/>
                </a:ln>
                <a:solidFill>
                  <a:sysClr val="windowText" lastClr="000000"/>
                </a:solidFill>
                <a:effectLst/>
                <a:uLnTx/>
                <a:uFillTx/>
                <a:latin typeface="Calibri"/>
                <a:ea typeface="+mn-ea"/>
                <a:cs typeface="Calibri"/>
              </a:rPr>
              <a:t>Mediacorp’s </a:t>
            </a:r>
            <a:r>
              <a:rPr kumimoji="0" sz="927" b="1" i="0" u="none" strike="noStrike" kern="0" cap="none" spc="0" normalizeH="0" baseline="0" noProof="0">
                <a:ln>
                  <a:noFill/>
                </a:ln>
                <a:solidFill>
                  <a:sysClr val="windowText" lastClr="000000"/>
                </a:solidFill>
                <a:effectLst/>
                <a:uLnTx/>
                <a:uFillTx/>
                <a:latin typeface="Calibri"/>
                <a:ea typeface="+mn-ea"/>
                <a:cs typeface="Calibri"/>
              </a:rPr>
              <a:t>Montreal</a:t>
            </a:r>
            <a:r>
              <a:rPr kumimoji="0" sz="927" b="1" i="0" u="none" strike="noStrike" kern="0" cap="none" spc="185"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Best</a:t>
            </a:r>
            <a:r>
              <a:rPr kumimoji="0" sz="927" b="1" i="0" u="none" strike="noStrike" kern="0" cap="none" spc="185" normalizeH="0" baseline="0" noProof="0">
                <a:ln>
                  <a:noFill/>
                </a:ln>
                <a:solidFill>
                  <a:sysClr val="windowText" lastClr="000000"/>
                </a:solidFill>
                <a:effectLst/>
                <a:uLnTx/>
                <a:uFillTx/>
                <a:latin typeface="Calibri"/>
                <a:ea typeface="+mn-ea"/>
                <a:cs typeface="Calibri"/>
              </a:rPr>
              <a:t> </a:t>
            </a:r>
            <a:r>
              <a:rPr kumimoji="0" sz="927" b="1" i="0" u="none" strike="noStrike" kern="0" cap="none" spc="-9" normalizeH="0" baseline="0" noProof="0">
                <a:ln>
                  <a:noFill/>
                </a:ln>
                <a:solidFill>
                  <a:sysClr val="windowText" lastClr="000000"/>
                </a:solidFill>
                <a:effectLst/>
                <a:uLnTx/>
                <a:uFillTx/>
                <a:latin typeface="Calibri"/>
                <a:ea typeface="+mn-ea"/>
                <a:cs typeface="Calibri"/>
              </a:rPr>
              <a:t>Employers</a:t>
            </a:r>
            <a:r>
              <a:rPr kumimoji="0" sz="927" b="1" i="0" u="none" strike="noStrike" kern="0" cap="none" spc="441"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62"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Best</a:t>
            </a:r>
            <a:r>
              <a:rPr kumimoji="0" sz="927" b="1" i="0" u="none" strike="noStrike" kern="0" cap="none" spc="49" normalizeH="0" baseline="0" noProof="0">
                <a:ln>
                  <a:noFill/>
                </a:ln>
                <a:solidFill>
                  <a:sysClr val="windowText" lastClr="000000"/>
                </a:solidFill>
                <a:effectLst/>
                <a:uLnTx/>
                <a:uFillTx/>
                <a:latin typeface="Calibri"/>
                <a:ea typeface="+mn-ea"/>
                <a:cs typeface="Calibri"/>
              </a:rPr>
              <a:t> </a:t>
            </a:r>
            <a:r>
              <a:rPr kumimoji="0" sz="927" b="1" i="0" u="none" strike="noStrike" kern="0" cap="none" spc="40" normalizeH="0" baseline="0" noProof="0">
                <a:ln>
                  <a:noFill/>
                </a:ln>
                <a:solidFill>
                  <a:sysClr val="windowText" lastClr="000000"/>
                </a:solidFill>
                <a:effectLst/>
                <a:uLnTx/>
                <a:uFillTx/>
                <a:latin typeface="Calibri"/>
                <a:ea typeface="+mn-ea"/>
                <a:cs typeface="Calibri"/>
              </a:rPr>
              <a:t>Diversity</a:t>
            </a:r>
            <a:r>
              <a:rPr kumimoji="0" sz="927" b="1" i="0" u="none" strike="noStrike" kern="0" cap="none" spc="49" normalizeH="0" baseline="0" noProof="0">
                <a:ln>
                  <a:noFill/>
                </a:ln>
                <a:solidFill>
                  <a:sysClr val="windowText" lastClr="000000"/>
                </a:solidFill>
                <a:effectLst/>
                <a:uLnTx/>
                <a:uFillTx/>
                <a:latin typeface="Calibri"/>
                <a:ea typeface="+mn-ea"/>
                <a:cs typeface="Calibri"/>
              </a:rPr>
              <a:t> </a:t>
            </a:r>
            <a:r>
              <a:rPr kumimoji="0" sz="927" b="1" i="0" u="none" strike="noStrike" kern="0" cap="none" spc="-9" normalizeH="0" baseline="0" noProof="0">
                <a:ln>
                  <a:noFill/>
                </a:ln>
                <a:solidFill>
                  <a:sysClr val="windowText" lastClr="000000"/>
                </a:solidFill>
                <a:effectLst/>
                <a:uLnTx/>
                <a:uFillTx/>
                <a:latin typeface="Calibri"/>
                <a:ea typeface="+mn-ea"/>
                <a:cs typeface="Calibri"/>
              </a:rPr>
              <a:t>Employers </a:t>
            </a:r>
            <a:r>
              <a:rPr kumimoji="0" sz="927" b="0" i="0" u="none" strike="noStrike" kern="0" cap="none" spc="0" normalizeH="0" baseline="0" noProof="0">
                <a:ln>
                  <a:noFill/>
                </a:ln>
                <a:solidFill>
                  <a:sysClr val="windowText" lastClr="000000"/>
                </a:solidFill>
                <a:effectLst/>
                <a:uLnTx/>
                <a:uFillTx/>
                <a:latin typeface="Calibri"/>
                <a:ea typeface="+mn-ea"/>
                <a:cs typeface="Calibri"/>
              </a:rPr>
              <a:t>and</a:t>
            </a:r>
            <a:r>
              <a:rPr kumimoji="0" sz="927" b="0" i="0" u="none" strike="noStrike" kern="0" cap="none" spc="119"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Achiever’s</a:t>
            </a:r>
            <a:r>
              <a:rPr kumimoji="0" sz="927" b="1" i="0" u="none" strike="noStrike" kern="0" cap="none" spc="106" normalizeH="0" baseline="0" noProof="0">
                <a:ln>
                  <a:noFill/>
                </a:ln>
                <a:solidFill>
                  <a:sysClr val="windowText" lastClr="000000"/>
                </a:solidFill>
                <a:effectLst/>
                <a:uLnTx/>
                <a:uFillTx/>
                <a:latin typeface="Calibri"/>
                <a:ea typeface="+mn-ea"/>
                <a:cs typeface="Calibri"/>
              </a:rPr>
              <a:t> </a:t>
            </a:r>
            <a:r>
              <a:rPr kumimoji="0" sz="927" b="1" i="0" u="none" strike="noStrike" kern="0" cap="none" spc="0" normalizeH="0" baseline="0" noProof="0">
                <a:ln>
                  <a:noFill/>
                </a:ln>
                <a:solidFill>
                  <a:sysClr val="windowText" lastClr="000000"/>
                </a:solidFill>
                <a:effectLst/>
                <a:uLnTx/>
                <a:uFillTx/>
                <a:latin typeface="Calibri"/>
                <a:ea typeface="+mn-ea"/>
                <a:cs typeface="Calibri"/>
              </a:rPr>
              <a:t>Most</a:t>
            </a:r>
            <a:r>
              <a:rPr kumimoji="0" sz="927" b="1" i="0" u="none" strike="noStrike" kern="0" cap="none" spc="101" normalizeH="0" baseline="0" noProof="0">
                <a:ln>
                  <a:noFill/>
                </a:ln>
                <a:solidFill>
                  <a:sysClr val="windowText" lastClr="000000"/>
                </a:solidFill>
                <a:effectLst/>
                <a:uLnTx/>
                <a:uFillTx/>
                <a:latin typeface="Calibri"/>
                <a:ea typeface="+mn-ea"/>
                <a:cs typeface="Calibri"/>
              </a:rPr>
              <a:t> </a:t>
            </a:r>
            <a:r>
              <a:rPr kumimoji="0" sz="927" b="1" i="0" u="none" strike="noStrike" kern="0" cap="none" spc="-9" normalizeH="0" baseline="0" noProof="0">
                <a:ln>
                  <a:noFill/>
                </a:ln>
                <a:solidFill>
                  <a:sysClr val="windowText" lastClr="000000"/>
                </a:solidFill>
                <a:effectLst/>
                <a:uLnTx/>
                <a:uFillTx/>
                <a:latin typeface="Calibri"/>
                <a:ea typeface="+mn-ea"/>
                <a:cs typeface="Calibri"/>
              </a:rPr>
              <a:t>Engaged </a:t>
            </a:r>
            <a:r>
              <a:rPr kumimoji="0" sz="927" b="1" i="0" u="none" strike="noStrike" kern="0" cap="none" spc="0" normalizeH="0" baseline="0" noProof="0">
                <a:ln>
                  <a:noFill/>
                </a:ln>
                <a:solidFill>
                  <a:sysClr val="windowText" lastClr="000000"/>
                </a:solidFill>
                <a:effectLst/>
                <a:uLnTx/>
                <a:uFillTx/>
                <a:latin typeface="Calibri"/>
                <a:ea typeface="+mn-ea"/>
                <a:cs typeface="Calibri"/>
              </a:rPr>
              <a:t>Workplaces</a:t>
            </a:r>
            <a:r>
              <a:rPr kumimoji="0" sz="927" b="0" i="0" u="none" strike="noStrike" kern="0" cap="none" spc="0" normalizeH="0" baseline="0" noProof="0">
                <a:ln>
                  <a:noFill/>
                </a:ln>
                <a:solidFill>
                  <a:sysClr val="windowText" lastClr="000000"/>
                </a:solidFill>
                <a:effectLst/>
                <a:uLnTx/>
                <a:uFillTx/>
                <a:latin typeface="Calibri"/>
                <a:ea typeface="+mn-ea"/>
                <a:cs typeface="Calibri"/>
              </a:rPr>
              <a:t>,</a:t>
            </a:r>
            <a:r>
              <a:rPr kumimoji="0" sz="927" b="0" i="0" u="none" strike="noStrike" kern="0" cap="none" spc="159" normalizeH="0" baseline="0" noProof="0">
                <a:ln>
                  <a:noFill/>
                </a:ln>
                <a:solidFill>
                  <a:sysClr val="windowText" lastClr="000000"/>
                </a:solidFill>
                <a:effectLst/>
                <a:uLnTx/>
                <a:uFillTx/>
                <a:latin typeface="Calibri"/>
                <a:ea typeface="+mn-ea"/>
                <a:cs typeface="Calibri"/>
              </a:rPr>
              <a:t> </a:t>
            </a:r>
            <a:r>
              <a:rPr kumimoji="0" sz="927" b="0" i="0" u="none" strike="noStrike" kern="0" cap="none" spc="0" normalizeH="0" baseline="0" noProof="0">
                <a:ln>
                  <a:noFill/>
                </a:ln>
                <a:solidFill>
                  <a:sysClr val="windowText" lastClr="000000"/>
                </a:solidFill>
                <a:effectLst/>
                <a:uLnTx/>
                <a:uFillTx/>
                <a:latin typeface="Calibri"/>
                <a:ea typeface="+mn-ea"/>
                <a:cs typeface="Calibri"/>
              </a:rPr>
              <a:t>among</a:t>
            </a:r>
            <a:r>
              <a:rPr kumimoji="0" sz="927" b="0" i="0" u="none" strike="noStrike" kern="0" cap="none" spc="159" normalizeH="0" baseline="0" noProof="0">
                <a:ln>
                  <a:noFill/>
                </a:ln>
                <a:solidFill>
                  <a:sysClr val="windowText" lastClr="000000"/>
                </a:solidFill>
                <a:effectLst/>
                <a:uLnTx/>
                <a:uFillTx/>
                <a:latin typeface="Calibri"/>
                <a:ea typeface="+mn-ea"/>
                <a:cs typeface="Calibri"/>
              </a:rPr>
              <a:t> </a:t>
            </a:r>
            <a:r>
              <a:rPr kumimoji="0" sz="927" b="0" i="0" u="none" strike="noStrike" kern="0" cap="none" spc="-9" normalizeH="0" baseline="0" noProof="0">
                <a:ln>
                  <a:noFill/>
                </a:ln>
                <a:solidFill>
                  <a:sysClr val="windowText" lastClr="000000"/>
                </a:solidFill>
                <a:effectLst/>
                <a:uLnTx/>
                <a:uFillTx/>
                <a:latin typeface="Calibri"/>
                <a:ea typeface="+mn-ea"/>
                <a:cs typeface="Calibri"/>
              </a:rPr>
              <a:t>others.</a:t>
            </a:r>
            <a:endParaRPr kumimoji="0" sz="927"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2" name="Footer Placeholder 21">
            <a:extLst>
              <a:ext uri="{FF2B5EF4-FFF2-40B4-BE49-F238E27FC236}">
                <a16:creationId xmlns:a16="http://schemas.microsoft.com/office/drawing/2014/main" id="{E8B3739E-C082-FEF2-100E-0C0AE6DEE243}"/>
              </a:ext>
            </a:extLst>
          </p:cNvPr>
          <p:cNvSpPr>
            <a:spLocks noGrp="1"/>
          </p:cNvSpPr>
          <p:nvPr>
            <p:ph type="ftr" sz="quarter" idx="5"/>
          </p:nvPr>
        </p:nvSpPr>
        <p:spPr/>
        <p:txBody>
          <a:bodyPr/>
          <a:lstStyle/>
          <a:p>
            <a:r>
              <a:rPr lang="en-CA"/>
              <a:t>Priveledged and Confidential</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153402" y="995083"/>
            <a:ext cx="904315" cy="568761"/>
          </a:xfrm>
          <a:prstGeom prst="rect">
            <a:avLst/>
          </a:prstGeom>
        </p:spPr>
        <p:txBody>
          <a:bodyPr vert="horz" wrap="square" lIns="0" tIns="24653" rIns="0" bIns="0" rtlCol="0">
            <a:spAutoFit/>
          </a:bodyPr>
          <a:lstStyle/>
          <a:p>
            <a:pPr marL="11206" marR="0" lvl="0" indent="0" algn="l" defTabSz="806867" rtl="0" eaLnBrk="1" fontAlgn="auto" latinLnBrk="0" hangingPunct="1">
              <a:lnSpc>
                <a:spcPct val="100000"/>
              </a:lnSpc>
              <a:spcBef>
                <a:spcPts val="194"/>
              </a:spcBef>
              <a:spcAft>
                <a:spcPts val="0"/>
              </a:spcAft>
              <a:buClrTx/>
              <a:buSzTx/>
              <a:buFontTx/>
              <a:buNone/>
              <a:tabLst/>
              <a:defRPr/>
            </a:pPr>
            <a:r>
              <a:rPr kumimoji="0" sz="1059" b="1" i="0" u="none" strike="noStrike" kern="0" cap="none" spc="-9" normalizeH="0" baseline="0" noProof="0">
                <a:ln>
                  <a:noFill/>
                </a:ln>
                <a:solidFill>
                  <a:sysClr val="windowText" lastClr="000000"/>
                </a:solidFill>
                <a:effectLst/>
                <a:uLnTx/>
                <a:uFillTx/>
                <a:latin typeface="Calibri"/>
                <a:ea typeface="+mn-ea"/>
                <a:cs typeface="Calibri"/>
                <a:hlinkClick r:id="rId2"/>
              </a:rPr>
              <a:t>aircanada.com</a:t>
            </a:r>
            <a:endParaRPr kumimoji="0" sz="1059" b="0" i="0" u="none" strike="noStrike" kern="0" cap="none" spc="0" normalizeH="0" baseline="0" noProof="0">
              <a:ln>
                <a:noFill/>
              </a:ln>
              <a:solidFill>
                <a:sysClr val="windowText" lastClr="000000"/>
              </a:solidFill>
              <a:effectLst/>
              <a:uLnTx/>
              <a:uFillTx/>
              <a:latin typeface="Calibri"/>
              <a:ea typeface="+mn-ea"/>
              <a:cs typeface="Calibri"/>
            </a:endParaRPr>
          </a:p>
          <a:p>
            <a:pPr marL="11206" marR="183785" lvl="0" indent="0" algn="l" defTabSz="806867" rtl="0" eaLnBrk="1" fontAlgn="auto" latinLnBrk="0" hangingPunct="1">
              <a:lnSpc>
                <a:spcPts val="529"/>
              </a:lnSpc>
              <a:spcBef>
                <a:spcPts val="159"/>
              </a:spcBef>
              <a:spcAft>
                <a:spcPts val="0"/>
              </a:spcAft>
              <a:buClrTx/>
              <a:buSzTx/>
              <a:buFontTx/>
              <a:buNone/>
              <a:tabLst/>
              <a:defRPr/>
            </a:pPr>
            <a:r>
              <a:rPr kumimoji="0" sz="529" b="1" i="0" u="none" strike="noStrike" kern="0" cap="none" spc="0" normalizeH="0" baseline="0" noProof="0">
                <a:ln>
                  <a:noFill/>
                </a:ln>
                <a:solidFill>
                  <a:sysClr val="windowText" lastClr="000000"/>
                </a:solidFill>
                <a:effectLst/>
                <a:uLnTx/>
                <a:uFillTx/>
                <a:latin typeface="Calibri"/>
                <a:ea typeface="+mn-ea"/>
                <a:cs typeface="Calibri"/>
              </a:rPr>
              <a:t>Overview</a:t>
            </a:r>
            <a:r>
              <a:rPr kumimoji="0" sz="529" b="1" i="0" u="none" strike="noStrike" kern="0" cap="none" spc="-13" normalizeH="0" baseline="0" noProof="0">
                <a:ln>
                  <a:noFill/>
                </a:ln>
                <a:solidFill>
                  <a:sysClr val="windowText" lastClr="000000"/>
                </a:solidFill>
                <a:effectLst/>
                <a:uLnTx/>
                <a:uFillTx/>
                <a:latin typeface="Calibri"/>
                <a:ea typeface="+mn-ea"/>
                <a:cs typeface="Calibri"/>
              </a:rPr>
              <a:t> </a:t>
            </a:r>
            <a:r>
              <a:rPr kumimoji="0" sz="529" b="1" i="0" u="none" strike="noStrike" kern="0" cap="none" spc="0" normalizeH="0" baseline="0" noProof="0">
                <a:ln>
                  <a:noFill/>
                </a:ln>
                <a:solidFill>
                  <a:sysClr val="windowText" lastClr="000000"/>
                </a:solidFill>
                <a:effectLst/>
                <a:uLnTx/>
                <a:uFillTx/>
                <a:latin typeface="Calibri"/>
                <a:ea typeface="+mn-ea"/>
                <a:cs typeface="Calibri"/>
              </a:rPr>
              <a:t>is</a:t>
            </a:r>
            <a:r>
              <a:rPr kumimoji="0" sz="529" b="1" i="0" u="none" strike="noStrike" kern="0" cap="none" spc="-9" normalizeH="0" baseline="0" noProof="0">
                <a:ln>
                  <a:noFill/>
                </a:ln>
                <a:solidFill>
                  <a:sysClr val="windowText" lastClr="000000"/>
                </a:solidFill>
                <a:effectLst/>
                <a:uLnTx/>
                <a:uFillTx/>
                <a:latin typeface="Calibri"/>
                <a:ea typeface="+mn-ea"/>
                <a:cs typeface="Calibri"/>
              </a:rPr>
              <a:t> produced</a:t>
            </a:r>
            <a:r>
              <a:rPr kumimoji="0" sz="529" b="1" i="0" u="none" strike="noStrike" kern="0" cap="none" spc="-13" normalizeH="0" baseline="0" noProof="0">
                <a:ln>
                  <a:noFill/>
                </a:ln>
                <a:solidFill>
                  <a:sysClr val="windowText" lastClr="000000"/>
                </a:solidFill>
                <a:effectLst/>
                <a:uLnTx/>
                <a:uFillTx/>
                <a:latin typeface="Calibri"/>
                <a:ea typeface="+mn-ea"/>
                <a:cs typeface="Calibri"/>
              </a:rPr>
              <a:t> </a:t>
            </a:r>
            <a:r>
              <a:rPr kumimoji="0" sz="529" b="1" i="0" u="none" strike="noStrike" kern="0" cap="none" spc="-22" normalizeH="0" baseline="0" noProof="0">
                <a:ln>
                  <a:noFill/>
                </a:ln>
                <a:solidFill>
                  <a:sysClr val="windowText" lastClr="000000"/>
                </a:solidFill>
                <a:effectLst/>
                <a:uLnTx/>
                <a:uFillTx/>
                <a:latin typeface="Calibri"/>
                <a:ea typeface="+mn-ea"/>
                <a:cs typeface="Calibri"/>
              </a:rPr>
              <a:t>by:</a:t>
            </a:r>
            <a:r>
              <a:rPr kumimoji="0" sz="529" b="1" i="0" u="none" strike="noStrike" kern="0" cap="none" spc="441" normalizeH="0" baseline="0" noProof="0">
                <a:ln>
                  <a:noFill/>
                </a:ln>
                <a:solidFill>
                  <a:sysClr val="windowText" lastClr="000000"/>
                </a:solidFill>
                <a:effectLst/>
                <a:uLnTx/>
                <a:uFillTx/>
                <a:latin typeface="Calibri"/>
                <a:ea typeface="+mn-ea"/>
                <a:cs typeface="Calibri"/>
              </a:rPr>
              <a:t> </a:t>
            </a:r>
            <a:r>
              <a:rPr kumimoji="0" sz="529" b="1" i="0" u="none" strike="noStrike" kern="0" cap="none" spc="0" normalizeH="0" baseline="0" noProof="0">
                <a:ln>
                  <a:noFill/>
                </a:ln>
                <a:solidFill>
                  <a:sysClr val="windowText" lastClr="000000"/>
                </a:solidFill>
                <a:effectLst/>
                <a:uLnTx/>
                <a:uFillTx/>
                <a:latin typeface="Calibri"/>
                <a:ea typeface="+mn-ea"/>
                <a:cs typeface="Calibri"/>
              </a:rPr>
              <a:t>Air</a:t>
            </a:r>
            <a:r>
              <a:rPr kumimoji="0" sz="529" b="1" i="0" u="none" strike="noStrike" kern="0" cap="none" spc="-18" normalizeH="0" baseline="0" noProof="0">
                <a:ln>
                  <a:noFill/>
                </a:ln>
                <a:solidFill>
                  <a:sysClr val="windowText" lastClr="000000"/>
                </a:solidFill>
                <a:effectLst/>
                <a:uLnTx/>
                <a:uFillTx/>
                <a:latin typeface="Calibri"/>
                <a:ea typeface="+mn-ea"/>
                <a:cs typeface="Calibri"/>
              </a:rPr>
              <a:t> </a:t>
            </a:r>
            <a:r>
              <a:rPr kumimoji="0" sz="529" b="1" i="0" u="none" strike="noStrike" kern="0" cap="none" spc="0" normalizeH="0" baseline="0" noProof="0">
                <a:ln>
                  <a:noFill/>
                </a:ln>
                <a:solidFill>
                  <a:sysClr val="windowText" lastClr="000000"/>
                </a:solidFill>
                <a:effectLst/>
                <a:uLnTx/>
                <a:uFillTx/>
                <a:latin typeface="Calibri"/>
                <a:ea typeface="+mn-ea"/>
                <a:cs typeface="Calibri"/>
              </a:rPr>
              <a:t>Canada</a:t>
            </a:r>
            <a:r>
              <a:rPr kumimoji="0" sz="529" b="1" i="0" u="none" strike="noStrike" kern="0" cap="none" spc="-13" normalizeH="0" baseline="0" noProof="0">
                <a:ln>
                  <a:noFill/>
                </a:ln>
                <a:solidFill>
                  <a:sysClr val="windowText" lastClr="000000"/>
                </a:solidFill>
                <a:effectLst/>
                <a:uLnTx/>
                <a:uFillTx/>
                <a:latin typeface="Calibri"/>
                <a:ea typeface="+mn-ea"/>
                <a:cs typeface="Calibri"/>
              </a:rPr>
              <a:t> </a:t>
            </a:r>
            <a:r>
              <a:rPr kumimoji="0" sz="529" b="1" i="0" u="none" strike="noStrike" kern="0" cap="none" spc="-9" normalizeH="0" baseline="0" noProof="0">
                <a:ln>
                  <a:noFill/>
                </a:ln>
                <a:solidFill>
                  <a:sysClr val="windowText" lastClr="000000"/>
                </a:solidFill>
                <a:effectLst/>
                <a:uLnTx/>
                <a:uFillTx/>
                <a:latin typeface="Calibri"/>
                <a:ea typeface="+mn-ea"/>
                <a:cs typeface="Calibri"/>
              </a:rPr>
              <a:t>Corporate</a:t>
            </a:r>
            <a:r>
              <a:rPr kumimoji="0" sz="529" b="1" i="0" u="none" strike="noStrike" kern="0" cap="none" spc="441" normalizeH="0" baseline="0" noProof="0">
                <a:ln>
                  <a:noFill/>
                </a:ln>
                <a:solidFill>
                  <a:sysClr val="windowText" lastClr="000000"/>
                </a:solidFill>
                <a:effectLst/>
                <a:uLnTx/>
                <a:uFillTx/>
                <a:latin typeface="Calibri"/>
                <a:ea typeface="+mn-ea"/>
                <a:cs typeface="Calibri"/>
              </a:rPr>
              <a:t> </a:t>
            </a:r>
            <a:r>
              <a:rPr kumimoji="0" sz="529" b="1" i="0" u="none" strike="noStrike" kern="0" cap="none" spc="-9" normalizeH="0" baseline="0" noProof="0">
                <a:ln>
                  <a:noFill/>
                </a:ln>
                <a:solidFill>
                  <a:sysClr val="windowText" lastClr="000000"/>
                </a:solidFill>
                <a:effectLst/>
                <a:uLnTx/>
                <a:uFillTx/>
                <a:latin typeface="Calibri"/>
                <a:ea typeface="+mn-ea"/>
                <a:cs typeface="Calibri"/>
              </a:rPr>
              <a:t>Communications</a:t>
            </a:r>
            <a:endParaRPr kumimoji="0" sz="529"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l" defTabSz="806867" rtl="0" eaLnBrk="1" fontAlgn="auto" latinLnBrk="0" hangingPunct="1">
              <a:lnSpc>
                <a:spcPct val="100000"/>
              </a:lnSpc>
              <a:spcBef>
                <a:spcPts val="40"/>
              </a:spcBef>
              <a:spcAft>
                <a:spcPts val="0"/>
              </a:spcAft>
              <a:buClrTx/>
              <a:buSzTx/>
              <a:buFontTx/>
              <a:buNone/>
              <a:tabLst/>
              <a:defRPr/>
            </a:pPr>
            <a:endParaRPr kumimoji="0" sz="529" b="0" i="0" u="none" strike="noStrike" kern="0" cap="none" spc="0" normalizeH="0" baseline="0" noProof="0">
              <a:ln>
                <a:noFill/>
              </a:ln>
              <a:solidFill>
                <a:sysClr val="windowText" lastClr="000000"/>
              </a:solidFill>
              <a:effectLst/>
              <a:uLnTx/>
              <a:uFillTx/>
              <a:latin typeface="Calibri"/>
              <a:ea typeface="+mn-ea"/>
              <a:cs typeface="Calibri"/>
            </a:endParaRPr>
          </a:p>
          <a:p>
            <a:pPr marL="24654" marR="0" lvl="0" indent="0" algn="l" defTabSz="806867" rtl="0" eaLnBrk="1" fontAlgn="auto" latinLnBrk="0" hangingPunct="1">
              <a:lnSpc>
                <a:spcPct val="100000"/>
              </a:lnSpc>
              <a:spcBef>
                <a:spcPts val="0"/>
              </a:spcBef>
              <a:spcAft>
                <a:spcPts val="0"/>
              </a:spcAft>
              <a:buClrTx/>
              <a:buSzTx/>
              <a:buFontTx/>
              <a:buNone/>
              <a:tabLst/>
              <a:defRPr/>
            </a:pPr>
            <a:r>
              <a:rPr kumimoji="0" sz="529" b="1" i="0" u="none" strike="noStrike" kern="0" cap="none" spc="-9" normalizeH="0" baseline="0" noProof="0">
                <a:ln>
                  <a:noFill/>
                </a:ln>
                <a:solidFill>
                  <a:srgbClr val="E2201F"/>
                </a:solidFill>
                <a:effectLst/>
                <a:uLnTx/>
                <a:uFillTx/>
                <a:latin typeface="Calibri"/>
                <a:ea typeface="+mn-ea"/>
                <a:cs typeface="Calibri"/>
                <a:hlinkClick r:id="rId3"/>
              </a:rPr>
              <a:t>aircanada.com/media</a:t>
            </a:r>
            <a:endParaRPr kumimoji="0" sz="529" b="0" i="0" u="none" strike="noStrike" kern="0" cap="none" spc="0" normalizeH="0" baseline="0" noProof="0">
              <a:ln>
                <a:noFill/>
              </a:ln>
              <a:solidFill>
                <a:sysClr val="windowText" lastClr="000000"/>
              </a:solidFill>
              <a:effectLst/>
              <a:uLnTx/>
              <a:uFillTx/>
              <a:latin typeface="Calibri"/>
              <a:ea typeface="+mn-ea"/>
              <a:cs typeface="Calibri"/>
            </a:endParaRPr>
          </a:p>
        </p:txBody>
      </p:sp>
      <p:pic>
        <p:nvPicPr>
          <p:cNvPr id="3" name="object 3">
            <a:hlinkClick r:id="rId3"/>
          </p:cNvPr>
          <p:cNvPicPr/>
          <p:nvPr/>
        </p:nvPicPr>
        <p:blipFill>
          <a:blip r:embed="rId4" cstate="print"/>
          <a:stretch>
            <a:fillRect/>
          </a:stretch>
        </p:blipFill>
        <p:spPr>
          <a:xfrm>
            <a:off x="9812579" y="1501367"/>
            <a:ext cx="56253" cy="56253"/>
          </a:xfrm>
          <a:prstGeom prst="rect">
            <a:avLst/>
          </a:prstGeom>
        </p:spPr>
      </p:pic>
      <p:pic>
        <p:nvPicPr>
          <p:cNvPr id="4" name="object 4">
            <a:hlinkClick r:id="rId5"/>
          </p:cNvPr>
          <p:cNvPicPr/>
          <p:nvPr/>
        </p:nvPicPr>
        <p:blipFill>
          <a:blip r:embed="rId6" cstate="print"/>
          <a:stretch>
            <a:fillRect/>
          </a:stretch>
        </p:blipFill>
        <p:spPr>
          <a:xfrm>
            <a:off x="9164613" y="728387"/>
            <a:ext cx="105615" cy="105604"/>
          </a:xfrm>
          <a:prstGeom prst="rect">
            <a:avLst/>
          </a:prstGeom>
        </p:spPr>
      </p:pic>
      <p:pic>
        <p:nvPicPr>
          <p:cNvPr id="5" name="object 5">
            <a:hlinkClick r:id="rId7"/>
          </p:cNvPr>
          <p:cNvPicPr/>
          <p:nvPr/>
        </p:nvPicPr>
        <p:blipFill>
          <a:blip r:embed="rId8" cstate="print"/>
          <a:stretch>
            <a:fillRect/>
          </a:stretch>
        </p:blipFill>
        <p:spPr>
          <a:xfrm>
            <a:off x="9667279" y="728387"/>
            <a:ext cx="105615" cy="105604"/>
          </a:xfrm>
          <a:prstGeom prst="rect">
            <a:avLst/>
          </a:prstGeom>
        </p:spPr>
      </p:pic>
      <p:pic>
        <p:nvPicPr>
          <p:cNvPr id="6" name="object 6">
            <a:hlinkClick r:id="rId9"/>
          </p:cNvPr>
          <p:cNvPicPr/>
          <p:nvPr/>
        </p:nvPicPr>
        <p:blipFill>
          <a:blip r:embed="rId10" cstate="print"/>
          <a:stretch>
            <a:fillRect/>
          </a:stretch>
        </p:blipFill>
        <p:spPr>
          <a:xfrm>
            <a:off x="9332168" y="728387"/>
            <a:ext cx="105615" cy="105604"/>
          </a:xfrm>
          <a:prstGeom prst="rect">
            <a:avLst/>
          </a:prstGeom>
        </p:spPr>
      </p:pic>
      <p:pic>
        <p:nvPicPr>
          <p:cNvPr id="7" name="object 7">
            <a:hlinkClick r:id="rId11"/>
          </p:cNvPr>
          <p:cNvPicPr/>
          <p:nvPr/>
        </p:nvPicPr>
        <p:blipFill>
          <a:blip r:embed="rId12" cstate="print"/>
          <a:stretch>
            <a:fillRect/>
          </a:stretch>
        </p:blipFill>
        <p:spPr>
          <a:xfrm>
            <a:off x="9499724" y="728387"/>
            <a:ext cx="105615" cy="105604"/>
          </a:xfrm>
          <a:prstGeom prst="rect">
            <a:avLst/>
          </a:prstGeom>
        </p:spPr>
      </p:pic>
      <p:sp>
        <p:nvSpPr>
          <p:cNvPr id="8" name="object 8"/>
          <p:cNvSpPr txBox="1"/>
          <p:nvPr/>
        </p:nvSpPr>
        <p:spPr>
          <a:xfrm>
            <a:off x="2050676" y="460614"/>
            <a:ext cx="1350309" cy="228619"/>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412" b="1" i="0" u="none" strike="noStrike" kern="0" cap="none" spc="0" normalizeH="0" baseline="0" noProof="0">
                <a:ln>
                  <a:noFill/>
                </a:ln>
                <a:solidFill>
                  <a:sysClr val="windowText" lastClr="000000"/>
                </a:solidFill>
                <a:effectLst/>
                <a:uLnTx/>
                <a:uFillTx/>
                <a:latin typeface="Calibri"/>
                <a:ea typeface="+mn-ea"/>
                <a:cs typeface="Calibri"/>
              </a:rPr>
              <a:t>Fleet</a:t>
            </a:r>
            <a:r>
              <a:rPr kumimoji="0" sz="1412" b="1" i="0" u="none" strike="noStrike" kern="0" cap="none" spc="137" normalizeH="0" baseline="0" noProof="0">
                <a:ln>
                  <a:noFill/>
                </a:ln>
                <a:solidFill>
                  <a:sysClr val="windowText" lastClr="000000"/>
                </a:solidFill>
                <a:effectLst/>
                <a:uLnTx/>
                <a:uFillTx/>
                <a:latin typeface="Calibri"/>
                <a:ea typeface="+mn-ea"/>
                <a:cs typeface="Calibri"/>
              </a:rPr>
              <a:t> </a:t>
            </a:r>
            <a:r>
              <a:rPr kumimoji="0" sz="794" b="1" i="0" u="none" strike="noStrike" kern="0" cap="none" spc="49" normalizeH="0" baseline="0" noProof="0">
                <a:ln>
                  <a:noFill/>
                </a:ln>
                <a:solidFill>
                  <a:sysClr val="windowText" lastClr="000000"/>
                </a:solidFill>
                <a:effectLst/>
                <a:uLnTx/>
                <a:uFillTx/>
                <a:latin typeface="Calibri"/>
                <a:ea typeface="+mn-ea"/>
                <a:cs typeface="Calibri"/>
              </a:rPr>
              <a:t>As</a:t>
            </a:r>
            <a:r>
              <a:rPr kumimoji="0" sz="794" b="1" i="0" u="none" strike="noStrike" kern="0" cap="none" spc="40" normalizeH="0" baseline="0" noProof="0">
                <a:ln>
                  <a:noFill/>
                </a:ln>
                <a:solidFill>
                  <a:sysClr val="windowText" lastClr="000000"/>
                </a:solidFill>
                <a:effectLst/>
                <a:uLnTx/>
                <a:uFillTx/>
                <a:latin typeface="Calibri"/>
                <a:ea typeface="+mn-ea"/>
                <a:cs typeface="Calibri"/>
              </a:rPr>
              <a:t> </a:t>
            </a:r>
            <a:r>
              <a:rPr kumimoji="0" sz="794" b="1" i="0" u="none" strike="noStrike" kern="0" cap="none" spc="0" normalizeH="0" baseline="0" noProof="0">
                <a:ln>
                  <a:noFill/>
                </a:ln>
                <a:solidFill>
                  <a:sysClr val="windowText" lastClr="000000"/>
                </a:solidFill>
                <a:effectLst/>
                <a:uLnTx/>
                <a:uFillTx/>
                <a:latin typeface="Calibri"/>
                <a:ea typeface="+mn-ea"/>
                <a:cs typeface="Calibri"/>
              </a:rPr>
              <a:t>of</a:t>
            </a:r>
            <a:r>
              <a:rPr kumimoji="0" sz="794" b="1" i="0" u="none" strike="noStrike" kern="0" cap="none" spc="40" normalizeH="0" baseline="0" noProof="0">
                <a:ln>
                  <a:noFill/>
                </a:ln>
                <a:solidFill>
                  <a:sysClr val="windowText" lastClr="000000"/>
                </a:solidFill>
                <a:effectLst/>
                <a:uLnTx/>
                <a:uFillTx/>
                <a:latin typeface="Calibri"/>
                <a:ea typeface="+mn-ea"/>
                <a:cs typeface="Calibri"/>
              </a:rPr>
              <a:t> </a:t>
            </a:r>
            <a:r>
              <a:rPr kumimoji="0" sz="794" b="1" i="0" u="none" strike="noStrike" kern="0" cap="none" spc="0" normalizeH="0" baseline="0" noProof="0">
                <a:ln>
                  <a:noFill/>
                </a:ln>
                <a:solidFill>
                  <a:sysClr val="windowText" lastClr="000000"/>
                </a:solidFill>
                <a:effectLst/>
                <a:uLnTx/>
                <a:uFillTx/>
                <a:latin typeface="Calibri"/>
                <a:ea typeface="+mn-ea"/>
                <a:cs typeface="Calibri"/>
              </a:rPr>
              <a:t>March</a:t>
            </a:r>
            <a:r>
              <a:rPr kumimoji="0" sz="794" b="1" i="0" u="none" strike="noStrike" kern="0" cap="none" spc="44" normalizeH="0" baseline="0" noProof="0">
                <a:ln>
                  <a:noFill/>
                </a:ln>
                <a:solidFill>
                  <a:sysClr val="windowText" lastClr="000000"/>
                </a:solidFill>
                <a:effectLst/>
                <a:uLnTx/>
                <a:uFillTx/>
                <a:latin typeface="Calibri"/>
                <a:ea typeface="+mn-ea"/>
                <a:cs typeface="Calibri"/>
              </a:rPr>
              <a:t> </a:t>
            </a:r>
            <a:r>
              <a:rPr kumimoji="0" sz="794" b="1" i="0" u="none" strike="noStrike" kern="0" cap="none" spc="0" normalizeH="0" baseline="0" noProof="0">
                <a:ln>
                  <a:noFill/>
                </a:ln>
                <a:solidFill>
                  <a:sysClr val="windowText" lastClr="000000"/>
                </a:solidFill>
                <a:effectLst/>
                <a:uLnTx/>
                <a:uFillTx/>
                <a:latin typeface="Calibri"/>
                <a:ea typeface="+mn-ea"/>
                <a:cs typeface="Calibri"/>
              </a:rPr>
              <a:t>1,</a:t>
            </a:r>
            <a:r>
              <a:rPr kumimoji="0" sz="794" b="1" i="0" u="none" strike="noStrike" kern="0" cap="none" spc="40" normalizeH="0" baseline="0" noProof="0">
                <a:ln>
                  <a:noFill/>
                </a:ln>
                <a:solidFill>
                  <a:sysClr val="windowText" lastClr="000000"/>
                </a:solidFill>
                <a:effectLst/>
                <a:uLnTx/>
                <a:uFillTx/>
                <a:latin typeface="Calibri"/>
                <a:ea typeface="+mn-ea"/>
                <a:cs typeface="Calibri"/>
              </a:rPr>
              <a:t> </a:t>
            </a:r>
            <a:r>
              <a:rPr kumimoji="0" sz="794" b="1" i="0" u="none" strike="noStrike" kern="0" cap="none" spc="35" normalizeH="0" baseline="0" noProof="0">
                <a:ln>
                  <a:noFill/>
                </a:ln>
                <a:solidFill>
                  <a:sysClr val="windowText" lastClr="000000"/>
                </a:solidFill>
                <a:effectLst/>
                <a:uLnTx/>
                <a:uFillTx/>
                <a:latin typeface="Calibri"/>
                <a:ea typeface="+mn-ea"/>
                <a:cs typeface="Calibri"/>
              </a:rPr>
              <a:t>2022</a:t>
            </a:r>
            <a:endParaRPr kumimoji="0" sz="794" b="0" i="0" u="none" strike="noStrike" kern="0" cap="none" spc="0" normalizeH="0" baseline="0" noProof="0">
              <a:ln>
                <a:noFill/>
              </a:ln>
              <a:solidFill>
                <a:sysClr val="windowText" lastClr="000000"/>
              </a:solidFill>
              <a:effectLst/>
              <a:uLnTx/>
              <a:uFillTx/>
              <a:latin typeface="Calibri"/>
              <a:ea typeface="+mn-ea"/>
              <a:cs typeface="Calibri"/>
            </a:endParaRPr>
          </a:p>
        </p:txBody>
      </p:sp>
      <p:graphicFrame>
        <p:nvGraphicFramePr>
          <p:cNvPr id="9" name="object 9"/>
          <p:cNvGraphicFramePr>
            <a:graphicFrameLocks noGrp="1"/>
          </p:cNvGraphicFramePr>
          <p:nvPr>
            <p:extLst>
              <p:ext uri="{D42A27DB-BD31-4B8C-83A1-F6EECF244321}">
                <p14:modId xmlns:p14="http://schemas.microsoft.com/office/powerpoint/2010/main" val="2342754221"/>
              </p:ext>
            </p:extLst>
          </p:nvPr>
        </p:nvGraphicFramePr>
        <p:xfrm>
          <a:off x="2061883" y="739365"/>
          <a:ext cx="6654611" cy="3939427"/>
        </p:xfrm>
        <a:graphic>
          <a:graphicData uri="http://schemas.openxmlformats.org/drawingml/2006/table">
            <a:tbl>
              <a:tblPr firstRow="1" bandRow="1">
                <a:tableStyleId>{2D5ABB26-0587-4C30-8999-92F81FD0307C}</a:tableStyleId>
              </a:tblPr>
              <a:tblGrid>
                <a:gridCol w="1181100">
                  <a:extLst>
                    <a:ext uri="{9D8B030D-6E8A-4147-A177-3AD203B41FA5}">
                      <a16:colId xmlns:a16="http://schemas.microsoft.com/office/drawing/2014/main" val="20000"/>
                    </a:ext>
                  </a:extLst>
                </a:gridCol>
                <a:gridCol w="500343">
                  <a:extLst>
                    <a:ext uri="{9D8B030D-6E8A-4147-A177-3AD203B41FA5}">
                      <a16:colId xmlns:a16="http://schemas.microsoft.com/office/drawing/2014/main" val="20001"/>
                    </a:ext>
                  </a:extLst>
                </a:gridCol>
                <a:gridCol w="504825">
                  <a:extLst>
                    <a:ext uri="{9D8B030D-6E8A-4147-A177-3AD203B41FA5}">
                      <a16:colId xmlns:a16="http://schemas.microsoft.com/office/drawing/2014/main" val="20002"/>
                    </a:ext>
                  </a:extLst>
                </a:gridCol>
                <a:gridCol w="1181659">
                  <a:extLst>
                    <a:ext uri="{9D8B030D-6E8A-4147-A177-3AD203B41FA5}">
                      <a16:colId xmlns:a16="http://schemas.microsoft.com/office/drawing/2014/main" val="20003"/>
                    </a:ext>
                  </a:extLst>
                </a:gridCol>
                <a:gridCol w="500902">
                  <a:extLst>
                    <a:ext uri="{9D8B030D-6E8A-4147-A177-3AD203B41FA5}">
                      <a16:colId xmlns:a16="http://schemas.microsoft.com/office/drawing/2014/main" val="20004"/>
                    </a:ext>
                  </a:extLst>
                </a:gridCol>
                <a:gridCol w="505385">
                  <a:extLst>
                    <a:ext uri="{9D8B030D-6E8A-4147-A177-3AD203B41FA5}">
                      <a16:colId xmlns:a16="http://schemas.microsoft.com/office/drawing/2014/main" val="20005"/>
                    </a:ext>
                  </a:extLst>
                </a:gridCol>
                <a:gridCol w="1271868">
                  <a:extLst>
                    <a:ext uri="{9D8B030D-6E8A-4147-A177-3AD203B41FA5}">
                      <a16:colId xmlns:a16="http://schemas.microsoft.com/office/drawing/2014/main" val="20006"/>
                    </a:ext>
                  </a:extLst>
                </a:gridCol>
                <a:gridCol w="501463">
                  <a:extLst>
                    <a:ext uri="{9D8B030D-6E8A-4147-A177-3AD203B41FA5}">
                      <a16:colId xmlns:a16="http://schemas.microsoft.com/office/drawing/2014/main" val="20007"/>
                    </a:ext>
                  </a:extLst>
                </a:gridCol>
                <a:gridCol w="507066">
                  <a:extLst>
                    <a:ext uri="{9D8B030D-6E8A-4147-A177-3AD203B41FA5}">
                      <a16:colId xmlns:a16="http://schemas.microsoft.com/office/drawing/2014/main" val="20008"/>
                    </a:ext>
                  </a:extLst>
                </a:gridCol>
              </a:tblGrid>
              <a:tr h="806824">
                <a:tc gridSpan="3">
                  <a:txBody>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marL="114300">
                        <a:lnSpc>
                          <a:spcPct val="100000"/>
                        </a:lnSpc>
                        <a:spcBef>
                          <a:spcPts val="1065"/>
                        </a:spcBef>
                      </a:pPr>
                      <a:r>
                        <a:rPr sz="900" b="1">
                          <a:latin typeface="Calibri"/>
                          <a:cs typeface="Calibri"/>
                        </a:rPr>
                        <a:t>Air</a:t>
                      </a:r>
                      <a:r>
                        <a:rPr sz="900" b="1" spc="114">
                          <a:latin typeface="Calibri"/>
                          <a:cs typeface="Calibri"/>
                        </a:rPr>
                        <a:t> </a:t>
                      </a:r>
                      <a:r>
                        <a:rPr sz="900" b="1" spc="-10">
                          <a:latin typeface="Calibri"/>
                          <a:cs typeface="Calibri"/>
                        </a:rPr>
                        <a:t>Canada</a:t>
                      </a:r>
                      <a:endParaRPr sz="900">
                        <a:latin typeface="Calibri"/>
                        <a:cs typeface="Calibri"/>
                      </a:endParaRPr>
                    </a:p>
                  </a:txBody>
                  <a:tcPr marL="0" marR="0" marT="0" marB="0">
                    <a:lnR w="3175">
                      <a:solidFill>
                        <a:srgbClr val="000000"/>
                      </a:solidFill>
                      <a:prstDash val="solid"/>
                    </a:lnR>
                    <a:solidFill>
                      <a:srgbClr val="E7EFF3"/>
                    </a:solidFill>
                  </a:tcPr>
                </a:tc>
                <a:tc hMerge="1">
                  <a:txBody>
                    <a:bodyPr/>
                    <a:lstStyle/>
                    <a:p>
                      <a:endParaRPr/>
                    </a:p>
                  </a:txBody>
                  <a:tcPr marL="0" marR="0" marT="0" marB="0"/>
                </a:tc>
                <a:tc hMerge="1">
                  <a:txBody>
                    <a:bodyPr/>
                    <a:lstStyle/>
                    <a:p>
                      <a:endParaRPr/>
                    </a:p>
                  </a:txBody>
                  <a:tcPr marL="0" marR="0" marT="0" marB="0"/>
                </a:tc>
                <a:tc gridSpan="3">
                  <a:txBody>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marL="114300">
                        <a:lnSpc>
                          <a:spcPct val="100000"/>
                        </a:lnSpc>
                        <a:spcBef>
                          <a:spcPts val="1065"/>
                        </a:spcBef>
                      </a:pPr>
                      <a:r>
                        <a:rPr sz="900" b="1">
                          <a:latin typeface="Calibri"/>
                          <a:cs typeface="Calibri"/>
                        </a:rPr>
                        <a:t>Air</a:t>
                      </a:r>
                      <a:r>
                        <a:rPr sz="900" b="1" spc="180">
                          <a:latin typeface="Calibri"/>
                          <a:cs typeface="Calibri"/>
                        </a:rPr>
                        <a:t> </a:t>
                      </a:r>
                      <a:r>
                        <a:rPr sz="900" b="1">
                          <a:latin typeface="Calibri"/>
                          <a:cs typeface="Calibri"/>
                        </a:rPr>
                        <a:t>Canada</a:t>
                      </a:r>
                      <a:r>
                        <a:rPr sz="900" b="1" spc="185">
                          <a:latin typeface="Calibri"/>
                          <a:cs typeface="Calibri"/>
                        </a:rPr>
                        <a:t> </a:t>
                      </a:r>
                      <a:r>
                        <a:rPr sz="900" b="1" spc="-20">
                          <a:latin typeface="Calibri"/>
                          <a:cs typeface="Calibri"/>
                        </a:rPr>
                        <a:t>Rouge</a:t>
                      </a:r>
                      <a:endParaRPr sz="900">
                        <a:latin typeface="Calibri"/>
                        <a:cs typeface="Calibri"/>
                      </a:endParaRPr>
                    </a:p>
                  </a:txBody>
                  <a:tcPr marL="0" marR="0" marT="0" marB="0">
                    <a:lnL w="3175">
                      <a:solidFill>
                        <a:srgbClr val="000000"/>
                      </a:solidFill>
                      <a:prstDash val="solid"/>
                    </a:lnL>
                    <a:lnR w="3175">
                      <a:solidFill>
                        <a:srgbClr val="000000"/>
                      </a:solidFill>
                      <a:prstDash val="solid"/>
                    </a:lnR>
                    <a:solidFill>
                      <a:srgbClr val="E7EFF3"/>
                    </a:solidFill>
                  </a:tcPr>
                </a:tc>
                <a:tc hMerge="1">
                  <a:txBody>
                    <a:bodyPr/>
                    <a:lstStyle/>
                    <a:p>
                      <a:endParaRPr/>
                    </a:p>
                  </a:txBody>
                  <a:tcPr marL="0" marR="0" marT="0" marB="0"/>
                </a:tc>
                <a:tc hMerge="1">
                  <a:txBody>
                    <a:bodyPr/>
                    <a:lstStyle/>
                    <a:p>
                      <a:endParaRPr/>
                    </a:p>
                  </a:txBody>
                  <a:tcPr marL="0" marR="0" marT="0" marB="0"/>
                </a:tc>
                <a:tc gridSpan="3">
                  <a:txBody>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marL="114300">
                        <a:lnSpc>
                          <a:spcPct val="100000"/>
                        </a:lnSpc>
                        <a:spcBef>
                          <a:spcPts val="1065"/>
                        </a:spcBef>
                      </a:pPr>
                      <a:r>
                        <a:rPr sz="900" b="1">
                          <a:latin typeface="Calibri"/>
                          <a:cs typeface="Calibri"/>
                        </a:rPr>
                        <a:t>Air</a:t>
                      </a:r>
                      <a:r>
                        <a:rPr sz="900" b="1" spc="180">
                          <a:latin typeface="Calibri"/>
                          <a:cs typeface="Calibri"/>
                        </a:rPr>
                        <a:t> </a:t>
                      </a:r>
                      <a:r>
                        <a:rPr sz="900" b="1">
                          <a:latin typeface="Calibri"/>
                          <a:cs typeface="Calibri"/>
                        </a:rPr>
                        <a:t>Canada</a:t>
                      </a:r>
                      <a:r>
                        <a:rPr sz="900" b="1" spc="185">
                          <a:latin typeface="Calibri"/>
                          <a:cs typeface="Calibri"/>
                        </a:rPr>
                        <a:t> </a:t>
                      </a:r>
                      <a:r>
                        <a:rPr sz="900" b="1" spc="-10">
                          <a:latin typeface="Calibri"/>
                          <a:cs typeface="Calibri"/>
                        </a:rPr>
                        <a:t>Express</a:t>
                      </a:r>
                      <a:endParaRPr sz="900">
                        <a:latin typeface="Calibri"/>
                        <a:cs typeface="Calibri"/>
                      </a:endParaRPr>
                    </a:p>
                  </a:txBody>
                  <a:tcPr marL="0" marR="0" marT="0" marB="0">
                    <a:lnL w="3175">
                      <a:solidFill>
                        <a:srgbClr val="000000"/>
                      </a:solidFill>
                      <a:prstDash val="solid"/>
                    </a:lnL>
                    <a:solidFill>
                      <a:srgbClr val="E7EFF3"/>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79294">
                <a:tc gridSpan="2">
                  <a:txBody>
                    <a:bodyPr/>
                    <a:lstStyle/>
                    <a:p>
                      <a:pPr marR="29845" algn="r">
                        <a:lnSpc>
                          <a:spcPct val="100000"/>
                        </a:lnSpc>
                        <a:spcBef>
                          <a:spcPts val="300"/>
                        </a:spcBef>
                      </a:pPr>
                      <a:r>
                        <a:rPr sz="700" spc="70">
                          <a:solidFill>
                            <a:srgbClr val="FFFFFF"/>
                          </a:solidFill>
                          <a:latin typeface="Calibri"/>
                          <a:cs typeface="Calibri"/>
                        </a:rPr>
                        <a:t>ON</a:t>
                      </a:r>
                      <a:r>
                        <a:rPr sz="700">
                          <a:solidFill>
                            <a:srgbClr val="FFFFFF"/>
                          </a:solidFill>
                          <a:latin typeface="Calibri"/>
                          <a:cs typeface="Calibri"/>
                        </a:rPr>
                        <a:t> </a:t>
                      </a:r>
                      <a:r>
                        <a:rPr sz="700" spc="-10">
                          <a:solidFill>
                            <a:srgbClr val="FFFFFF"/>
                          </a:solidFill>
                          <a:latin typeface="Calibri"/>
                          <a:cs typeface="Calibri"/>
                        </a:rPr>
                        <a:t>ORDER</a:t>
                      </a:r>
                      <a:endParaRPr sz="700">
                        <a:latin typeface="Calibri"/>
                        <a:cs typeface="Calibri"/>
                      </a:endParaRPr>
                    </a:p>
                  </a:txBody>
                  <a:tcPr marL="0" marR="0" marT="33618" marB="0">
                    <a:solidFill>
                      <a:srgbClr val="939598"/>
                    </a:solidFill>
                  </a:tcPr>
                </a:tc>
                <a:tc hMerge="1">
                  <a:txBody>
                    <a:bodyPr/>
                    <a:lstStyle/>
                    <a:p>
                      <a:endParaRPr/>
                    </a:p>
                  </a:txBody>
                  <a:tcPr marL="0" marR="0" marT="0" marB="0"/>
                </a:tc>
                <a:tc>
                  <a:txBody>
                    <a:bodyPr/>
                    <a:lstStyle/>
                    <a:p>
                      <a:pPr marL="29209">
                        <a:lnSpc>
                          <a:spcPct val="100000"/>
                        </a:lnSpc>
                        <a:spcBef>
                          <a:spcPts val="300"/>
                        </a:spcBef>
                      </a:pPr>
                      <a:r>
                        <a:rPr sz="700" spc="-10">
                          <a:solidFill>
                            <a:srgbClr val="FFFFFF"/>
                          </a:solidFill>
                          <a:latin typeface="Calibri"/>
                          <a:cs typeface="Calibri"/>
                        </a:rPr>
                        <a:t>OPERATING</a:t>
                      </a:r>
                      <a:endParaRPr sz="700">
                        <a:latin typeface="Calibri"/>
                        <a:cs typeface="Calibri"/>
                      </a:endParaRPr>
                    </a:p>
                  </a:txBody>
                  <a:tcPr marL="0" marR="0" marT="33618" marB="0">
                    <a:solidFill>
                      <a:srgbClr val="000000"/>
                    </a:solidFill>
                  </a:tcPr>
                </a:tc>
                <a:tc gridSpan="2">
                  <a:txBody>
                    <a:bodyPr/>
                    <a:lstStyle/>
                    <a:p>
                      <a:pPr marR="29845" algn="r">
                        <a:lnSpc>
                          <a:spcPct val="100000"/>
                        </a:lnSpc>
                        <a:spcBef>
                          <a:spcPts val="300"/>
                        </a:spcBef>
                      </a:pPr>
                      <a:r>
                        <a:rPr sz="700" spc="70">
                          <a:solidFill>
                            <a:srgbClr val="FFFFFF"/>
                          </a:solidFill>
                          <a:latin typeface="Calibri"/>
                          <a:cs typeface="Calibri"/>
                        </a:rPr>
                        <a:t>ON</a:t>
                      </a:r>
                      <a:r>
                        <a:rPr sz="700">
                          <a:solidFill>
                            <a:srgbClr val="FFFFFF"/>
                          </a:solidFill>
                          <a:latin typeface="Calibri"/>
                          <a:cs typeface="Calibri"/>
                        </a:rPr>
                        <a:t> </a:t>
                      </a:r>
                      <a:r>
                        <a:rPr sz="700" spc="-10">
                          <a:solidFill>
                            <a:srgbClr val="FFFFFF"/>
                          </a:solidFill>
                          <a:latin typeface="Calibri"/>
                          <a:cs typeface="Calibri"/>
                        </a:rPr>
                        <a:t>ORDER</a:t>
                      </a:r>
                      <a:endParaRPr sz="700">
                        <a:latin typeface="Calibri"/>
                        <a:cs typeface="Calibri"/>
                      </a:endParaRPr>
                    </a:p>
                  </a:txBody>
                  <a:tcPr marL="0" marR="0" marT="33618" marB="0">
                    <a:solidFill>
                      <a:srgbClr val="939598"/>
                    </a:solidFill>
                  </a:tcPr>
                </a:tc>
                <a:tc hMerge="1">
                  <a:txBody>
                    <a:bodyPr/>
                    <a:lstStyle/>
                    <a:p>
                      <a:endParaRPr/>
                    </a:p>
                  </a:txBody>
                  <a:tcPr marL="0" marR="0" marT="0" marB="0"/>
                </a:tc>
                <a:tc>
                  <a:txBody>
                    <a:bodyPr/>
                    <a:lstStyle/>
                    <a:p>
                      <a:pPr marL="29209">
                        <a:lnSpc>
                          <a:spcPct val="100000"/>
                        </a:lnSpc>
                        <a:spcBef>
                          <a:spcPts val="300"/>
                        </a:spcBef>
                      </a:pPr>
                      <a:r>
                        <a:rPr sz="700" spc="-10">
                          <a:solidFill>
                            <a:srgbClr val="FFFFFF"/>
                          </a:solidFill>
                          <a:latin typeface="Calibri"/>
                          <a:cs typeface="Calibri"/>
                        </a:rPr>
                        <a:t>OPERATING</a:t>
                      </a:r>
                      <a:endParaRPr sz="700">
                        <a:latin typeface="Calibri"/>
                        <a:cs typeface="Calibri"/>
                      </a:endParaRPr>
                    </a:p>
                  </a:txBody>
                  <a:tcPr marL="0" marR="0" marT="33618" marB="0">
                    <a:solidFill>
                      <a:srgbClr val="000000"/>
                    </a:solidFill>
                  </a:tcPr>
                </a:tc>
                <a:tc gridSpan="2">
                  <a:txBody>
                    <a:bodyPr/>
                    <a:lstStyle/>
                    <a:p>
                      <a:pPr marR="29845" algn="r">
                        <a:lnSpc>
                          <a:spcPct val="100000"/>
                        </a:lnSpc>
                        <a:spcBef>
                          <a:spcPts val="300"/>
                        </a:spcBef>
                      </a:pPr>
                      <a:r>
                        <a:rPr sz="700" spc="70">
                          <a:solidFill>
                            <a:srgbClr val="FFFFFF"/>
                          </a:solidFill>
                          <a:latin typeface="Calibri"/>
                          <a:cs typeface="Calibri"/>
                        </a:rPr>
                        <a:t>ON</a:t>
                      </a:r>
                      <a:r>
                        <a:rPr sz="700">
                          <a:solidFill>
                            <a:srgbClr val="FFFFFF"/>
                          </a:solidFill>
                          <a:latin typeface="Calibri"/>
                          <a:cs typeface="Calibri"/>
                        </a:rPr>
                        <a:t> </a:t>
                      </a:r>
                      <a:r>
                        <a:rPr sz="700" spc="-10">
                          <a:solidFill>
                            <a:srgbClr val="FFFFFF"/>
                          </a:solidFill>
                          <a:latin typeface="Calibri"/>
                          <a:cs typeface="Calibri"/>
                        </a:rPr>
                        <a:t>ORDER</a:t>
                      </a:r>
                      <a:endParaRPr sz="700">
                        <a:latin typeface="Calibri"/>
                        <a:cs typeface="Calibri"/>
                      </a:endParaRPr>
                    </a:p>
                  </a:txBody>
                  <a:tcPr marL="0" marR="0" marT="33618" marB="0">
                    <a:solidFill>
                      <a:srgbClr val="939598"/>
                    </a:solidFill>
                  </a:tcPr>
                </a:tc>
                <a:tc hMerge="1">
                  <a:txBody>
                    <a:bodyPr/>
                    <a:lstStyle/>
                    <a:p>
                      <a:endParaRPr/>
                    </a:p>
                  </a:txBody>
                  <a:tcPr marL="0" marR="0" marT="0" marB="0"/>
                </a:tc>
                <a:tc>
                  <a:txBody>
                    <a:bodyPr/>
                    <a:lstStyle/>
                    <a:p>
                      <a:pPr marL="28575">
                        <a:lnSpc>
                          <a:spcPct val="100000"/>
                        </a:lnSpc>
                        <a:spcBef>
                          <a:spcPts val="300"/>
                        </a:spcBef>
                      </a:pPr>
                      <a:r>
                        <a:rPr sz="700" spc="-10">
                          <a:solidFill>
                            <a:srgbClr val="FFFFFF"/>
                          </a:solidFill>
                          <a:latin typeface="Calibri"/>
                          <a:cs typeface="Calibri"/>
                        </a:rPr>
                        <a:t>OPERATING</a:t>
                      </a:r>
                      <a:endParaRPr sz="700">
                        <a:latin typeface="Calibri"/>
                        <a:cs typeface="Calibri"/>
                      </a:endParaRPr>
                    </a:p>
                  </a:txBody>
                  <a:tcPr marL="0" marR="0" marT="33618" marB="0">
                    <a:solidFill>
                      <a:srgbClr val="000000"/>
                    </a:solidFill>
                  </a:tcPr>
                </a:tc>
                <a:extLst>
                  <a:ext uri="{0D108BD9-81ED-4DB2-BD59-A6C34878D82A}">
                    <a16:rowId xmlns:a16="http://schemas.microsoft.com/office/drawing/2014/main" val="10001"/>
                  </a:ext>
                </a:extLst>
              </a:tr>
              <a:tr h="268381">
                <a:tc>
                  <a:txBody>
                    <a:bodyPr/>
                    <a:lstStyle/>
                    <a:p>
                      <a:pPr marL="76200">
                        <a:lnSpc>
                          <a:spcPct val="100000"/>
                        </a:lnSpc>
                        <a:spcBef>
                          <a:spcPts val="640"/>
                        </a:spcBef>
                      </a:pPr>
                      <a:r>
                        <a:rPr sz="800">
                          <a:latin typeface="Calibri"/>
                          <a:cs typeface="Calibri"/>
                        </a:rPr>
                        <a:t>Boeing</a:t>
                      </a:r>
                      <a:r>
                        <a:rPr sz="800" spc="45">
                          <a:latin typeface="Calibri"/>
                          <a:cs typeface="Calibri"/>
                        </a:rPr>
                        <a:t> </a:t>
                      </a:r>
                      <a:r>
                        <a:rPr sz="800" spc="-10">
                          <a:latin typeface="Calibri"/>
                          <a:cs typeface="Calibri"/>
                        </a:rPr>
                        <a:t>777-300ER</a:t>
                      </a:r>
                      <a:endParaRPr sz="800">
                        <a:latin typeface="Calibri"/>
                        <a:cs typeface="Calibri"/>
                      </a:endParaRPr>
                    </a:p>
                  </a:txBody>
                  <a:tcPr marL="0" marR="0" marT="71718" marB="0">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B w="9525">
                      <a:solidFill>
                        <a:srgbClr val="E6E6E6"/>
                      </a:solidFill>
                      <a:prstDash val="solid"/>
                    </a:lnB>
                  </a:tcPr>
                </a:tc>
                <a:tc>
                  <a:txBody>
                    <a:bodyPr/>
                    <a:lstStyle/>
                    <a:p>
                      <a:pPr marR="15875" algn="ctr">
                        <a:lnSpc>
                          <a:spcPct val="100000"/>
                        </a:lnSpc>
                        <a:spcBef>
                          <a:spcPts val="640"/>
                        </a:spcBef>
                      </a:pPr>
                      <a:r>
                        <a:rPr sz="800" spc="-25">
                          <a:latin typeface="Calibri"/>
                          <a:cs typeface="Calibri"/>
                        </a:rPr>
                        <a:t>18</a:t>
                      </a:r>
                      <a:endParaRPr sz="800">
                        <a:latin typeface="Calibri"/>
                        <a:cs typeface="Calibri"/>
                      </a:endParaRPr>
                    </a:p>
                  </a:txBody>
                  <a:tcPr marL="0" marR="0" marT="71718" marB="0">
                    <a:lnL w="9525">
                      <a:solidFill>
                        <a:srgbClr val="E6E6E6"/>
                      </a:solidFill>
                      <a:prstDash val="solid"/>
                    </a:lnL>
                    <a:lnR w="3175">
                      <a:solidFill>
                        <a:srgbClr val="000000"/>
                      </a:solidFill>
                      <a:prstDash val="solid"/>
                    </a:lnR>
                    <a:lnB w="9525">
                      <a:solidFill>
                        <a:srgbClr val="E6E6E6"/>
                      </a:solidFill>
                      <a:prstDash val="solid"/>
                    </a:lnB>
                  </a:tcPr>
                </a:tc>
                <a:tc>
                  <a:txBody>
                    <a:bodyPr/>
                    <a:lstStyle/>
                    <a:p>
                      <a:pPr marL="38100">
                        <a:lnSpc>
                          <a:spcPct val="100000"/>
                        </a:lnSpc>
                        <a:spcBef>
                          <a:spcPts val="640"/>
                        </a:spcBef>
                      </a:pPr>
                      <a:r>
                        <a:rPr sz="800">
                          <a:latin typeface="Calibri"/>
                          <a:cs typeface="Calibri"/>
                        </a:rPr>
                        <a:t>Airbus</a:t>
                      </a:r>
                      <a:r>
                        <a:rPr sz="800" spc="25">
                          <a:latin typeface="Calibri"/>
                          <a:cs typeface="Calibri"/>
                        </a:rPr>
                        <a:t> </a:t>
                      </a:r>
                      <a:r>
                        <a:rPr sz="800" spc="-20">
                          <a:latin typeface="Calibri"/>
                          <a:cs typeface="Calibri"/>
                        </a:rPr>
                        <a:t>A321</a:t>
                      </a:r>
                      <a:endParaRPr sz="800">
                        <a:latin typeface="Calibri"/>
                        <a:cs typeface="Calibri"/>
                      </a:endParaRPr>
                    </a:p>
                  </a:txBody>
                  <a:tcPr marL="0" marR="0" marT="71718" marB="0">
                    <a:lnL w="3175">
                      <a:solidFill>
                        <a:srgbClr val="000000"/>
                      </a:solidFill>
                      <a:prstDash val="solid"/>
                    </a:lnL>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B w="9525">
                      <a:solidFill>
                        <a:srgbClr val="E6E6E6"/>
                      </a:solidFill>
                      <a:prstDash val="solid"/>
                    </a:lnB>
                  </a:tcPr>
                </a:tc>
                <a:tc>
                  <a:txBody>
                    <a:bodyPr/>
                    <a:lstStyle/>
                    <a:p>
                      <a:pPr marR="15240" algn="ctr">
                        <a:lnSpc>
                          <a:spcPct val="100000"/>
                        </a:lnSpc>
                        <a:spcBef>
                          <a:spcPts val="640"/>
                        </a:spcBef>
                      </a:pPr>
                      <a:r>
                        <a:rPr sz="800" spc="-25">
                          <a:latin typeface="Calibri"/>
                          <a:cs typeface="Calibri"/>
                        </a:rPr>
                        <a:t>14</a:t>
                      </a:r>
                      <a:endParaRPr sz="800">
                        <a:latin typeface="Calibri"/>
                        <a:cs typeface="Calibri"/>
                      </a:endParaRPr>
                    </a:p>
                  </a:txBody>
                  <a:tcPr marL="0" marR="0" marT="71718" marB="0">
                    <a:lnL w="9525">
                      <a:solidFill>
                        <a:srgbClr val="E6E6E6"/>
                      </a:solidFill>
                      <a:prstDash val="solid"/>
                    </a:lnL>
                    <a:lnR w="3175">
                      <a:solidFill>
                        <a:srgbClr val="000000"/>
                      </a:solidFill>
                      <a:prstDash val="solid"/>
                    </a:lnR>
                    <a:lnB w="9525">
                      <a:solidFill>
                        <a:srgbClr val="E6E6E6"/>
                      </a:solidFill>
                      <a:prstDash val="solid"/>
                    </a:lnB>
                  </a:tcPr>
                </a:tc>
                <a:tc>
                  <a:txBody>
                    <a:bodyPr/>
                    <a:lstStyle/>
                    <a:p>
                      <a:pPr marL="76200">
                        <a:lnSpc>
                          <a:spcPct val="100000"/>
                        </a:lnSpc>
                        <a:spcBef>
                          <a:spcPts val="640"/>
                        </a:spcBef>
                      </a:pPr>
                      <a:r>
                        <a:rPr sz="800">
                          <a:latin typeface="Calibri"/>
                          <a:cs typeface="Calibri"/>
                        </a:rPr>
                        <a:t>Embraer</a:t>
                      </a:r>
                      <a:r>
                        <a:rPr sz="800" spc="-25">
                          <a:latin typeface="Calibri"/>
                          <a:cs typeface="Calibri"/>
                        </a:rPr>
                        <a:t> 175</a:t>
                      </a:r>
                      <a:endParaRPr sz="800">
                        <a:latin typeface="Calibri"/>
                        <a:cs typeface="Calibri"/>
                      </a:endParaRPr>
                    </a:p>
                  </a:txBody>
                  <a:tcPr marL="0" marR="0" marT="71718" marB="0">
                    <a:lnL w="3175">
                      <a:solidFill>
                        <a:srgbClr val="000000"/>
                      </a:solidFill>
                      <a:prstDash val="solid"/>
                    </a:lnL>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B w="9525">
                      <a:solidFill>
                        <a:srgbClr val="E6E6E6"/>
                      </a:solidFill>
                      <a:prstDash val="solid"/>
                    </a:lnB>
                  </a:tcPr>
                </a:tc>
                <a:tc>
                  <a:txBody>
                    <a:bodyPr/>
                    <a:lstStyle/>
                    <a:p>
                      <a:pPr marR="22225" algn="ctr">
                        <a:lnSpc>
                          <a:spcPct val="100000"/>
                        </a:lnSpc>
                        <a:spcBef>
                          <a:spcPts val="640"/>
                        </a:spcBef>
                      </a:pPr>
                      <a:r>
                        <a:rPr sz="800" spc="-25">
                          <a:latin typeface="Calibri"/>
                          <a:cs typeface="Calibri"/>
                        </a:rPr>
                        <a:t>25</a:t>
                      </a:r>
                      <a:endParaRPr sz="800">
                        <a:latin typeface="Calibri"/>
                        <a:cs typeface="Calibri"/>
                      </a:endParaRPr>
                    </a:p>
                  </a:txBody>
                  <a:tcPr marL="0" marR="0" marT="71718" marB="0">
                    <a:lnL w="9525">
                      <a:solidFill>
                        <a:srgbClr val="E6E6E6"/>
                      </a:solidFill>
                      <a:prstDash val="solid"/>
                    </a:lnL>
                    <a:lnB w="9525">
                      <a:solidFill>
                        <a:srgbClr val="E6E6E6"/>
                      </a:solidFill>
                      <a:prstDash val="solid"/>
                    </a:lnB>
                  </a:tcPr>
                </a:tc>
                <a:extLst>
                  <a:ext uri="{0D108BD9-81ED-4DB2-BD59-A6C34878D82A}">
                    <a16:rowId xmlns:a16="http://schemas.microsoft.com/office/drawing/2014/main" val="10002"/>
                  </a:ext>
                </a:extLst>
              </a:tr>
              <a:tr h="268941">
                <a:tc>
                  <a:txBody>
                    <a:bodyPr/>
                    <a:lstStyle/>
                    <a:p>
                      <a:pPr marL="76200">
                        <a:lnSpc>
                          <a:spcPct val="100000"/>
                        </a:lnSpc>
                        <a:spcBef>
                          <a:spcPts val="640"/>
                        </a:spcBef>
                      </a:pPr>
                      <a:r>
                        <a:rPr sz="800">
                          <a:latin typeface="Calibri"/>
                          <a:cs typeface="Calibri"/>
                        </a:rPr>
                        <a:t>Boeing</a:t>
                      </a:r>
                      <a:r>
                        <a:rPr sz="800" spc="55">
                          <a:latin typeface="Calibri"/>
                          <a:cs typeface="Calibri"/>
                        </a:rPr>
                        <a:t> </a:t>
                      </a:r>
                      <a:r>
                        <a:rPr sz="800" spc="-10">
                          <a:latin typeface="Calibri"/>
                          <a:cs typeface="Calibri"/>
                        </a:rPr>
                        <a:t>777-200LR</a:t>
                      </a:r>
                      <a:endParaRPr sz="800">
                        <a:latin typeface="Calibri"/>
                        <a:cs typeface="Calibri"/>
                      </a:endParaRPr>
                    </a:p>
                  </a:txBody>
                  <a:tcPr marL="0" marR="0" marT="71718" marB="0">
                    <a:lnT w="9525">
                      <a:solidFill>
                        <a:srgbClr val="FFFFFF"/>
                      </a:solidFill>
                      <a:prstDash val="solid"/>
                    </a:lnT>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L="26670" algn="ctr">
                        <a:lnSpc>
                          <a:spcPct val="100000"/>
                        </a:lnSpc>
                        <a:spcBef>
                          <a:spcPts val="640"/>
                        </a:spcBef>
                      </a:pPr>
                      <a:r>
                        <a:rPr sz="800">
                          <a:latin typeface="Calibri"/>
                          <a:cs typeface="Calibri"/>
                        </a:rPr>
                        <a:t>6</a:t>
                      </a:r>
                    </a:p>
                  </a:txBody>
                  <a:tcPr marL="0" marR="0" marT="71718" marB="0">
                    <a:lnL w="9525">
                      <a:solidFill>
                        <a:srgbClr val="E6E6E6"/>
                      </a:solidFill>
                      <a:prstDash val="solid"/>
                    </a:lnL>
                    <a:lnR w="3175">
                      <a:solidFill>
                        <a:srgbClr val="000000"/>
                      </a:solidFill>
                      <a:prstDash val="solid"/>
                    </a:lnR>
                    <a:lnT w="9525">
                      <a:solidFill>
                        <a:srgbClr val="E6E6E6"/>
                      </a:solidFill>
                      <a:prstDash val="solid"/>
                    </a:lnT>
                    <a:lnB w="9525">
                      <a:solidFill>
                        <a:srgbClr val="E6E6E6"/>
                      </a:solidFill>
                      <a:prstDash val="solid"/>
                    </a:lnB>
                  </a:tcPr>
                </a:tc>
                <a:tc>
                  <a:txBody>
                    <a:bodyPr/>
                    <a:lstStyle/>
                    <a:p>
                      <a:pPr marL="38100">
                        <a:lnSpc>
                          <a:spcPct val="100000"/>
                        </a:lnSpc>
                        <a:spcBef>
                          <a:spcPts val="640"/>
                        </a:spcBef>
                      </a:pPr>
                      <a:r>
                        <a:rPr sz="800">
                          <a:latin typeface="Calibri"/>
                          <a:cs typeface="Calibri"/>
                        </a:rPr>
                        <a:t>Airbus</a:t>
                      </a:r>
                      <a:r>
                        <a:rPr sz="800" spc="235">
                          <a:latin typeface="Calibri"/>
                          <a:cs typeface="Calibri"/>
                        </a:rPr>
                        <a:t> </a:t>
                      </a:r>
                      <a:r>
                        <a:rPr sz="800">
                          <a:latin typeface="Calibri"/>
                          <a:cs typeface="Calibri"/>
                        </a:rPr>
                        <a:t>A320-</a:t>
                      </a:r>
                      <a:r>
                        <a:rPr sz="800" spc="-25">
                          <a:latin typeface="Calibri"/>
                          <a:cs typeface="Calibri"/>
                        </a:rPr>
                        <a:t>200</a:t>
                      </a:r>
                      <a:endParaRPr sz="800">
                        <a:latin typeface="Calibri"/>
                        <a:cs typeface="Calibri"/>
                      </a:endParaRPr>
                    </a:p>
                  </a:txBody>
                  <a:tcPr marL="0" marR="0" marT="71718" marB="0">
                    <a:lnL w="3175">
                      <a:solidFill>
                        <a:srgbClr val="000000"/>
                      </a:solidFill>
                      <a:prstDash val="solid"/>
                    </a:lnL>
                    <a:lnT w="9525">
                      <a:solidFill>
                        <a:srgbClr val="FFFFFF"/>
                      </a:solidFill>
                      <a:prstDash val="solid"/>
                    </a:lnT>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L="29845" algn="ctr">
                        <a:lnSpc>
                          <a:spcPct val="100000"/>
                        </a:lnSpc>
                        <a:spcBef>
                          <a:spcPts val="640"/>
                        </a:spcBef>
                      </a:pPr>
                      <a:r>
                        <a:rPr sz="800">
                          <a:latin typeface="Calibri"/>
                          <a:cs typeface="Calibri"/>
                        </a:rPr>
                        <a:t>5</a:t>
                      </a:r>
                    </a:p>
                  </a:txBody>
                  <a:tcPr marL="0" marR="0" marT="71718" marB="0">
                    <a:lnL w="9525">
                      <a:solidFill>
                        <a:srgbClr val="E6E6E6"/>
                      </a:solidFill>
                      <a:prstDash val="solid"/>
                    </a:lnL>
                    <a:lnR w="3175">
                      <a:solidFill>
                        <a:srgbClr val="000000"/>
                      </a:solidFill>
                      <a:prstDash val="solid"/>
                    </a:lnR>
                    <a:lnT w="9525">
                      <a:solidFill>
                        <a:srgbClr val="E6E6E6"/>
                      </a:solidFill>
                      <a:prstDash val="solid"/>
                    </a:lnT>
                    <a:lnB w="9525">
                      <a:solidFill>
                        <a:srgbClr val="E6E6E6"/>
                      </a:solidFill>
                      <a:prstDash val="solid"/>
                    </a:lnB>
                  </a:tcPr>
                </a:tc>
                <a:tc>
                  <a:txBody>
                    <a:bodyPr/>
                    <a:lstStyle/>
                    <a:p>
                      <a:pPr marL="76200">
                        <a:lnSpc>
                          <a:spcPct val="100000"/>
                        </a:lnSpc>
                        <a:spcBef>
                          <a:spcPts val="640"/>
                        </a:spcBef>
                      </a:pPr>
                      <a:r>
                        <a:rPr sz="800">
                          <a:latin typeface="Calibri"/>
                          <a:cs typeface="Calibri"/>
                        </a:rPr>
                        <a:t>Mitsubishi</a:t>
                      </a:r>
                      <a:r>
                        <a:rPr sz="800" spc="140">
                          <a:latin typeface="Calibri"/>
                          <a:cs typeface="Calibri"/>
                        </a:rPr>
                        <a:t> </a:t>
                      </a:r>
                      <a:r>
                        <a:rPr sz="800">
                          <a:latin typeface="Calibri"/>
                          <a:cs typeface="Calibri"/>
                        </a:rPr>
                        <a:t>CRJ-</a:t>
                      </a:r>
                      <a:r>
                        <a:rPr sz="800" spc="25">
                          <a:latin typeface="Calibri"/>
                          <a:cs typeface="Calibri"/>
                        </a:rPr>
                        <a:t>900</a:t>
                      </a:r>
                      <a:endParaRPr sz="800">
                        <a:latin typeface="Calibri"/>
                        <a:cs typeface="Calibri"/>
                      </a:endParaRPr>
                    </a:p>
                  </a:txBody>
                  <a:tcPr marL="0" marR="0" marT="71718" marB="0">
                    <a:lnL w="3175">
                      <a:solidFill>
                        <a:srgbClr val="000000"/>
                      </a:solidFill>
                      <a:prstDash val="solid"/>
                    </a:lnL>
                    <a:lnT w="9525">
                      <a:solidFill>
                        <a:srgbClr val="FFFFFF"/>
                      </a:solidFill>
                      <a:prstDash val="solid"/>
                    </a:lnT>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R="24765" algn="ctr">
                        <a:lnSpc>
                          <a:spcPct val="100000"/>
                        </a:lnSpc>
                        <a:spcBef>
                          <a:spcPts val="640"/>
                        </a:spcBef>
                      </a:pPr>
                      <a:r>
                        <a:rPr sz="800" spc="-25">
                          <a:latin typeface="Calibri"/>
                          <a:cs typeface="Calibri"/>
                        </a:rPr>
                        <a:t>35</a:t>
                      </a:r>
                      <a:endParaRPr sz="800">
                        <a:latin typeface="Calibri"/>
                        <a:cs typeface="Calibri"/>
                      </a:endParaRPr>
                    </a:p>
                  </a:txBody>
                  <a:tcPr marL="0" marR="0" marT="71718" marB="0">
                    <a:lnL w="9525">
                      <a:solidFill>
                        <a:srgbClr val="E6E6E6"/>
                      </a:solidFill>
                      <a:prstDash val="solid"/>
                    </a:lnL>
                    <a:lnT w="9525">
                      <a:solidFill>
                        <a:srgbClr val="E6E6E6"/>
                      </a:solidFill>
                      <a:prstDash val="solid"/>
                    </a:lnT>
                    <a:lnB w="9525">
                      <a:solidFill>
                        <a:srgbClr val="E6E6E6"/>
                      </a:solidFill>
                      <a:prstDash val="solid"/>
                    </a:lnB>
                  </a:tcPr>
                </a:tc>
                <a:extLst>
                  <a:ext uri="{0D108BD9-81ED-4DB2-BD59-A6C34878D82A}">
                    <a16:rowId xmlns:a16="http://schemas.microsoft.com/office/drawing/2014/main" val="10003"/>
                  </a:ext>
                </a:extLst>
              </a:tr>
              <a:tr h="268941">
                <a:tc>
                  <a:txBody>
                    <a:bodyPr/>
                    <a:lstStyle/>
                    <a:p>
                      <a:pPr marL="76200">
                        <a:lnSpc>
                          <a:spcPct val="100000"/>
                        </a:lnSpc>
                        <a:spcBef>
                          <a:spcPts val="640"/>
                        </a:spcBef>
                      </a:pPr>
                      <a:r>
                        <a:rPr sz="800">
                          <a:latin typeface="Calibri"/>
                          <a:cs typeface="Calibri"/>
                        </a:rPr>
                        <a:t>Boeing</a:t>
                      </a:r>
                      <a:r>
                        <a:rPr sz="800" spc="35">
                          <a:latin typeface="Calibri"/>
                          <a:cs typeface="Calibri"/>
                        </a:rPr>
                        <a:t> </a:t>
                      </a:r>
                      <a:r>
                        <a:rPr sz="800">
                          <a:latin typeface="Calibri"/>
                          <a:cs typeface="Calibri"/>
                        </a:rPr>
                        <a:t>787-</a:t>
                      </a:r>
                      <a:r>
                        <a:rPr sz="800" spc="-50">
                          <a:latin typeface="Calibri"/>
                          <a:cs typeface="Calibri"/>
                        </a:rPr>
                        <a:t>8</a:t>
                      </a:r>
                      <a:endParaRPr sz="800">
                        <a:latin typeface="Calibri"/>
                        <a:cs typeface="Calibri"/>
                      </a:endParaRPr>
                    </a:p>
                  </a:txBody>
                  <a:tcPr marL="0" marR="0" marT="71718" marB="0">
                    <a:lnT w="9525">
                      <a:solidFill>
                        <a:srgbClr val="FFFFFF"/>
                      </a:solidFill>
                      <a:prstDash val="solid"/>
                    </a:lnT>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L="24765" algn="ctr">
                        <a:lnSpc>
                          <a:spcPct val="100000"/>
                        </a:lnSpc>
                        <a:spcBef>
                          <a:spcPts val="640"/>
                        </a:spcBef>
                      </a:pPr>
                      <a:r>
                        <a:rPr sz="800">
                          <a:latin typeface="Calibri"/>
                          <a:cs typeface="Calibri"/>
                        </a:rPr>
                        <a:t>8</a:t>
                      </a:r>
                    </a:p>
                  </a:txBody>
                  <a:tcPr marL="0" marR="0" marT="71718" marB="0">
                    <a:lnL w="9525">
                      <a:solidFill>
                        <a:srgbClr val="E6E6E6"/>
                      </a:solidFill>
                      <a:prstDash val="solid"/>
                    </a:lnL>
                    <a:lnR w="3175">
                      <a:solidFill>
                        <a:srgbClr val="000000"/>
                      </a:solidFill>
                      <a:prstDash val="solid"/>
                    </a:lnR>
                    <a:lnT w="9525">
                      <a:solidFill>
                        <a:srgbClr val="E6E6E6"/>
                      </a:solidFill>
                      <a:prstDash val="solid"/>
                    </a:lnT>
                    <a:lnB w="9525">
                      <a:solidFill>
                        <a:srgbClr val="E6E6E6"/>
                      </a:solidFill>
                      <a:prstDash val="solid"/>
                    </a:lnB>
                  </a:tcPr>
                </a:tc>
                <a:tc>
                  <a:txBody>
                    <a:bodyPr/>
                    <a:lstStyle/>
                    <a:p>
                      <a:pPr marL="38100">
                        <a:lnSpc>
                          <a:spcPct val="100000"/>
                        </a:lnSpc>
                        <a:spcBef>
                          <a:spcPts val="640"/>
                        </a:spcBef>
                      </a:pPr>
                      <a:r>
                        <a:rPr sz="800">
                          <a:latin typeface="Calibri"/>
                          <a:cs typeface="Calibri"/>
                        </a:rPr>
                        <a:t>Airbus</a:t>
                      </a:r>
                      <a:r>
                        <a:rPr sz="800" spc="25">
                          <a:latin typeface="Calibri"/>
                          <a:cs typeface="Calibri"/>
                        </a:rPr>
                        <a:t> </a:t>
                      </a:r>
                      <a:r>
                        <a:rPr sz="800" spc="-20">
                          <a:latin typeface="Calibri"/>
                          <a:cs typeface="Calibri"/>
                        </a:rPr>
                        <a:t>A319</a:t>
                      </a:r>
                      <a:endParaRPr sz="800">
                        <a:latin typeface="Calibri"/>
                        <a:cs typeface="Calibri"/>
                      </a:endParaRPr>
                    </a:p>
                  </a:txBody>
                  <a:tcPr marL="0" marR="0" marT="71718" marB="0">
                    <a:lnL w="3175">
                      <a:solidFill>
                        <a:srgbClr val="000000"/>
                      </a:solidFill>
                      <a:prstDash val="solid"/>
                    </a:lnL>
                    <a:lnT w="9525">
                      <a:solidFill>
                        <a:srgbClr val="FFFFFF"/>
                      </a:solidFill>
                      <a:prstDash val="solid"/>
                    </a:lnT>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R="26034" algn="ctr">
                        <a:lnSpc>
                          <a:spcPct val="100000"/>
                        </a:lnSpc>
                        <a:spcBef>
                          <a:spcPts val="640"/>
                        </a:spcBef>
                      </a:pPr>
                      <a:r>
                        <a:rPr sz="800" spc="-25">
                          <a:latin typeface="Calibri"/>
                          <a:cs typeface="Calibri"/>
                        </a:rPr>
                        <a:t>20</a:t>
                      </a:r>
                      <a:endParaRPr sz="800">
                        <a:latin typeface="Calibri"/>
                        <a:cs typeface="Calibri"/>
                      </a:endParaRPr>
                    </a:p>
                  </a:txBody>
                  <a:tcPr marL="0" marR="0" marT="71718" marB="0">
                    <a:lnL w="9525">
                      <a:solidFill>
                        <a:srgbClr val="E6E6E6"/>
                      </a:solidFill>
                      <a:prstDash val="solid"/>
                    </a:lnL>
                    <a:lnR w="3175">
                      <a:solidFill>
                        <a:srgbClr val="000000"/>
                      </a:solidFill>
                      <a:prstDash val="solid"/>
                    </a:lnR>
                    <a:lnT w="9525">
                      <a:solidFill>
                        <a:srgbClr val="E6E6E6"/>
                      </a:solidFill>
                      <a:prstDash val="solid"/>
                    </a:lnT>
                    <a:lnB w="9525">
                      <a:solidFill>
                        <a:srgbClr val="E6E6E6"/>
                      </a:solidFill>
                      <a:prstDash val="solid"/>
                    </a:lnB>
                  </a:tcPr>
                </a:tc>
                <a:tc>
                  <a:txBody>
                    <a:bodyPr/>
                    <a:lstStyle/>
                    <a:p>
                      <a:pPr marL="76200">
                        <a:lnSpc>
                          <a:spcPct val="100000"/>
                        </a:lnSpc>
                        <a:spcBef>
                          <a:spcPts val="640"/>
                        </a:spcBef>
                      </a:pPr>
                      <a:r>
                        <a:rPr sz="800">
                          <a:latin typeface="Calibri"/>
                          <a:cs typeface="Calibri"/>
                        </a:rPr>
                        <a:t>Mitsubishi</a:t>
                      </a:r>
                      <a:r>
                        <a:rPr sz="800" spc="35">
                          <a:latin typeface="Calibri"/>
                          <a:cs typeface="Calibri"/>
                        </a:rPr>
                        <a:t> </a:t>
                      </a:r>
                      <a:r>
                        <a:rPr sz="800">
                          <a:latin typeface="Calibri"/>
                          <a:cs typeface="Calibri"/>
                        </a:rPr>
                        <a:t>CRJ</a:t>
                      </a:r>
                      <a:r>
                        <a:rPr sz="800" spc="35">
                          <a:latin typeface="Calibri"/>
                          <a:cs typeface="Calibri"/>
                        </a:rPr>
                        <a:t> </a:t>
                      </a:r>
                      <a:r>
                        <a:rPr sz="800" spc="-25">
                          <a:latin typeface="Calibri"/>
                          <a:cs typeface="Calibri"/>
                        </a:rPr>
                        <a:t>200</a:t>
                      </a:r>
                      <a:endParaRPr sz="800">
                        <a:latin typeface="Calibri"/>
                        <a:cs typeface="Calibri"/>
                      </a:endParaRPr>
                    </a:p>
                  </a:txBody>
                  <a:tcPr marL="0" marR="0" marT="71718" marB="0">
                    <a:lnL w="3175">
                      <a:solidFill>
                        <a:srgbClr val="000000"/>
                      </a:solidFill>
                      <a:prstDash val="solid"/>
                    </a:lnL>
                    <a:lnT w="9525">
                      <a:solidFill>
                        <a:srgbClr val="FFFFFF"/>
                      </a:solidFill>
                      <a:prstDash val="solid"/>
                    </a:lnT>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R="11430" algn="ctr">
                        <a:lnSpc>
                          <a:spcPct val="100000"/>
                        </a:lnSpc>
                        <a:spcBef>
                          <a:spcPts val="640"/>
                        </a:spcBef>
                      </a:pPr>
                      <a:r>
                        <a:rPr sz="800" spc="-25">
                          <a:latin typeface="Calibri"/>
                          <a:cs typeface="Calibri"/>
                        </a:rPr>
                        <a:t>15</a:t>
                      </a:r>
                      <a:endParaRPr sz="800">
                        <a:latin typeface="Calibri"/>
                        <a:cs typeface="Calibri"/>
                      </a:endParaRPr>
                    </a:p>
                  </a:txBody>
                  <a:tcPr marL="0" marR="0" marT="71718" marB="0">
                    <a:lnL w="9525">
                      <a:solidFill>
                        <a:srgbClr val="E6E6E6"/>
                      </a:solidFill>
                      <a:prstDash val="solid"/>
                    </a:lnL>
                    <a:lnT w="9525">
                      <a:solidFill>
                        <a:srgbClr val="E6E6E6"/>
                      </a:solidFill>
                      <a:prstDash val="solid"/>
                    </a:lnT>
                    <a:lnB w="9525">
                      <a:solidFill>
                        <a:srgbClr val="E6E6E6"/>
                      </a:solidFill>
                      <a:prstDash val="solid"/>
                    </a:lnB>
                  </a:tcPr>
                </a:tc>
                <a:extLst>
                  <a:ext uri="{0D108BD9-81ED-4DB2-BD59-A6C34878D82A}">
                    <a16:rowId xmlns:a16="http://schemas.microsoft.com/office/drawing/2014/main" val="10004"/>
                  </a:ext>
                </a:extLst>
              </a:tr>
              <a:tr h="268941">
                <a:tc>
                  <a:txBody>
                    <a:bodyPr/>
                    <a:lstStyle/>
                    <a:p>
                      <a:pPr marL="76200">
                        <a:lnSpc>
                          <a:spcPct val="100000"/>
                        </a:lnSpc>
                        <a:spcBef>
                          <a:spcPts val="640"/>
                        </a:spcBef>
                      </a:pPr>
                      <a:r>
                        <a:rPr sz="800">
                          <a:latin typeface="Calibri"/>
                          <a:cs typeface="Calibri"/>
                        </a:rPr>
                        <a:t>Boeing</a:t>
                      </a:r>
                      <a:r>
                        <a:rPr sz="800" spc="55">
                          <a:latin typeface="Calibri"/>
                          <a:cs typeface="Calibri"/>
                        </a:rPr>
                        <a:t> </a:t>
                      </a:r>
                      <a:r>
                        <a:rPr sz="800" spc="-10">
                          <a:latin typeface="Calibri"/>
                          <a:cs typeface="Calibri"/>
                        </a:rPr>
                        <a:t>787-</a:t>
                      </a:r>
                      <a:r>
                        <a:rPr sz="800" spc="-50">
                          <a:latin typeface="Calibri"/>
                          <a:cs typeface="Calibri"/>
                        </a:rPr>
                        <a:t>9</a:t>
                      </a:r>
                      <a:endParaRPr sz="800">
                        <a:latin typeface="Calibri"/>
                        <a:cs typeface="Calibri"/>
                      </a:endParaRPr>
                    </a:p>
                  </a:txBody>
                  <a:tcPr marL="0" marR="0" marT="71718" marB="0">
                    <a:lnT w="9525">
                      <a:solidFill>
                        <a:srgbClr val="FFFFFF"/>
                      </a:solidFill>
                      <a:prstDash val="solid"/>
                    </a:lnT>
                    <a:lnB w="9525">
                      <a:solidFill>
                        <a:srgbClr val="FFFFFF"/>
                      </a:solidFill>
                      <a:prstDash val="solid"/>
                    </a:lnB>
                    <a:solidFill>
                      <a:srgbClr val="E6E6E6"/>
                    </a:solidFill>
                  </a:tcPr>
                </a:tc>
                <a:tc>
                  <a:txBody>
                    <a:bodyPr/>
                    <a:lstStyle/>
                    <a:p>
                      <a:pPr marR="234315" algn="r">
                        <a:lnSpc>
                          <a:spcPct val="100000"/>
                        </a:lnSpc>
                        <a:spcBef>
                          <a:spcPts val="640"/>
                        </a:spcBef>
                      </a:pPr>
                      <a:r>
                        <a:rPr sz="800">
                          <a:latin typeface="Calibri"/>
                          <a:cs typeface="Calibri"/>
                        </a:rPr>
                        <a:t>3</a:t>
                      </a:r>
                    </a:p>
                  </a:txBody>
                  <a:tcPr marL="0" marR="0" marT="71718"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R="23495" algn="ctr">
                        <a:lnSpc>
                          <a:spcPct val="100000"/>
                        </a:lnSpc>
                        <a:spcBef>
                          <a:spcPts val="640"/>
                        </a:spcBef>
                      </a:pPr>
                      <a:r>
                        <a:rPr sz="800" spc="-25">
                          <a:latin typeface="Calibri"/>
                          <a:cs typeface="Calibri"/>
                        </a:rPr>
                        <a:t>29</a:t>
                      </a:r>
                      <a:endParaRPr sz="800">
                        <a:latin typeface="Calibri"/>
                        <a:cs typeface="Calibri"/>
                      </a:endParaRPr>
                    </a:p>
                  </a:txBody>
                  <a:tcPr marL="0" marR="0" marT="71718" marB="0">
                    <a:lnL w="9525">
                      <a:solidFill>
                        <a:srgbClr val="E6E6E6"/>
                      </a:solidFill>
                      <a:prstDash val="solid"/>
                    </a:lnL>
                    <a:lnR w="3175">
                      <a:solidFill>
                        <a:srgbClr val="000000"/>
                      </a:solidFill>
                      <a:prstDash val="solid"/>
                    </a:lnR>
                    <a:lnT w="9525">
                      <a:solidFill>
                        <a:srgbClr val="E6E6E6"/>
                      </a:solidFill>
                      <a:prstDash val="solid"/>
                    </a:lnT>
                    <a:lnB w="9525">
                      <a:solidFill>
                        <a:srgbClr val="E6E6E6"/>
                      </a:solidFill>
                      <a:prstDash val="solid"/>
                    </a:lnB>
                  </a:tcPr>
                </a:tc>
                <a:tc rowSpan="7" gridSpan="2">
                  <a:txBody>
                    <a:bodyPr/>
                    <a:lstStyle/>
                    <a:p>
                      <a:pPr>
                        <a:lnSpc>
                          <a:spcPct val="100000"/>
                        </a:lnSpc>
                      </a:pPr>
                      <a:endParaRPr sz="700">
                        <a:latin typeface="Times New Roman"/>
                        <a:cs typeface="Times New Roman"/>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rowSpan="7" hMerge="1">
                  <a:txBody>
                    <a:bodyPr/>
                    <a:lstStyle/>
                    <a:p>
                      <a:endParaRPr/>
                    </a:p>
                  </a:txBody>
                  <a:tcPr marL="0" marR="0" marT="0" marB="0"/>
                </a:tc>
                <a:tc rowSpan="7">
                  <a:txBody>
                    <a:bodyPr/>
                    <a:lstStyle/>
                    <a:p>
                      <a:pPr>
                        <a:lnSpc>
                          <a:spcPct val="100000"/>
                        </a:lnSpc>
                      </a:pPr>
                      <a:endParaRPr sz="700">
                        <a:latin typeface="Times New Roman"/>
                        <a:cs typeface="Times New Roman"/>
                      </a:endParaRPr>
                    </a:p>
                  </a:txBody>
                  <a:tcPr marL="0" marR="0" marT="0" marB="0">
                    <a:lnL w="9525">
                      <a:solidFill>
                        <a:srgbClr val="E6E6E6"/>
                      </a:solidFill>
                      <a:prstDash val="solid"/>
                    </a:lnL>
                    <a:lnR w="3175">
                      <a:solidFill>
                        <a:srgbClr val="000000"/>
                      </a:solidFill>
                      <a:prstDash val="solid"/>
                    </a:lnR>
                    <a:lnT w="9525">
                      <a:solidFill>
                        <a:srgbClr val="E6E6E6"/>
                      </a:solidFill>
                      <a:prstDash val="solid"/>
                    </a:lnT>
                    <a:lnB w="6350">
                      <a:solidFill>
                        <a:srgbClr val="000000"/>
                      </a:solidFill>
                      <a:prstDash val="solid"/>
                    </a:lnB>
                  </a:tcPr>
                </a:tc>
                <a:tc>
                  <a:txBody>
                    <a:bodyPr/>
                    <a:lstStyle/>
                    <a:p>
                      <a:pPr marL="76200">
                        <a:lnSpc>
                          <a:spcPct val="100000"/>
                        </a:lnSpc>
                        <a:spcBef>
                          <a:spcPts val="640"/>
                        </a:spcBef>
                      </a:pPr>
                      <a:r>
                        <a:rPr sz="800">
                          <a:latin typeface="Calibri"/>
                          <a:cs typeface="Calibri"/>
                        </a:rPr>
                        <a:t>De</a:t>
                      </a:r>
                      <a:r>
                        <a:rPr sz="800" spc="75">
                          <a:latin typeface="Calibri"/>
                          <a:cs typeface="Calibri"/>
                        </a:rPr>
                        <a:t> </a:t>
                      </a:r>
                      <a:r>
                        <a:rPr sz="800">
                          <a:latin typeface="Calibri"/>
                          <a:cs typeface="Calibri"/>
                        </a:rPr>
                        <a:t>Havilland</a:t>
                      </a:r>
                      <a:r>
                        <a:rPr sz="800" spc="80">
                          <a:latin typeface="Calibri"/>
                          <a:cs typeface="Calibri"/>
                        </a:rPr>
                        <a:t> </a:t>
                      </a:r>
                      <a:r>
                        <a:rPr sz="800">
                          <a:latin typeface="Calibri"/>
                          <a:cs typeface="Calibri"/>
                        </a:rPr>
                        <a:t>Dash</a:t>
                      </a:r>
                      <a:r>
                        <a:rPr sz="800" spc="80">
                          <a:latin typeface="Calibri"/>
                          <a:cs typeface="Calibri"/>
                        </a:rPr>
                        <a:t> </a:t>
                      </a:r>
                      <a:r>
                        <a:rPr sz="800" spc="70">
                          <a:latin typeface="Calibri"/>
                          <a:cs typeface="Calibri"/>
                        </a:rPr>
                        <a:t>8-</a:t>
                      </a:r>
                      <a:r>
                        <a:rPr sz="800" spc="35">
                          <a:latin typeface="Calibri"/>
                          <a:cs typeface="Calibri"/>
                        </a:rPr>
                        <a:t>400</a:t>
                      </a:r>
                      <a:endParaRPr sz="800">
                        <a:latin typeface="Calibri"/>
                        <a:cs typeface="Calibri"/>
                      </a:endParaRPr>
                    </a:p>
                  </a:txBody>
                  <a:tcPr marL="0" marR="0" marT="71718" marB="0">
                    <a:lnL w="3175">
                      <a:solidFill>
                        <a:srgbClr val="000000"/>
                      </a:solidFill>
                      <a:prstDash val="solid"/>
                    </a:lnL>
                    <a:lnT w="9525">
                      <a:solidFill>
                        <a:srgbClr val="FFFFFF"/>
                      </a:solidFill>
                      <a:prstDash val="solid"/>
                    </a:lnT>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T w="9525">
                      <a:solidFill>
                        <a:srgbClr val="E6E6E6"/>
                      </a:solidFill>
                      <a:prstDash val="solid"/>
                    </a:lnT>
                    <a:lnB w="9525">
                      <a:solidFill>
                        <a:srgbClr val="E5E5E5"/>
                      </a:solidFill>
                      <a:prstDash val="solid"/>
                    </a:lnB>
                  </a:tcPr>
                </a:tc>
                <a:tc>
                  <a:txBody>
                    <a:bodyPr/>
                    <a:lstStyle/>
                    <a:p>
                      <a:pPr marR="28575" algn="ctr">
                        <a:lnSpc>
                          <a:spcPct val="100000"/>
                        </a:lnSpc>
                        <a:spcBef>
                          <a:spcPts val="640"/>
                        </a:spcBef>
                      </a:pPr>
                      <a:r>
                        <a:rPr sz="800" spc="-25">
                          <a:latin typeface="Calibri"/>
                          <a:cs typeface="Calibri"/>
                        </a:rPr>
                        <a:t>39</a:t>
                      </a:r>
                      <a:endParaRPr sz="800">
                        <a:latin typeface="Calibri"/>
                        <a:cs typeface="Calibri"/>
                      </a:endParaRPr>
                    </a:p>
                  </a:txBody>
                  <a:tcPr marL="0" marR="0" marT="71718" marB="0">
                    <a:lnL w="9525">
                      <a:solidFill>
                        <a:srgbClr val="E6E6E6"/>
                      </a:solidFill>
                      <a:prstDash val="solid"/>
                    </a:lnL>
                    <a:lnT w="9525">
                      <a:solidFill>
                        <a:srgbClr val="E6E6E6"/>
                      </a:solidFill>
                      <a:prstDash val="solid"/>
                    </a:lnT>
                    <a:lnB w="9525">
                      <a:solidFill>
                        <a:srgbClr val="E5E5E5"/>
                      </a:solidFill>
                      <a:prstDash val="solid"/>
                    </a:lnB>
                  </a:tcPr>
                </a:tc>
                <a:extLst>
                  <a:ext uri="{0D108BD9-81ED-4DB2-BD59-A6C34878D82A}">
                    <a16:rowId xmlns:a16="http://schemas.microsoft.com/office/drawing/2014/main" val="10005"/>
                  </a:ext>
                </a:extLst>
              </a:tr>
              <a:tr h="268941">
                <a:tc>
                  <a:txBody>
                    <a:bodyPr/>
                    <a:lstStyle/>
                    <a:p>
                      <a:pPr marL="76200">
                        <a:lnSpc>
                          <a:spcPct val="100000"/>
                        </a:lnSpc>
                        <a:spcBef>
                          <a:spcPts val="640"/>
                        </a:spcBef>
                      </a:pPr>
                      <a:r>
                        <a:rPr sz="800">
                          <a:latin typeface="Calibri"/>
                          <a:cs typeface="Calibri"/>
                        </a:rPr>
                        <a:t>Boeing</a:t>
                      </a:r>
                      <a:r>
                        <a:rPr sz="800" spc="35">
                          <a:latin typeface="Calibri"/>
                          <a:cs typeface="Calibri"/>
                        </a:rPr>
                        <a:t> </a:t>
                      </a:r>
                      <a:r>
                        <a:rPr sz="800">
                          <a:latin typeface="Calibri"/>
                          <a:cs typeface="Calibri"/>
                        </a:rPr>
                        <a:t>737</a:t>
                      </a:r>
                      <a:r>
                        <a:rPr sz="800" spc="40">
                          <a:latin typeface="Calibri"/>
                          <a:cs typeface="Calibri"/>
                        </a:rPr>
                        <a:t> </a:t>
                      </a:r>
                      <a:r>
                        <a:rPr sz="800">
                          <a:latin typeface="Calibri"/>
                          <a:cs typeface="Calibri"/>
                        </a:rPr>
                        <a:t>MAX</a:t>
                      </a:r>
                      <a:r>
                        <a:rPr sz="800" spc="40">
                          <a:latin typeface="Calibri"/>
                          <a:cs typeface="Calibri"/>
                        </a:rPr>
                        <a:t> </a:t>
                      </a:r>
                      <a:r>
                        <a:rPr sz="800" spc="-50">
                          <a:latin typeface="Calibri"/>
                          <a:cs typeface="Calibri"/>
                        </a:rPr>
                        <a:t>8</a:t>
                      </a:r>
                      <a:endParaRPr sz="800">
                        <a:latin typeface="Calibri"/>
                        <a:cs typeface="Calibri"/>
                      </a:endParaRPr>
                    </a:p>
                  </a:txBody>
                  <a:tcPr marL="0" marR="0" marT="71718" marB="0">
                    <a:lnT w="9525">
                      <a:solidFill>
                        <a:srgbClr val="FFFFFF"/>
                      </a:solidFill>
                      <a:prstDash val="solid"/>
                    </a:lnT>
                    <a:lnB w="9525">
                      <a:solidFill>
                        <a:srgbClr val="FFFFFF"/>
                      </a:solidFill>
                      <a:prstDash val="solid"/>
                    </a:lnB>
                    <a:solidFill>
                      <a:srgbClr val="E6E6E6"/>
                    </a:solidFill>
                  </a:tcPr>
                </a:tc>
                <a:tc>
                  <a:txBody>
                    <a:bodyPr/>
                    <a:lstStyle/>
                    <a:p>
                      <a:pPr marR="234315" algn="r">
                        <a:lnSpc>
                          <a:spcPct val="100000"/>
                        </a:lnSpc>
                        <a:spcBef>
                          <a:spcPts val="640"/>
                        </a:spcBef>
                      </a:pPr>
                      <a:r>
                        <a:rPr sz="800">
                          <a:latin typeface="Calibri"/>
                          <a:cs typeface="Calibri"/>
                        </a:rPr>
                        <a:t>8</a:t>
                      </a:r>
                    </a:p>
                  </a:txBody>
                  <a:tcPr marL="0" marR="0" marT="71718"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R="23495" algn="ctr">
                        <a:lnSpc>
                          <a:spcPct val="100000"/>
                        </a:lnSpc>
                        <a:spcBef>
                          <a:spcPts val="640"/>
                        </a:spcBef>
                      </a:pPr>
                      <a:r>
                        <a:rPr sz="800" spc="-25">
                          <a:latin typeface="Calibri"/>
                          <a:cs typeface="Calibri"/>
                        </a:rPr>
                        <a:t>32</a:t>
                      </a:r>
                      <a:endParaRPr sz="800">
                        <a:latin typeface="Calibri"/>
                        <a:cs typeface="Calibri"/>
                      </a:endParaRPr>
                    </a:p>
                  </a:txBody>
                  <a:tcPr marL="0" marR="0" marT="71718" marB="0">
                    <a:lnL w="9525">
                      <a:solidFill>
                        <a:srgbClr val="E6E6E6"/>
                      </a:solidFill>
                      <a:prstDash val="solid"/>
                    </a:lnL>
                    <a:lnR w="3175">
                      <a:solidFill>
                        <a:srgbClr val="000000"/>
                      </a:solidFill>
                      <a:prstDash val="solid"/>
                    </a:lnR>
                    <a:lnT w="9525">
                      <a:solidFill>
                        <a:srgbClr val="E6E6E6"/>
                      </a:solidFill>
                      <a:prstDash val="solid"/>
                    </a:lnT>
                    <a:lnB w="9525">
                      <a:solidFill>
                        <a:srgbClr val="E6E6E6"/>
                      </a:solidFill>
                      <a:prstDash val="solid"/>
                    </a:lnB>
                  </a:tcPr>
                </a:tc>
                <a:tc gridSpan="2" vMerge="1">
                  <a:txBody>
                    <a:bodyPr/>
                    <a:lstStyle/>
                    <a:p>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hMerge="1" vMerge="1">
                  <a:txBody>
                    <a:bodyPr/>
                    <a:lstStyle/>
                    <a:p>
                      <a:endParaRPr/>
                    </a:p>
                  </a:txBody>
                  <a:tcPr marL="0" marR="0" marT="0" marB="0"/>
                </a:tc>
                <a:tc vMerge="1">
                  <a:txBody>
                    <a:bodyPr/>
                    <a:lstStyle/>
                    <a:p>
                      <a:endParaRPr/>
                    </a:p>
                  </a:txBody>
                  <a:tcPr marL="0" marR="0" marT="0" marB="0">
                    <a:lnL w="9525">
                      <a:solidFill>
                        <a:srgbClr val="E6E6E6"/>
                      </a:solidFill>
                      <a:prstDash val="solid"/>
                    </a:lnL>
                    <a:lnR w="3175">
                      <a:solidFill>
                        <a:srgbClr val="000000"/>
                      </a:solidFill>
                      <a:prstDash val="solid"/>
                    </a:lnR>
                    <a:lnT w="9525">
                      <a:solidFill>
                        <a:srgbClr val="E6E6E6"/>
                      </a:solidFill>
                      <a:prstDash val="solid"/>
                    </a:lnT>
                    <a:lnB w="6350">
                      <a:solidFill>
                        <a:srgbClr val="000000"/>
                      </a:solidFill>
                      <a:prstDash val="solid"/>
                    </a:lnB>
                  </a:tcPr>
                </a:tc>
                <a:tc rowSpan="6" gridSpan="2">
                  <a:txBody>
                    <a:bodyPr/>
                    <a:lstStyle/>
                    <a:p>
                      <a:pPr>
                        <a:lnSpc>
                          <a:spcPct val="100000"/>
                        </a:lnSpc>
                      </a:pPr>
                      <a:endParaRPr sz="700">
                        <a:latin typeface="Times New Roman"/>
                        <a:cs typeface="Times New Roman"/>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rowSpan="6" hMerge="1">
                  <a:txBody>
                    <a:bodyPr/>
                    <a:lstStyle/>
                    <a:p>
                      <a:endParaRPr/>
                    </a:p>
                  </a:txBody>
                  <a:tcPr marL="0" marR="0" marT="0" marB="0"/>
                </a:tc>
                <a:tc rowSpan="6">
                  <a:txBody>
                    <a:bodyPr/>
                    <a:lstStyle/>
                    <a:p>
                      <a:pPr>
                        <a:lnSpc>
                          <a:spcPct val="100000"/>
                        </a:lnSpc>
                      </a:pPr>
                      <a:endParaRPr sz="700">
                        <a:latin typeface="Times New Roman"/>
                        <a:cs typeface="Times New Roman"/>
                      </a:endParaRPr>
                    </a:p>
                  </a:txBody>
                  <a:tcPr marL="0" marR="0" marT="0" marB="0">
                    <a:lnL w="9525">
                      <a:solidFill>
                        <a:srgbClr val="E6E6E6"/>
                      </a:solidFill>
                      <a:prstDash val="solid"/>
                    </a:lnL>
                    <a:lnT w="9525">
                      <a:solidFill>
                        <a:srgbClr val="E5E5E5"/>
                      </a:solidFill>
                      <a:prstDash val="solid"/>
                    </a:lnT>
                    <a:lnB w="6350">
                      <a:solidFill>
                        <a:srgbClr val="000000"/>
                      </a:solidFill>
                      <a:prstDash val="solid"/>
                    </a:lnB>
                  </a:tcPr>
                </a:tc>
                <a:extLst>
                  <a:ext uri="{0D108BD9-81ED-4DB2-BD59-A6C34878D82A}">
                    <a16:rowId xmlns:a16="http://schemas.microsoft.com/office/drawing/2014/main" val="10006"/>
                  </a:ext>
                </a:extLst>
              </a:tr>
              <a:tr h="268941">
                <a:tc>
                  <a:txBody>
                    <a:bodyPr/>
                    <a:lstStyle/>
                    <a:p>
                      <a:pPr marL="76200">
                        <a:lnSpc>
                          <a:spcPct val="100000"/>
                        </a:lnSpc>
                        <a:spcBef>
                          <a:spcPts val="640"/>
                        </a:spcBef>
                      </a:pPr>
                      <a:r>
                        <a:rPr sz="800">
                          <a:latin typeface="Calibri"/>
                          <a:cs typeface="Calibri"/>
                        </a:rPr>
                        <a:t>Airbus</a:t>
                      </a:r>
                      <a:r>
                        <a:rPr sz="800" spc="240">
                          <a:latin typeface="Calibri"/>
                          <a:cs typeface="Calibri"/>
                        </a:rPr>
                        <a:t> </a:t>
                      </a:r>
                      <a:r>
                        <a:rPr sz="800">
                          <a:latin typeface="Calibri"/>
                          <a:cs typeface="Calibri"/>
                        </a:rPr>
                        <a:t>A330-</a:t>
                      </a:r>
                      <a:r>
                        <a:rPr sz="800" spc="-25">
                          <a:latin typeface="Calibri"/>
                          <a:cs typeface="Calibri"/>
                        </a:rPr>
                        <a:t>300</a:t>
                      </a:r>
                      <a:endParaRPr sz="800">
                        <a:latin typeface="Calibri"/>
                        <a:cs typeface="Calibri"/>
                      </a:endParaRPr>
                    </a:p>
                  </a:txBody>
                  <a:tcPr marL="0" marR="0" marT="71718" marB="0">
                    <a:lnT w="9525">
                      <a:solidFill>
                        <a:srgbClr val="FFFFFF"/>
                      </a:solidFill>
                      <a:prstDash val="solid"/>
                    </a:lnT>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R="13335" algn="ctr">
                        <a:lnSpc>
                          <a:spcPct val="100000"/>
                        </a:lnSpc>
                        <a:spcBef>
                          <a:spcPts val="640"/>
                        </a:spcBef>
                      </a:pPr>
                      <a:r>
                        <a:rPr sz="800" spc="-25">
                          <a:latin typeface="Calibri"/>
                          <a:cs typeface="Calibri"/>
                        </a:rPr>
                        <a:t>16</a:t>
                      </a:r>
                      <a:endParaRPr sz="800">
                        <a:latin typeface="Calibri"/>
                        <a:cs typeface="Calibri"/>
                      </a:endParaRPr>
                    </a:p>
                  </a:txBody>
                  <a:tcPr marL="0" marR="0" marT="71718" marB="0">
                    <a:lnL w="9525">
                      <a:solidFill>
                        <a:srgbClr val="E6E6E6"/>
                      </a:solidFill>
                      <a:prstDash val="solid"/>
                    </a:lnL>
                    <a:lnR w="3175">
                      <a:solidFill>
                        <a:srgbClr val="000000"/>
                      </a:solidFill>
                      <a:prstDash val="solid"/>
                    </a:lnR>
                    <a:lnT w="9525">
                      <a:solidFill>
                        <a:srgbClr val="E6E6E6"/>
                      </a:solidFill>
                      <a:prstDash val="solid"/>
                    </a:lnT>
                    <a:lnB w="9525">
                      <a:solidFill>
                        <a:srgbClr val="E6E6E6"/>
                      </a:solidFill>
                      <a:prstDash val="solid"/>
                    </a:lnB>
                  </a:tcPr>
                </a:tc>
                <a:tc gridSpan="2" vMerge="1">
                  <a:txBody>
                    <a:bodyPr/>
                    <a:lstStyle/>
                    <a:p>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hMerge="1" vMerge="1">
                  <a:txBody>
                    <a:bodyPr/>
                    <a:lstStyle/>
                    <a:p>
                      <a:endParaRPr/>
                    </a:p>
                  </a:txBody>
                  <a:tcPr marL="0" marR="0" marT="0" marB="0"/>
                </a:tc>
                <a:tc vMerge="1">
                  <a:txBody>
                    <a:bodyPr/>
                    <a:lstStyle/>
                    <a:p>
                      <a:endParaRPr/>
                    </a:p>
                  </a:txBody>
                  <a:tcPr marL="0" marR="0" marT="0" marB="0">
                    <a:lnL w="9525">
                      <a:solidFill>
                        <a:srgbClr val="E6E6E6"/>
                      </a:solidFill>
                      <a:prstDash val="solid"/>
                    </a:lnL>
                    <a:lnR w="3175">
                      <a:solidFill>
                        <a:srgbClr val="000000"/>
                      </a:solidFill>
                      <a:prstDash val="solid"/>
                    </a:lnR>
                    <a:lnT w="9525">
                      <a:solidFill>
                        <a:srgbClr val="E6E6E6"/>
                      </a:solidFill>
                      <a:prstDash val="solid"/>
                    </a:lnT>
                    <a:lnB w="6350">
                      <a:solidFill>
                        <a:srgbClr val="000000"/>
                      </a:solidFill>
                      <a:prstDash val="solid"/>
                    </a:lnB>
                  </a:tcPr>
                </a:tc>
                <a:tc gridSpan="2" vMerge="1">
                  <a:txBody>
                    <a:bodyPr/>
                    <a:lstStyle/>
                    <a:p>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hMerge="1" vMerge="1">
                  <a:txBody>
                    <a:bodyPr/>
                    <a:lstStyle/>
                    <a:p>
                      <a:endParaRPr/>
                    </a:p>
                  </a:txBody>
                  <a:tcPr marL="0" marR="0" marT="0" marB="0"/>
                </a:tc>
                <a:tc vMerge="1">
                  <a:txBody>
                    <a:bodyPr/>
                    <a:lstStyle/>
                    <a:p>
                      <a:endParaRPr/>
                    </a:p>
                  </a:txBody>
                  <a:tcPr marL="0" marR="0" marT="0" marB="0">
                    <a:lnL w="9525">
                      <a:solidFill>
                        <a:srgbClr val="E6E6E6"/>
                      </a:solidFill>
                      <a:prstDash val="solid"/>
                    </a:lnL>
                    <a:lnT w="9525">
                      <a:solidFill>
                        <a:srgbClr val="E5E5E5"/>
                      </a:solidFill>
                      <a:prstDash val="solid"/>
                    </a:lnT>
                    <a:lnB w="6350">
                      <a:solidFill>
                        <a:srgbClr val="000000"/>
                      </a:solidFill>
                      <a:prstDash val="solid"/>
                    </a:lnB>
                  </a:tcPr>
                </a:tc>
                <a:extLst>
                  <a:ext uri="{0D108BD9-81ED-4DB2-BD59-A6C34878D82A}">
                    <a16:rowId xmlns:a16="http://schemas.microsoft.com/office/drawing/2014/main" val="10007"/>
                  </a:ext>
                </a:extLst>
              </a:tr>
              <a:tr h="264459">
                <a:tc>
                  <a:txBody>
                    <a:bodyPr/>
                    <a:lstStyle/>
                    <a:p>
                      <a:pPr marL="76200">
                        <a:lnSpc>
                          <a:spcPct val="100000"/>
                        </a:lnSpc>
                        <a:spcBef>
                          <a:spcPts val="620"/>
                        </a:spcBef>
                      </a:pPr>
                      <a:r>
                        <a:rPr sz="800">
                          <a:latin typeface="Calibri"/>
                          <a:cs typeface="Calibri"/>
                        </a:rPr>
                        <a:t>Airbus</a:t>
                      </a:r>
                      <a:r>
                        <a:rPr sz="800" spc="25">
                          <a:latin typeface="Calibri"/>
                          <a:cs typeface="Calibri"/>
                        </a:rPr>
                        <a:t> </a:t>
                      </a:r>
                      <a:r>
                        <a:rPr sz="800" spc="-20">
                          <a:latin typeface="Calibri"/>
                          <a:cs typeface="Calibri"/>
                        </a:rPr>
                        <a:t>A321</a:t>
                      </a:r>
                      <a:endParaRPr sz="800">
                        <a:latin typeface="Calibri"/>
                        <a:cs typeface="Calibri"/>
                      </a:endParaRPr>
                    </a:p>
                  </a:txBody>
                  <a:tcPr marL="0" marR="0" marT="69476" marB="0">
                    <a:lnT w="9525">
                      <a:solidFill>
                        <a:srgbClr val="FFFFFF"/>
                      </a:solidFill>
                      <a:prstDash val="solid"/>
                    </a:lnT>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R="10160" algn="ctr">
                        <a:lnSpc>
                          <a:spcPct val="100000"/>
                        </a:lnSpc>
                        <a:spcBef>
                          <a:spcPts val="620"/>
                        </a:spcBef>
                      </a:pPr>
                      <a:r>
                        <a:rPr sz="800" spc="-25">
                          <a:latin typeface="Calibri"/>
                          <a:cs typeface="Calibri"/>
                        </a:rPr>
                        <a:t>15</a:t>
                      </a:r>
                      <a:endParaRPr sz="800">
                        <a:latin typeface="Calibri"/>
                        <a:cs typeface="Calibri"/>
                      </a:endParaRPr>
                    </a:p>
                  </a:txBody>
                  <a:tcPr marL="0" marR="0" marT="69476" marB="0">
                    <a:lnL w="9525">
                      <a:solidFill>
                        <a:srgbClr val="E6E6E6"/>
                      </a:solidFill>
                      <a:prstDash val="solid"/>
                    </a:lnL>
                    <a:lnR w="3175">
                      <a:solidFill>
                        <a:srgbClr val="000000"/>
                      </a:solidFill>
                      <a:prstDash val="solid"/>
                    </a:lnR>
                    <a:lnT w="9525">
                      <a:solidFill>
                        <a:srgbClr val="E6E6E6"/>
                      </a:solidFill>
                      <a:prstDash val="solid"/>
                    </a:lnT>
                    <a:lnB w="9525">
                      <a:solidFill>
                        <a:srgbClr val="E6E6E6"/>
                      </a:solidFill>
                      <a:prstDash val="solid"/>
                    </a:lnB>
                  </a:tcPr>
                </a:tc>
                <a:tc gridSpan="2" vMerge="1">
                  <a:txBody>
                    <a:bodyPr/>
                    <a:lstStyle/>
                    <a:p>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hMerge="1" vMerge="1">
                  <a:txBody>
                    <a:bodyPr/>
                    <a:lstStyle/>
                    <a:p>
                      <a:endParaRPr/>
                    </a:p>
                  </a:txBody>
                  <a:tcPr marL="0" marR="0" marT="0" marB="0"/>
                </a:tc>
                <a:tc vMerge="1">
                  <a:txBody>
                    <a:bodyPr/>
                    <a:lstStyle/>
                    <a:p>
                      <a:endParaRPr/>
                    </a:p>
                  </a:txBody>
                  <a:tcPr marL="0" marR="0" marT="0" marB="0">
                    <a:lnL w="9525">
                      <a:solidFill>
                        <a:srgbClr val="E6E6E6"/>
                      </a:solidFill>
                      <a:prstDash val="solid"/>
                    </a:lnL>
                    <a:lnR w="3175">
                      <a:solidFill>
                        <a:srgbClr val="000000"/>
                      </a:solidFill>
                      <a:prstDash val="solid"/>
                    </a:lnR>
                    <a:lnT w="9525">
                      <a:solidFill>
                        <a:srgbClr val="E6E6E6"/>
                      </a:solidFill>
                      <a:prstDash val="solid"/>
                    </a:lnT>
                    <a:lnB w="6350">
                      <a:solidFill>
                        <a:srgbClr val="000000"/>
                      </a:solidFill>
                      <a:prstDash val="solid"/>
                    </a:lnB>
                  </a:tcPr>
                </a:tc>
                <a:tc gridSpan="2" vMerge="1">
                  <a:txBody>
                    <a:bodyPr/>
                    <a:lstStyle/>
                    <a:p>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hMerge="1" vMerge="1">
                  <a:txBody>
                    <a:bodyPr/>
                    <a:lstStyle/>
                    <a:p>
                      <a:endParaRPr/>
                    </a:p>
                  </a:txBody>
                  <a:tcPr marL="0" marR="0" marT="0" marB="0"/>
                </a:tc>
                <a:tc vMerge="1">
                  <a:txBody>
                    <a:bodyPr/>
                    <a:lstStyle/>
                    <a:p>
                      <a:endParaRPr/>
                    </a:p>
                  </a:txBody>
                  <a:tcPr marL="0" marR="0" marT="0" marB="0">
                    <a:lnL w="9525">
                      <a:solidFill>
                        <a:srgbClr val="E6E6E6"/>
                      </a:solidFill>
                      <a:prstDash val="solid"/>
                    </a:lnL>
                    <a:lnT w="9525">
                      <a:solidFill>
                        <a:srgbClr val="E5E5E5"/>
                      </a:solidFill>
                      <a:prstDash val="solid"/>
                    </a:lnT>
                    <a:lnB w="6350">
                      <a:solidFill>
                        <a:srgbClr val="000000"/>
                      </a:solidFill>
                      <a:prstDash val="solid"/>
                    </a:lnB>
                  </a:tcPr>
                </a:tc>
                <a:extLst>
                  <a:ext uri="{0D108BD9-81ED-4DB2-BD59-A6C34878D82A}">
                    <a16:rowId xmlns:a16="http://schemas.microsoft.com/office/drawing/2014/main" val="10008"/>
                  </a:ext>
                </a:extLst>
              </a:tr>
              <a:tr h="268941">
                <a:tc>
                  <a:txBody>
                    <a:bodyPr/>
                    <a:lstStyle/>
                    <a:p>
                      <a:pPr marL="76200">
                        <a:lnSpc>
                          <a:spcPct val="100000"/>
                        </a:lnSpc>
                        <a:spcBef>
                          <a:spcPts val="640"/>
                        </a:spcBef>
                      </a:pPr>
                      <a:r>
                        <a:rPr sz="800">
                          <a:latin typeface="Calibri"/>
                          <a:cs typeface="Calibri"/>
                        </a:rPr>
                        <a:t>Airbus</a:t>
                      </a:r>
                      <a:r>
                        <a:rPr sz="800" spc="25">
                          <a:latin typeface="Calibri"/>
                          <a:cs typeface="Calibri"/>
                        </a:rPr>
                        <a:t> </a:t>
                      </a:r>
                      <a:r>
                        <a:rPr sz="800" spc="-20">
                          <a:latin typeface="Calibri"/>
                          <a:cs typeface="Calibri"/>
                        </a:rPr>
                        <a:t>A320</a:t>
                      </a:r>
                      <a:endParaRPr sz="800">
                        <a:latin typeface="Calibri"/>
                        <a:cs typeface="Calibri"/>
                      </a:endParaRPr>
                    </a:p>
                  </a:txBody>
                  <a:tcPr marL="0" marR="0" marT="71718" marB="0">
                    <a:lnT w="9525">
                      <a:solidFill>
                        <a:srgbClr val="FFFFFF"/>
                      </a:solidFill>
                      <a:prstDash val="solid"/>
                    </a:lnT>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R="15875" algn="ctr">
                        <a:lnSpc>
                          <a:spcPct val="100000"/>
                        </a:lnSpc>
                        <a:spcBef>
                          <a:spcPts val="640"/>
                        </a:spcBef>
                      </a:pPr>
                      <a:r>
                        <a:rPr sz="800" spc="-25">
                          <a:latin typeface="Calibri"/>
                          <a:cs typeface="Calibri"/>
                        </a:rPr>
                        <a:t>18</a:t>
                      </a:r>
                      <a:endParaRPr sz="800">
                        <a:latin typeface="Calibri"/>
                        <a:cs typeface="Calibri"/>
                      </a:endParaRPr>
                    </a:p>
                  </a:txBody>
                  <a:tcPr marL="0" marR="0" marT="71718" marB="0">
                    <a:lnL w="9525">
                      <a:solidFill>
                        <a:srgbClr val="E6E6E6"/>
                      </a:solidFill>
                      <a:prstDash val="solid"/>
                    </a:lnL>
                    <a:lnR w="3175">
                      <a:solidFill>
                        <a:srgbClr val="000000"/>
                      </a:solidFill>
                      <a:prstDash val="solid"/>
                    </a:lnR>
                    <a:lnT w="9525">
                      <a:solidFill>
                        <a:srgbClr val="E6E6E6"/>
                      </a:solidFill>
                      <a:prstDash val="solid"/>
                    </a:lnT>
                    <a:lnB w="9525">
                      <a:solidFill>
                        <a:srgbClr val="E6E6E6"/>
                      </a:solidFill>
                      <a:prstDash val="solid"/>
                    </a:lnB>
                  </a:tcPr>
                </a:tc>
                <a:tc gridSpan="2" vMerge="1">
                  <a:txBody>
                    <a:bodyPr/>
                    <a:lstStyle/>
                    <a:p>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hMerge="1" vMerge="1">
                  <a:txBody>
                    <a:bodyPr/>
                    <a:lstStyle/>
                    <a:p>
                      <a:endParaRPr/>
                    </a:p>
                  </a:txBody>
                  <a:tcPr marL="0" marR="0" marT="0" marB="0"/>
                </a:tc>
                <a:tc vMerge="1">
                  <a:txBody>
                    <a:bodyPr/>
                    <a:lstStyle/>
                    <a:p>
                      <a:endParaRPr/>
                    </a:p>
                  </a:txBody>
                  <a:tcPr marL="0" marR="0" marT="0" marB="0">
                    <a:lnL w="9525">
                      <a:solidFill>
                        <a:srgbClr val="E6E6E6"/>
                      </a:solidFill>
                      <a:prstDash val="solid"/>
                    </a:lnL>
                    <a:lnR w="3175">
                      <a:solidFill>
                        <a:srgbClr val="000000"/>
                      </a:solidFill>
                      <a:prstDash val="solid"/>
                    </a:lnR>
                    <a:lnT w="9525">
                      <a:solidFill>
                        <a:srgbClr val="E6E6E6"/>
                      </a:solidFill>
                      <a:prstDash val="solid"/>
                    </a:lnT>
                    <a:lnB w="6350">
                      <a:solidFill>
                        <a:srgbClr val="000000"/>
                      </a:solidFill>
                      <a:prstDash val="solid"/>
                    </a:lnB>
                  </a:tcPr>
                </a:tc>
                <a:tc gridSpan="2" vMerge="1">
                  <a:txBody>
                    <a:bodyPr/>
                    <a:lstStyle/>
                    <a:p>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hMerge="1" vMerge="1">
                  <a:txBody>
                    <a:bodyPr/>
                    <a:lstStyle/>
                    <a:p>
                      <a:endParaRPr/>
                    </a:p>
                  </a:txBody>
                  <a:tcPr marL="0" marR="0" marT="0" marB="0"/>
                </a:tc>
                <a:tc vMerge="1">
                  <a:txBody>
                    <a:bodyPr/>
                    <a:lstStyle/>
                    <a:p>
                      <a:endParaRPr/>
                    </a:p>
                  </a:txBody>
                  <a:tcPr marL="0" marR="0" marT="0" marB="0">
                    <a:lnL w="9525">
                      <a:solidFill>
                        <a:srgbClr val="E6E6E6"/>
                      </a:solidFill>
                      <a:prstDash val="solid"/>
                    </a:lnL>
                    <a:lnT w="9525">
                      <a:solidFill>
                        <a:srgbClr val="E5E5E5"/>
                      </a:solidFill>
                      <a:prstDash val="solid"/>
                    </a:lnT>
                    <a:lnB w="6350">
                      <a:solidFill>
                        <a:srgbClr val="000000"/>
                      </a:solidFill>
                      <a:prstDash val="solid"/>
                    </a:lnB>
                  </a:tcPr>
                </a:tc>
                <a:extLst>
                  <a:ext uri="{0D108BD9-81ED-4DB2-BD59-A6C34878D82A}">
                    <a16:rowId xmlns:a16="http://schemas.microsoft.com/office/drawing/2014/main" val="10009"/>
                  </a:ext>
                </a:extLst>
              </a:tr>
              <a:tr h="268941">
                <a:tc>
                  <a:txBody>
                    <a:bodyPr/>
                    <a:lstStyle/>
                    <a:p>
                      <a:pPr marL="76200">
                        <a:lnSpc>
                          <a:spcPct val="100000"/>
                        </a:lnSpc>
                        <a:spcBef>
                          <a:spcPts val="640"/>
                        </a:spcBef>
                      </a:pPr>
                      <a:r>
                        <a:rPr sz="800">
                          <a:latin typeface="Calibri"/>
                          <a:cs typeface="Calibri"/>
                        </a:rPr>
                        <a:t>Airbus</a:t>
                      </a:r>
                      <a:r>
                        <a:rPr sz="800" spc="25">
                          <a:latin typeface="Calibri"/>
                          <a:cs typeface="Calibri"/>
                        </a:rPr>
                        <a:t> </a:t>
                      </a:r>
                      <a:r>
                        <a:rPr sz="800" spc="-20">
                          <a:latin typeface="Calibri"/>
                          <a:cs typeface="Calibri"/>
                        </a:rPr>
                        <a:t>A319</a:t>
                      </a:r>
                      <a:endParaRPr sz="800">
                        <a:latin typeface="Calibri"/>
                        <a:cs typeface="Calibri"/>
                      </a:endParaRPr>
                    </a:p>
                  </a:txBody>
                  <a:tcPr marL="0" marR="0" marT="71718" marB="0">
                    <a:lnT w="9525">
                      <a:solidFill>
                        <a:srgbClr val="FFFFFF"/>
                      </a:solidFill>
                      <a:prstDash val="solid"/>
                    </a:lnT>
                    <a:lnB w="9525">
                      <a:solidFill>
                        <a:srgbClr val="FFFFFF"/>
                      </a:solidFill>
                      <a:prstDash val="solid"/>
                    </a:lnB>
                    <a:solidFill>
                      <a:srgbClr val="E6E6E6"/>
                    </a:solidFill>
                  </a:tcPr>
                </a:tc>
                <a:tc>
                  <a:txBody>
                    <a:bodyPr/>
                    <a:lstStyle/>
                    <a:p>
                      <a:pPr>
                        <a:lnSpc>
                          <a:spcPct val="100000"/>
                        </a:lnSpc>
                      </a:pPr>
                      <a:endParaRPr sz="700">
                        <a:latin typeface="Times New Roman"/>
                        <a:cs typeface="Times New Roman"/>
                      </a:endParaRPr>
                    </a:p>
                  </a:txBody>
                  <a:tcPr marL="0" marR="0" marT="0" marB="0">
                    <a:lnR w="9525">
                      <a:solidFill>
                        <a:srgbClr val="E6E6E6"/>
                      </a:solidFill>
                      <a:prstDash val="solid"/>
                    </a:lnR>
                    <a:lnT w="9525">
                      <a:solidFill>
                        <a:srgbClr val="E6E6E6"/>
                      </a:solidFill>
                      <a:prstDash val="solid"/>
                    </a:lnT>
                    <a:lnB w="9525">
                      <a:solidFill>
                        <a:srgbClr val="E6E6E6"/>
                      </a:solidFill>
                      <a:prstDash val="solid"/>
                    </a:lnB>
                  </a:tcPr>
                </a:tc>
                <a:tc>
                  <a:txBody>
                    <a:bodyPr/>
                    <a:lstStyle/>
                    <a:p>
                      <a:pPr marL="26670" algn="ctr">
                        <a:lnSpc>
                          <a:spcPct val="100000"/>
                        </a:lnSpc>
                        <a:spcBef>
                          <a:spcPts val="640"/>
                        </a:spcBef>
                      </a:pPr>
                      <a:r>
                        <a:rPr sz="800">
                          <a:latin typeface="Calibri"/>
                          <a:cs typeface="Calibri"/>
                        </a:rPr>
                        <a:t>6</a:t>
                      </a:r>
                    </a:p>
                  </a:txBody>
                  <a:tcPr marL="0" marR="0" marT="71718" marB="0">
                    <a:lnL w="9525">
                      <a:solidFill>
                        <a:srgbClr val="E6E6E6"/>
                      </a:solidFill>
                      <a:prstDash val="solid"/>
                    </a:lnL>
                    <a:lnR w="3175">
                      <a:solidFill>
                        <a:srgbClr val="000000"/>
                      </a:solidFill>
                      <a:prstDash val="solid"/>
                    </a:lnR>
                    <a:lnT w="9525">
                      <a:solidFill>
                        <a:srgbClr val="E6E6E6"/>
                      </a:solidFill>
                      <a:prstDash val="solid"/>
                    </a:lnT>
                    <a:lnB w="9525">
                      <a:solidFill>
                        <a:srgbClr val="E6E6E6"/>
                      </a:solidFill>
                      <a:prstDash val="solid"/>
                    </a:lnB>
                  </a:tcPr>
                </a:tc>
                <a:tc gridSpan="2" vMerge="1">
                  <a:txBody>
                    <a:bodyPr/>
                    <a:lstStyle/>
                    <a:p>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hMerge="1" vMerge="1">
                  <a:txBody>
                    <a:bodyPr/>
                    <a:lstStyle/>
                    <a:p>
                      <a:endParaRPr/>
                    </a:p>
                  </a:txBody>
                  <a:tcPr marL="0" marR="0" marT="0" marB="0"/>
                </a:tc>
                <a:tc vMerge="1">
                  <a:txBody>
                    <a:bodyPr/>
                    <a:lstStyle/>
                    <a:p>
                      <a:endParaRPr/>
                    </a:p>
                  </a:txBody>
                  <a:tcPr marL="0" marR="0" marT="0" marB="0">
                    <a:lnL w="9525">
                      <a:solidFill>
                        <a:srgbClr val="E6E6E6"/>
                      </a:solidFill>
                      <a:prstDash val="solid"/>
                    </a:lnL>
                    <a:lnR w="3175">
                      <a:solidFill>
                        <a:srgbClr val="000000"/>
                      </a:solidFill>
                      <a:prstDash val="solid"/>
                    </a:lnR>
                    <a:lnT w="9525">
                      <a:solidFill>
                        <a:srgbClr val="E6E6E6"/>
                      </a:solidFill>
                      <a:prstDash val="solid"/>
                    </a:lnT>
                    <a:lnB w="6350">
                      <a:solidFill>
                        <a:srgbClr val="000000"/>
                      </a:solidFill>
                      <a:prstDash val="solid"/>
                    </a:lnB>
                  </a:tcPr>
                </a:tc>
                <a:tc gridSpan="2" vMerge="1">
                  <a:txBody>
                    <a:bodyPr/>
                    <a:lstStyle/>
                    <a:p>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hMerge="1" vMerge="1">
                  <a:txBody>
                    <a:bodyPr/>
                    <a:lstStyle/>
                    <a:p>
                      <a:endParaRPr/>
                    </a:p>
                  </a:txBody>
                  <a:tcPr marL="0" marR="0" marT="0" marB="0"/>
                </a:tc>
                <a:tc vMerge="1">
                  <a:txBody>
                    <a:bodyPr/>
                    <a:lstStyle/>
                    <a:p>
                      <a:endParaRPr/>
                    </a:p>
                  </a:txBody>
                  <a:tcPr marL="0" marR="0" marT="0" marB="0">
                    <a:lnL w="9525">
                      <a:solidFill>
                        <a:srgbClr val="E6E6E6"/>
                      </a:solidFill>
                      <a:prstDash val="solid"/>
                    </a:lnL>
                    <a:lnT w="9525">
                      <a:solidFill>
                        <a:srgbClr val="E5E5E5"/>
                      </a:solidFill>
                      <a:prstDash val="solid"/>
                    </a:lnT>
                    <a:lnB w="6350">
                      <a:solidFill>
                        <a:srgbClr val="000000"/>
                      </a:solidFill>
                      <a:prstDash val="solid"/>
                    </a:lnB>
                  </a:tcPr>
                </a:tc>
                <a:extLst>
                  <a:ext uri="{0D108BD9-81ED-4DB2-BD59-A6C34878D82A}">
                    <a16:rowId xmlns:a16="http://schemas.microsoft.com/office/drawing/2014/main" val="10010"/>
                  </a:ext>
                </a:extLst>
              </a:tr>
              <a:tr h="268941">
                <a:tc>
                  <a:txBody>
                    <a:bodyPr/>
                    <a:lstStyle/>
                    <a:p>
                      <a:pPr marL="76200">
                        <a:lnSpc>
                          <a:spcPct val="100000"/>
                        </a:lnSpc>
                        <a:spcBef>
                          <a:spcPts val="640"/>
                        </a:spcBef>
                      </a:pPr>
                      <a:r>
                        <a:rPr sz="800">
                          <a:latin typeface="Calibri"/>
                          <a:cs typeface="Calibri"/>
                        </a:rPr>
                        <a:t>Airbus</a:t>
                      </a:r>
                      <a:r>
                        <a:rPr sz="800" spc="229">
                          <a:latin typeface="Calibri"/>
                          <a:cs typeface="Calibri"/>
                        </a:rPr>
                        <a:t> </a:t>
                      </a:r>
                      <a:r>
                        <a:rPr sz="800">
                          <a:latin typeface="Calibri"/>
                          <a:cs typeface="Calibri"/>
                        </a:rPr>
                        <a:t>A220-</a:t>
                      </a:r>
                      <a:r>
                        <a:rPr sz="800" spc="-25">
                          <a:latin typeface="Calibri"/>
                          <a:cs typeface="Calibri"/>
                        </a:rPr>
                        <a:t>300</a:t>
                      </a:r>
                      <a:endParaRPr sz="800">
                        <a:latin typeface="Calibri"/>
                        <a:cs typeface="Calibri"/>
                      </a:endParaRPr>
                    </a:p>
                  </a:txBody>
                  <a:tcPr marL="0" marR="0" marT="71718" marB="0">
                    <a:lnT w="9525">
                      <a:solidFill>
                        <a:srgbClr val="FFFFFF"/>
                      </a:solidFill>
                      <a:prstDash val="solid"/>
                    </a:lnT>
                    <a:lnB w="6350">
                      <a:solidFill>
                        <a:srgbClr val="000000"/>
                      </a:solidFill>
                      <a:prstDash val="solid"/>
                    </a:lnB>
                    <a:solidFill>
                      <a:srgbClr val="E6E6E6"/>
                    </a:solidFill>
                  </a:tcPr>
                </a:tc>
                <a:tc>
                  <a:txBody>
                    <a:bodyPr/>
                    <a:lstStyle/>
                    <a:p>
                      <a:pPr marR="232410" algn="r">
                        <a:lnSpc>
                          <a:spcPct val="100000"/>
                        </a:lnSpc>
                        <a:spcBef>
                          <a:spcPts val="640"/>
                        </a:spcBef>
                      </a:pPr>
                      <a:r>
                        <a:rPr sz="800" spc="-25">
                          <a:latin typeface="Calibri"/>
                          <a:cs typeface="Calibri"/>
                        </a:rPr>
                        <a:t>18</a:t>
                      </a:r>
                      <a:endParaRPr sz="800">
                        <a:latin typeface="Calibri"/>
                        <a:cs typeface="Calibri"/>
                      </a:endParaRPr>
                    </a:p>
                  </a:txBody>
                  <a:tcPr marL="0" marR="0" marT="71718" marB="0">
                    <a:lnR w="9525">
                      <a:solidFill>
                        <a:srgbClr val="E6E6E6"/>
                      </a:solidFill>
                      <a:prstDash val="solid"/>
                    </a:lnR>
                    <a:lnT w="9525">
                      <a:solidFill>
                        <a:srgbClr val="E6E6E6"/>
                      </a:solidFill>
                      <a:prstDash val="solid"/>
                    </a:lnT>
                    <a:lnB w="6350">
                      <a:solidFill>
                        <a:srgbClr val="000000"/>
                      </a:solidFill>
                      <a:prstDash val="solid"/>
                    </a:lnB>
                  </a:tcPr>
                </a:tc>
                <a:tc>
                  <a:txBody>
                    <a:bodyPr/>
                    <a:lstStyle/>
                    <a:p>
                      <a:pPr marR="16510" algn="ctr">
                        <a:lnSpc>
                          <a:spcPct val="100000"/>
                        </a:lnSpc>
                        <a:spcBef>
                          <a:spcPts val="640"/>
                        </a:spcBef>
                      </a:pPr>
                      <a:r>
                        <a:rPr sz="800" spc="-25">
                          <a:latin typeface="Calibri"/>
                          <a:cs typeface="Calibri"/>
                        </a:rPr>
                        <a:t>27</a:t>
                      </a:r>
                      <a:endParaRPr sz="800">
                        <a:latin typeface="Calibri"/>
                        <a:cs typeface="Calibri"/>
                      </a:endParaRPr>
                    </a:p>
                  </a:txBody>
                  <a:tcPr marL="0" marR="0" marT="71718" marB="0">
                    <a:lnL w="9525">
                      <a:solidFill>
                        <a:srgbClr val="E6E6E6"/>
                      </a:solidFill>
                      <a:prstDash val="solid"/>
                    </a:lnL>
                    <a:lnR w="3175">
                      <a:solidFill>
                        <a:srgbClr val="000000"/>
                      </a:solidFill>
                      <a:prstDash val="solid"/>
                    </a:lnR>
                    <a:lnT w="9525">
                      <a:solidFill>
                        <a:srgbClr val="E6E6E6"/>
                      </a:solidFill>
                      <a:prstDash val="solid"/>
                    </a:lnT>
                    <a:lnB w="6350">
                      <a:solidFill>
                        <a:srgbClr val="000000"/>
                      </a:solidFill>
                      <a:prstDash val="solid"/>
                    </a:lnB>
                  </a:tcPr>
                </a:tc>
                <a:tc gridSpan="2" vMerge="1">
                  <a:txBody>
                    <a:bodyPr/>
                    <a:lstStyle/>
                    <a:p>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hMerge="1" vMerge="1">
                  <a:txBody>
                    <a:bodyPr/>
                    <a:lstStyle/>
                    <a:p>
                      <a:endParaRPr/>
                    </a:p>
                  </a:txBody>
                  <a:tcPr marL="0" marR="0" marT="0" marB="0"/>
                </a:tc>
                <a:tc vMerge="1">
                  <a:txBody>
                    <a:bodyPr/>
                    <a:lstStyle/>
                    <a:p>
                      <a:endParaRPr/>
                    </a:p>
                  </a:txBody>
                  <a:tcPr marL="0" marR="0" marT="0" marB="0">
                    <a:lnL w="9525">
                      <a:solidFill>
                        <a:srgbClr val="E6E6E6"/>
                      </a:solidFill>
                      <a:prstDash val="solid"/>
                    </a:lnL>
                    <a:lnR w="3175">
                      <a:solidFill>
                        <a:srgbClr val="000000"/>
                      </a:solidFill>
                      <a:prstDash val="solid"/>
                    </a:lnR>
                    <a:lnT w="9525">
                      <a:solidFill>
                        <a:srgbClr val="E6E6E6"/>
                      </a:solidFill>
                      <a:prstDash val="solid"/>
                    </a:lnT>
                    <a:lnB w="6350">
                      <a:solidFill>
                        <a:srgbClr val="000000"/>
                      </a:solidFill>
                      <a:prstDash val="solid"/>
                    </a:lnB>
                  </a:tcPr>
                </a:tc>
                <a:tc gridSpan="2" vMerge="1">
                  <a:txBody>
                    <a:bodyPr/>
                    <a:lstStyle/>
                    <a:p>
                      <a:endParaRPr/>
                    </a:p>
                  </a:txBody>
                  <a:tcPr marL="0" marR="0" marT="0" marB="0">
                    <a:lnL w="3175">
                      <a:solidFill>
                        <a:srgbClr val="000000"/>
                      </a:solidFill>
                      <a:prstDash val="solid"/>
                    </a:lnL>
                    <a:lnR w="9525">
                      <a:solidFill>
                        <a:srgbClr val="E6E6E6"/>
                      </a:solidFill>
                      <a:prstDash val="solid"/>
                    </a:lnR>
                    <a:lnB w="6350">
                      <a:solidFill>
                        <a:srgbClr val="000000"/>
                      </a:solidFill>
                      <a:prstDash val="solid"/>
                    </a:lnB>
                  </a:tcPr>
                </a:tc>
                <a:tc hMerge="1" vMerge="1">
                  <a:txBody>
                    <a:bodyPr/>
                    <a:lstStyle/>
                    <a:p>
                      <a:endParaRPr/>
                    </a:p>
                  </a:txBody>
                  <a:tcPr marL="0" marR="0" marT="0" marB="0"/>
                </a:tc>
                <a:tc vMerge="1">
                  <a:txBody>
                    <a:bodyPr/>
                    <a:lstStyle/>
                    <a:p>
                      <a:endParaRPr/>
                    </a:p>
                  </a:txBody>
                  <a:tcPr marL="0" marR="0" marT="0" marB="0">
                    <a:lnL w="9525">
                      <a:solidFill>
                        <a:srgbClr val="E6E6E6"/>
                      </a:solidFill>
                      <a:prstDash val="solid"/>
                    </a:lnL>
                    <a:lnT w="9525">
                      <a:solidFill>
                        <a:srgbClr val="E5E5E5"/>
                      </a:solidFill>
                      <a:prstDash val="solid"/>
                    </a:lnT>
                    <a:lnB w="6350">
                      <a:solidFill>
                        <a:srgbClr val="000000"/>
                      </a:solidFill>
                      <a:prstDash val="solid"/>
                    </a:lnB>
                  </a:tcPr>
                </a:tc>
                <a:extLst>
                  <a:ext uri="{0D108BD9-81ED-4DB2-BD59-A6C34878D82A}">
                    <a16:rowId xmlns:a16="http://schemas.microsoft.com/office/drawing/2014/main" val="10011"/>
                  </a:ext>
                </a:extLst>
              </a:tr>
              <a:tr h="268941">
                <a:tc>
                  <a:txBody>
                    <a:bodyPr/>
                    <a:lstStyle/>
                    <a:p>
                      <a:pPr marL="38100">
                        <a:lnSpc>
                          <a:spcPct val="100000"/>
                        </a:lnSpc>
                        <a:spcBef>
                          <a:spcPts val="545"/>
                        </a:spcBef>
                      </a:pPr>
                      <a:r>
                        <a:rPr sz="900" b="1" spc="45">
                          <a:latin typeface="Calibri"/>
                          <a:cs typeface="Calibri"/>
                        </a:rPr>
                        <a:t>TOTAL</a:t>
                      </a:r>
                      <a:endParaRPr sz="900">
                        <a:latin typeface="Calibri"/>
                        <a:cs typeface="Calibri"/>
                      </a:endParaRPr>
                    </a:p>
                  </a:txBody>
                  <a:tcPr marL="0" marR="0" marT="61072" marB="0">
                    <a:lnT w="6350">
                      <a:solidFill>
                        <a:srgbClr val="000000"/>
                      </a:solidFill>
                      <a:prstDash val="solid"/>
                    </a:lnT>
                    <a:lnB w="3175">
                      <a:solidFill>
                        <a:srgbClr val="000000"/>
                      </a:solidFill>
                      <a:prstDash val="solid"/>
                    </a:lnB>
                  </a:tcPr>
                </a:tc>
                <a:tc>
                  <a:txBody>
                    <a:bodyPr/>
                    <a:lstStyle/>
                    <a:p>
                      <a:pPr marR="231775" algn="r">
                        <a:lnSpc>
                          <a:spcPct val="100000"/>
                        </a:lnSpc>
                        <a:spcBef>
                          <a:spcPts val="640"/>
                        </a:spcBef>
                      </a:pPr>
                      <a:r>
                        <a:rPr sz="800" spc="-25">
                          <a:latin typeface="Calibri"/>
                          <a:cs typeface="Calibri"/>
                        </a:rPr>
                        <a:t>29</a:t>
                      </a:r>
                      <a:endParaRPr sz="800">
                        <a:latin typeface="Calibri"/>
                        <a:cs typeface="Calibri"/>
                      </a:endParaRPr>
                    </a:p>
                  </a:txBody>
                  <a:tcPr marL="0" marR="0" marT="71718" marB="0">
                    <a:lnR w="9525">
                      <a:solidFill>
                        <a:srgbClr val="E6E6E6"/>
                      </a:solidFill>
                      <a:prstDash val="solid"/>
                    </a:lnR>
                    <a:lnT w="6350">
                      <a:solidFill>
                        <a:srgbClr val="000000"/>
                      </a:solidFill>
                      <a:prstDash val="solid"/>
                    </a:lnT>
                    <a:lnB w="3175">
                      <a:solidFill>
                        <a:srgbClr val="000000"/>
                      </a:solidFill>
                      <a:prstDash val="solid"/>
                    </a:lnB>
                  </a:tcPr>
                </a:tc>
                <a:tc>
                  <a:txBody>
                    <a:bodyPr/>
                    <a:lstStyle/>
                    <a:p>
                      <a:pPr marL="122555">
                        <a:lnSpc>
                          <a:spcPct val="100000"/>
                        </a:lnSpc>
                        <a:spcBef>
                          <a:spcPts val="545"/>
                        </a:spcBef>
                      </a:pPr>
                      <a:r>
                        <a:rPr sz="900" b="1" spc="-25">
                          <a:latin typeface="Calibri"/>
                          <a:cs typeface="Calibri"/>
                        </a:rPr>
                        <a:t>175</a:t>
                      </a:r>
                      <a:endParaRPr sz="900">
                        <a:latin typeface="Calibri"/>
                        <a:cs typeface="Calibri"/>
                      </a:endParaRPr>
                    </a:p>
                  </a:txBody>
                  <a:tcPr marL="0" marR="0" marT="61072" marB="0">
                    <a:lnL w="9525">
                      <a:solidFill>
                        <a:srgbClr val="E6E6E6"/>
                      </a:solidFill>
                      <a:prstDash val="solid"/>
                    </a:lnL>
                    <a:lnR w="3175">
                      <a:solidFill>
                        <a:srgbClr val="000000"/>
                      </a:solidFill>
                      <a:prstDash val="solid"/>
                    </a:lnR>
                    <a:lnT w="6350">
                      <a:solidFill>
                        <a:srgbClr val="000000"/>
                      </a:solidFill>
                      <a:prstDash val="solid"/>
                    </a:lnT>
                    <a:lnB w="3175">
                      <a:solidFill>
                        <a:srgbClr val="000000"/>
                      </a:solidFill>
                      <a:prstDash val="solid"/>
                    </a:lnB>
                  </a:tcPr>
                </a:tc>
                <a:tc gridSpan="2">
                  <a:txBody>
                    <a:bodyPr/>
                    <a:lstStyle/>
                    <a:p>
                      <a:pPr marR="234315" algn="r">
                        <a:lnSpc>
                          <a:spcPct val="100000"/>
                        </a:lnSpc>
                        <a:spcBef>
                          <a:spcPts val="640"/>
                        </a:spcBef>
                      </a:pPr>
                      <a:r>
                        <a:rPr sz="800">
                          <a:latin typeface="Calibri"/>
                          <a:cs typeface="Calibri"/>
                        </a:rPr>
                        <a:t>-</a:t>
                      </a:r>
                    </a:p>
                  </a:txBody>
                  <a:tcPr marL="0" marR="0" marT="71718" marB="0">
                    <a:lnL w="3175">
                      <a:solidFill>
                        <a:srgbClr val="000000"/>
                      </a:solidFill>
                      <a:prstDash val="solid"/>
                    </a:lnL>
                    <a:lnR w="9525">
                      <a:solidFill>
                        <a:srgbClr val="E6E6E6"/>
                      </a:solidFill>
                      <a:prstDash val="solid"/>
                    </a:lnR>
                    <a:lnT w="6350">
                      <a:solidFill>
                        <a:srgbClr val="000000"/>
                      </a:solidFill>
                      <a:prstDash val="solid"/>
                    </a:lnT>
                    <a:lnB w="3175">
                      <a:solidFill>
                        <a:srgbClr val="000000"/>
                      </a:solidFill>
                      <a:prstDash val="solid"/>
                    </a:lnB>
                  </a:tcPr>
                </a:tc>
                <a:tc hMerge="1">
                  <a:txBody>
                    <a:bodyPr/>
                    <a:lstStyle/>
                    <a:p>
                      <a:endParaRPr/>
                    </a:p>
                  </a:txBody>
                  <a:tcPr marL="0" marR="0" marT="0" marB="0"/>
                </a:tc>
                <a:tc>
                  <a:txBody>
                    <a:bodyPr/>
                    <a:lstStyle/>
                    <a:p>
                      <a:pPr marL="173990">
                        <a:lnSpc>
                          <a:spcPct val="100000"/>
                        </a:lnSpc>
                        <a:spcBef>
                          <a:spcPts val="545"/>
                        </a:spcBef>
                      </a:pPr>
                      <a:r>
                        <a:rPr sz="900" b="1" spc="50">
                          <a:latin typeface="Calibri"/>
                          <a:cs typeface="Calibri"/>
                        </a:rPr>
                        <a:t>39</a:t>
                      </a:r>
                      <a:endParaRPr sz="900">
                        <a:latin typeface="Calibri"/>
                        <a:cs typeface="Calibri"/>
                      </a:endParaRPr>
                    </a:p>
                  </a:txBody>
                  <a:tcPr marL="0" marR="0" marT="61072" marB="0">
                    <a:lnL w="9525">
                      <a:solidFill>
                        <a:srgbClr val="E6E6E6"/>
                      </a:solidFill>
                      <a:prstDash val="solid"/>
                    </a:lnL>
                    <a:lnR w="3175">
                      <a:solidFill>
                        <a:srgbClr val="000000"/>
                      </a:solidFill>
                      <a:prstDash val="solid"/>
                    </a:lnR>
                    <a:lnT w="6350">
                      <a:solidFill>
                        <a:srgbClr val="000000"/>
                      </a:solidFill>
                      <a:prstDash val="solid"/>
                    </a:lnT>
                    <a:lnB w="3175">
                      <a:solidFill>
                        <a:srgbClr val="000000"/>
                      </a:solidFill>
                      <a:prstDash val="solid"/>
                    </a:lnB>
                  </a:tcPr>
                </a:tc>
                <a:tc gridSpan="2">
                  <a:txBody>
                    <a:bodyPr/>
                    <a:lstStyle/>
                    <a:p>
                      <a:pPr marR="234315" algn="r">
                        <a:lnSpc>
                          <a:spcPct val="100000"/>
                        </a:lnSpc>
                        <a:spcBef>
                          <a:spcPts val="640"/>
                        </a:spcBef>
                      </a:pPr>
                      <a:r>
                        <a:rPr sz="800">
                          <a:latin typeface="Calibri"/>
                          <a:cs typeface="Calibri"/>
                        </a:rPr>
                        <a:t>-</a:t>
                      </a:r>
                    </a:p>
                  </a:txBody>
                  <a:tcPr marL="0" marR="0" marT="71718" marB="0">
                    <a:lnL w="3175">
                      <a:solidFill>
                        <a:srgbClr val="000000"/>
                      </a:solidFill>
                      <a:prstDash val="solid"/>
                    </a:lnL>
                    <a:lnR w="9525">
                      <a:solidFill>
                        <a:srgbClr val="E6E6E6"/>
                      </a:solidFill>
                      <a:prstDash val="solid"/>
                    </a:lnR>
                    <a:lnT w="6350">
                      <a:solidFill>
                        <a:srgbClr val="000000"/>
                      </a:solidFill>
                      <a:prstDash val="solid"/>
                    </a:lnT>
                    <a:lnB w="3175">
                      <a:solidFill>
                        <a:srgbClr val="000000"/>
                      </a:solidFill>
                      <a:prstDash val="solid"/>
                    </a:lnB>
                  </a:tcPr>
                </a:tc>
                <a:tc hMerge="1">
                  <a:txBody>
                    <a:bodyPr/>
                    <a:lstStyle/>
                    <a:p>
                      <a:endParaRPr/>
                    </a:p>
                  </a:txBody>
                  <a:tcPr marL="0" marR="0" marT="0" marB="0"/>
                </a:tc>
                <a:tc>
                  <a:txBody>
                    <a:bodyPr/>
                    <a:lstStyle/>
                    <a:p>
                      <a:pPr marL="123825">
                        <a:lnSpc>
                          <a:spcPct val="100000"/>
                        </a:lnSpc>
                        <a:spcBef>
                          <a:spcPts val="545"/>
                        </a:spcBef>
                      </a:pPr>
                      <a:r>
                        <a:rPr sz="900" b="1" spc="-25">
                          <a:latin typeface="Calibri"/>
                          <a:cs typeface="Calibri"/>
                        </a:rPr>
                        <a:t>114</a:t>
                      </a:r>
                      <a:endParaRPr sz="900">
                        <a:latin typeface="Calibri"/>
                        <a:cs typeface="Calibri"/>
                      </a:endParaRPr>
                    </a:p>
                  </a:txBody>
                  <a:tcPr marL="0" marR="0" marT="61072" marB="0">
                    <a:lnL w="9525">
                      <a:solidFill>
                        <a:srgbClr val="E6E6E6"/>
                      </a:solidFill>
                      <a:prstDash val="solid"/>
                    </a:lnL>
                    <a:lnT w="6350">
                      <a:solidFill>
                        <a:srgbClr val="000000"/>
                      </a:solidFill>
                      <a:prstDash val="solid"/>
                    </a:lnT>
                    <a:lnB w="3175">
                      <a:solidFill>
                        <a:srgbClr val="000000"/>
                      </a:solidFill>
                      <a:prstDash val="solid"/>
                    </a:lnB>
                  </a:tcPr>
                </a:tc>
                <a:extLst>
                  <a:ext uri="{0D108BD9-81ED-4DB2-BD59-A6C34878D82A}">
                    <a16:rowId xmlns:a16="http://schemas.microsoft.com/office/drawing/2014/main" val="10012"/>
                  </a:ext>
                </a:extLst>
              </a:tr>
            </a:tbl>
          </a:graphicData>
        </a:graphic>
      </p:graphicFrame>
      <p:pic>
        <p:nvPicPr>
          <p:cNvPr id="10" name="object 10"/>
          <p:cNvPicPr/>
          <p:nvPr/>
        </p:nvPicPr>
        <p:blipFill>
          <a:blip r:embed="rId13" cstate="print"/>
          <a:stretch>
            <a:fillRect/>
          </a:stretch>
        </p:blipFill>
        <p:spPr>
          <a:xfrm>
            <a:off x="2113115" y="797700"/>
            <a:ext cx="1975865" cy="511023"/>
          </a:xfrm>
          <a:prstGeom prst="rect">
            <a:avLst/>
          </a:prstGeom>
        </p:spPr>
      </p:pic>
      <p:pic>
        <p:nvPicPr>
          <p:cNvPr id="11" name="object 11"/>
          <p:cNvPicPr/>
          <p:nvPr/>
        </p:nvPicPr>
        <p:blipFill>
          <a:blip r:embed="rId14" cstate="print"/>
          <a:stretch>
            <a:fillRect/>
          </a:stretch>
        </p:blipFill>
        <p:spPr>
          <a:xfrm>
            <a:off x="6477000" y="1035512"/>
            <a:ext cx="1032398" cy="241901"/>
          </a:xfrm>
          <a:prstGeom prst="rect">
            <a:avLst/>
          </a:prstGeom>
        </p:spPr>
      </p:pic>
      <p:pic>
        <p:nvPicPr>
          <p:cNvPr id="12" name="object 12"/>
          <p:cNvPicPr/>
          <p:nvPr/>
        </p:nvPicPr>
        <p:blipFill>
          <a:blip r:embed="rId15" cstate="print"/>
          <a:stretch>
            <a:fillRect/>
          </a:stretch>
        </p:blipFill>
        <p:spPr>
          <a:xfrm>
            <a:off x="4336677" y="931601"/>
            <a:ext cx="1402102" cy="382490"/>
          </a:xfrm>
          <a:prstGeom prst="rect">
            <a:avLst/>
          </a:prstGeom>
        </p:spPr>
      </p:pic>
      <p:pic>
        <p:nvPicPr>
          <p:cNvPr id="13" name="object 13"/>
          <p:cNvPicPr/>
          <p:nvPr/>
        </p:nvPicPr>
        <p:blipFill>
          <a:blip r:embed="rId16" cstate="print"/>
          <a:stretch>
            <a:fillRect/>
          </a:stretch>
        </p:blipFill>
        <p:spPr>
          <a:xfrm>
            <a:off x="2068289" y="157333"/>
            <a:ext cx="127478" cy="125068"/>
          </a:xfrm>
          <a:prstGeom prst="rect">
            <a:avLst/>
          </a:prstGeom>
        </p:spPr>
      </p:pic>
      <p:grpSp>
        <p:nvGrpSpPr>
          <p:cNvPr id="14" name="object 14"/>
          <p:cNvGrpSpPr/>
          <p:nvPr/>
        </p:nvGrpSpPr>
        <p:grpSpPr>
          <a:xfrm>
            <a:off x="2249274" y="185592"/>
            <a:ext cx="210110" cy="64994"/>
            <a:chOff x="669577" y="210337"/>
            <a:chExt cx="238125" cy="73660"/>
          </a:xfrm>
        </p:grpSpPr>
        <p:pic>
          <p:nvPicPr>
            <p:cNvPr id="15" name="object 15"/>
            <p:cNvPicPr/>
            <p:nvPr/>
          </p:nvPicPr>
          <p:blipFill>
            <a:blip r:embed="rId17" cstate="print"/>
            <a:stretch>
              <a:fillRect/>
            </a:stretch>
          </p:blipFill>
          <p:spPr>
            <a:xfrm>
              <a:off x="830875" y="210381"/>
              <a:ext cx="76250" cy="73393"/>
            </a:xfrm>
            <a:prstGeom prst="rect">
              <a:avLst/>
            </a:prstGeom>
          </p:spPr>
        </p:pic>
        <p:pic>
          <p:nvPicPr>
            <p:cNvPr id="16" name="object 16"/>
            <p:cNvPicPr/>
            <p:nvPr/>
          </p:nvPicPr>
          <p:blipFill>
            <a:blip r:embed="rId18" cstate="print"/>
            <a:stretch>
              <a:fillRect/>
            </a:stretch>
          </p:blipFill>
          <p:spPr>
            <a:xfrm>
              <a:off x="669577" y="210375"/>
              <a:ext cx="83515" cy="73444"/>
            </a:xfrm>
            <a:prstGeom prst="rect">
              <a:avLst/>
            </a:prstGeom>
          </p:spPr>
        </p:pic>
        <p:sp>
          <p:nvSpPr>
            <p:cNvPr id="17" name="object 17"/>
            <p:cNvSpPr/>
            <p:nvPr/>
          </p:nvSpPr>
          <p:spPr>
            <a:xfrm>
              <a:off x="775957" y="210337"/>
              <a:ext cx="17780" cy="73660"/>
            </a:xfrm>
            <a:custGeom>
              <a:avLst/>
              <a:gdLst/>
              <a:ahLst/>
              <a:cxnLst/>
              <a:rect l="l" t="t" r="r" b="b"/>
              <a:pathLst>
                <a:path w="17779" h="73660">
                  <a:moveTo>
                    <a:pt x="17233" y="0"/>
                  </a:moveTo>
                  <a:lnTo>
                    <a:pt x="0" y="0"/>
                  </a:lnTo>
                  <a:lnTo>
                    <a:pt x="0" y="73444"/>
                  </a:lnTo>
                  <a:lnTo>
                    <a:pt x="17233" y="73444"/>
                  </a:lnTo>
                  <a:lnTo>
                    <a:pt x="17233" y="0"/>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18" name="object 18"/>
          <p:cNvGrpSpPr/>
          <p:nvPr/>
        </p:nvGrpSpPr>
        <p:grpSpPr>
          <a:xfrm>
            <a:off x="2500109" y="183698"/>
            <a:ext cx="524996" cy="68916"/>
            <a:chOff x="953857" y="208191"/>
            <a:chExt cx="594995" cy="78105"/>
          </a:xfrm>
        </p:grpSpPr>
        <p:pic>
          <p:nvPicPr>
            <p:cNvPr id="19" name="object 19"/>
            <p:cNvPicPr/>
            <p:nvPr/>
          </p:nvPicPr>
          <p:blipFill>
            <a:blip r:embed="rId19" cstate="print"/>
            <a:stretch>
              <a:fillRect/>
            </a:stretch>
          </p:blipFill>
          <p:spPr>
            <a:xfrm>
              <a:off x="953857" y="208191"/>
              <a:ext cx="76517" cy="77927"/>
            </a:xfrm>
            <a:prstGeom prst="rect">
              <a:avLst/>
            </a:prstGeom>
          </p:spPr>
        </p:pic>
        <p:pic>
          <p:nvPicPr>
            <p:cNvPr id="20" name="object 20"/>
            <p:cNvPicPr/>
            <p:nvPr/>
          </p:nvPicPr>
          <p:blipFill>
            <a:blip r:embed="rId20" cstate="print"/>
            <a:stretch>
              <a:fillRect/>
            </a:stretch>
          </p:blipFill>
          <p:spPr>
            <a:xfrm>
              <a:off x="1051401" y="210375"/>
              <a:ext cx="83502" cy="73444"/>
            </a:xfrm>
            <a:prstGeom prst="rect">
              <a:avLst/>
            </a:prstGeom>
          </p:spPr>
        </p:pic>
        <p:pic>
          <p:nvPicPr>
            <p:cNvPr id="21" name="object 21"/>
            <p:cNvPicPr/>
            <p:nvPr/>
          </p:nvPicPr>
          <p:blipFill>
            <a:blip r:embed="rId21" cstate="print"/>
            <a:stretch>
              <a:fillRect/>
            </a:stretch>
          </p:blipFill>
          <p:spPr>
            <a:xfrm>
              <a:off x="1263714" y="210375"/>
              <a:ext cx="83515" cy="73444"/>
            </a:xfrm>
            <a:prstGeom prst="rect">
              <a:avLst/>
            </a:prstGeom>
          </p:spPr>
        </p:pic>
        <p:pic>
          <p:nvPicPr>
            <p:cNvPr id="22" name="object 22"/>
            <p:cNvPicPr/>
            <p:nvPr/>
          </p:nvPicPr>
          <p:blipFill>
            <a:blip r:embed="rId22" cstate="print"/>
            <a:stretch>
              <a:fillRect/>
            </a:stretch>
          </p:blipFill>
          <p:spPr>
            <a:xfrm>
              <a:off x="1159389" y="210385"/>
              <a:ext cx="79794" cy="73431"/>
            </a:xfrm>
            <a:prstGeom prst="rect">
              <a:avLst/>
            </a:prstGeom>
          </p:spPr>
        </p:pic>
        <p:sp>
          <p:nvSpPr>
            <p:cNvPr id="23" name="object 23"/>
            <p:cNvSpPr/>
            <p:nvPr/>
          </p:nvSpPr>
          <p:spPr>
            <a:xfrm>
              <a:off x="1371422" y="210387"/>
              <a:ext cx="177800" cy="73660"/>
            </a:xfrm>
            <a:custGeom>
              <a:avLst/>
              <a:gdLst/>
              <a:ahLst/>
              <a:cxnLst/>
              <a:rect l="l" t="t" r="r" b="b"/>
              <a:pathLst>
                <a:path w="177800" h="73660">
                  <a:moveTo>
                    <a:pt x="74993" y="35293"/>
                  </a:moveTo>
                  <a:lnTo>
                    <a:pt x="74371" y="27292"/>
                  </a:lnTo>
                  <a:lnTo>
                    <a:pt x="72478" y="20256"/>
                  </a:lnTo>
                  <a:lnTo>
                    <a:pt x="69303" y="14224"/>
                  </a:lnTo>
                  <a:lnTo>
                    <a:pt x="65582" y="10007"/>
                  </a:lnTo>
                  <a:lnTo>
                    <a:pt x="64846" y="9169"/>
                  </a:lnTo>
                  <a:lnTo>
                    <a:pt x="59207" y="5194"/>
                  </a:lnTo>
                  <a:lnTo>
                    <a:pt x="56730" y="4152"/>
                  </a:lnTo>
                  <a:lnTo>
                    <a:pt x="56730" y="29095"/>
                  </a:lnTo>
                  <a:lnTo>
                    <a:pt x="56680" y="45161"/>
                  </a:lnTo>
                  <a:lnTo>
                    <a:pt x="54483" y="51904"/>
                  </a:lnTo>
                  <a:lnTo>
                    <a:pt x="49999" y="56349"/>
                  </a:lnTo>
                  <a:lnTo>
                    <a:pt x="45580" y="60782"/>
                  </a:lnTo>
                  <a:lnTo>
                    <a:pt x="38874" y="62979"/>
                  </a:lnTo>
                  <a:lnTo>
                    <a:pt x="17183" y="62941"/>
                  </a:lnTo>
                  <a:lnTo>
                    <a:pt x="17183" y="10007"/>
                  </a:lnTo>
                  <a:lnTo>
                    <a:pt x="54978" y="23241"/>
                  </a:lnTo>
                  <a:lnTo>
                    <a:pt x="56730" y="29095"/>
                  </a:lnTo>
                  <a:lnTo>
                    <a:pt x="56730" y="4152"/>
                  </a:lnTo>
                  <a:lnTo>
                    <a:pt x="52451" y="2324"/>
                  </a:lnTo>
                  <a:lnTo>
                    <a:pt x="44564" y="584"/>
                  </a:lnTo>
                  <a:lnTo>
                    <a:pt x="35547" y="0"/>
                  </a:lnTo>
                  <a:lnTo>
                    <a:pt x="0" y="0"/>
                  </a:lnTo>
                  <a:lnTo>
                    <a:pt x="0" y="73393"/>
                  </a:lnTo>
                  <a:lnTo>
                    <a:pt x="33858" y="73393"/>
                  </a:lnTo>
                  <a:lnTo>
                    <a:pt x="68834" y="57975"/>
                  </a:lnTo>
                  <a:lnTo>
                    <a:pt x="74282" y="43878"/>
                  </a:lnTo>
                  <a:lnTo>
                    <a:pt x="74993" y="35293"/>
                  </a:lnTo>
                  <a:close/>
                </a:path>
                <a:path w="177800" h="73660">
                  <a:moveTo>
                    <a:pt x="177304" y="73444"/>
                  </a:moveTo>
                  <a:lnTo>
                    <a:pt x="168783" y="53746"/>
                  </a:lnTo>
                  <a:lnTo>
                    <a:pt x="164579" y="44043"/>
                  </a:lnTo>
                  <a:lnTo>
                    <a:pt x="151930" y="14820"/>
                  </a:lnTo>
                  <a:lnTo>
                    <a:pt x="145529" y="0"/>
                  </a:lnTo>
                  <a:lnTo>
                    <a:pt x="144614" y="0"/>
                  </a:lnTo>
                  <a:lnTo>
                    <a:pt x="144614" y="44043"/>
                  </a:lnTo>
                  <a:lnTo>
                    <a:pt x="119176" y="44043"/>
                  </a:lnTo>
                  <a:lnTo>
                    <a:pt x="131953" y="14820"/>
                  </a:lnTo>
                  <a:lnTo>
                    <a:pt x="144614" y="44043"/>
                  </a:lnTo>
                  <a:lnTo>
                    <a:pt x="144614" y="0"/>
                  </a:lnTo>
                  <a:lnTo>
                    <a:pt x="125984" y="0"/>
                  </a:lnTo>
                  <a:lnTo>
                    <a:pt x="93789" y="73444"/>
                  </a:lnTo>
                  <a:lnTo>
                    <a:pt x="106273" y="73444"/>
                  </a:lnTo>
                  <a:lnTo>
                    <a:pt x="114935" y="53746"/>
                  </a:lnTo>
                  <a:lnTo>
                    <a:pt x="148831" y="53746"/>
                  </a:lnTo>
                  <a:lnTo>
                    <a:pt x="157353" y="73444"/>
                  </a:lnTo>
                  <a:lnTo>
                    <a:pt x="177304" y="73444"/>
                  </a:lnTo>
                  <a:close/>
                </a:path>
              </a:pathLst>
            </a:custGeom>
            <a:solidFill>
              <a:srgbClr val="000000"/>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4" name="object 24"/>
          <p:cNvSpPr txBox="1"/>
          <p:nvPr/>
        </p:nvSpPr>
        <p:spPr>
          <a:xfrm>
            <a:off x="8615842" y="153081"/>
            <a:ext cx="1256740" cy="119935"/>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tab pos="1160991" algn="l"/>
              </a:tabLst>
              <a:defRPr/>
            </a:pPr>
            <a:r>
              <a:rPr kumimoji="0" sz="706" b="1" i="0" u="none" strike="noStrike" kern="0" cap="none" spc="0" normalizeH="0" baseline="0" noProof="0">
                <a:ln>
                  <a:noFill/>
                </a:ln>
                <a:solidFill>
                  <a:sysClr val="windowText" lastClr="000000"/>
                </a:solidFill>
                <a:effectLst/>
                <a:uLnTx/>
                <a:uFillTx/>
                <a:latin typeface="Calibri"/>
                <a:ea typeface="+mn-ea"/>
                <a:cs typeface="Calibri"/>
              </a:rPr>
              <a:t>Overview</a:t>
            </a:r>
            <a:r>
              <a:rPr kumimoji="0" sz="706" b="1" i="0" u="none" strike="noStrike" kern="0" cap="none" spc="216" normalizeH="0" baseline="0" noProof="0">
                <a:ln>
                  <a:noFill/>
                </a:ln>
                <a:solidFill>
                  <a:sysClr val="windowText" lastClr="000000"/>
                </a:solidFill>
                <a:effectLst/>
                <a:uLnTx/>
                <a:uFillTx/>
                <a:latin typeface="Calibri"/>
                <a:ea typeface="+mn-ea"/>
                <a:cs typeface="Calibri"/>
              </a:rPr>
              <a:t> </a:t>
            </a:r>
            <a:r>
              <a:rPr kumimoji="0" sz="706" b="0" i="0" u="none" strike="noStrike" kern="0" cap="none" spc="-44" normalizeH="0" baseline="0" noProof="0">
                <a:ln>
                  <a:noFill/>
                </a:ln>
                <a:solidFill>
                  <a:sysClr val="windowText" lastClr="000000"/>
                </a:solidFill>
                <a:effectLst/>
                <a:uLnTx/>
                <a:uFillTx/>
                <a:latin typeface="Calibri"/>
                <a:ea typeface="+mn-ea"/>
                <a:cs typeface="Calibri"/>
              </a:rPr>
              <a:t>|</a:t>
            </a:r>
            <a:r>
              <a:rPr kumimoji="0" sz="706" b="0" i="0" u="none" strike="noStrike" kern="0" cap="none" spc="221" normalizeH="0" baseline="0" noProof="0">
                <a:ln>
                  <a:noFill/>
                </a:ln>
                <a:solidFill>
                  <a:sysClr val="windowText" lastClr="000000"/>
                </a:solidFill>
                <a:effectLst/>
                <a:uLnTx/>
                <a:uFillTx/>
                <a:latin typeface="Calibri"/>
                <a:ea typeface="+mn-ea"/>
                <a:cs typeface="Calibri"/>
              </a:rPr>
              <a:t> </a:t>
            </a:r>
            <a:r>
              <a:rPr kumimoji="0" sz="706" b="0" i="0" u="none" strike="noStrike" kern="0" cap="none" spc="0" normalizeH="0" baseline="0" noProof="0">
                <a:ln>
                  <a:noFill/>
                </a:ln>
                <a:solidFill>
                  <a:sysClr val="windowText" lastClr="000000"/>
                </a:solidFill>
                <a:effectLst/>
                <a:uLnTx/>
                <a:uFillTx/>
                <a:latin typeface="Calibri"/>
                <a:ea typeface="+mn-ea"/>
                <a:cs typeface="Calibri"/>
              </a:rPr>
              <a:t>MARCH</a:t>
            </a:r>
            <a:r>
              <a:rPr kumimoji="0" sz="706" b="0" i="0" u="none" strike="noStrike" kern="0" cap="none" spc="26" normalizeH="0" baseline="0" noProof="0">
                <a:ln>
                  <a:noFill/>
                </a:ln>
                <a:solidFill>
                  <a:sysClr val="windowText" lastClr="000000"/>
                </a:solidFill>
                <a:effectLst/>
                <a:uLnTx/>
                <a:uFillTx/>
                <a:latin typeface="Calibri"/>
                <a:ea typeface="+mn-ea"/>
                <a:cs typeface="Calibri"/>
              </a:rPr>
              <a:t> </a:t>
            </a:r>
            <a:r>
              <a:rPr kumimoji="0" sz="706" b="0" i="0" u="none" strike="noStrike" kern="0" cap="none" spc="-18" normalizeH="0" baseline="0" noProof="0">
                <a:ln>
                  <a:noFill/>
                </a:ln>
                <a:solidFill>
                  <a:sysClr val="windowText" lastClr="000000"/>
                </a:solidFill>
                <a:effectLst/>
                <a:uLnTx/>
                <a:uFillTx/>
                <a:latin typeface="Calibri"/>
                <a:ea typeface="+mn-ea"/>
                <a:cs typeface="Calibri"/>
              </a:rPr>
              <a:t>2022</a:t>
            </a:r>
            <a:r>
              <a:rPr kumimoji="0" sz="706" b="0" i="0" u="none" strike="noStrike" kern="0" cap="none" spc="0" normalizeH="0" baseline="0" noProof="0">
                <a:ln>
                  <a:noFill/>
                </a:ln>
                <a:solidFill>
                  <a:sysClr val="windowText" lastClr="000000"/>
                </a:solidFill>
                <a:effectLst/>
                <a:uLnTx/>
                <a:uFillTx/>
                <a:latin typeface="Calibri"/>
                <a:ea typeface="+mn-ea"/>
                <a:cs typeface="Calibri"/>
              </a:rPr>
              <a:t>	</a:t>
            </a:r>
            <a:r>
              <a:rPr kumimoji="0" sz="706" b="1" i="0" u="none" strike="noStrike" kern="0" cap="none" spc="-22" normalizeH="0" baseline="0" noProof="0">
                <a:ln>
                  <a:noFill/>
                </a:ln>
                <a:solidFill>
                  <a:sysClr val="windowText" lastClr="000000"/>
                </a:solidFill>
                <a:effectLst/>
                <a:uLnTx/>
                <a:uFillTx/>
                <a:latin typeface="Calibri"/>
                <a:ea typeface="+mn-ea"/>
                <a:cs typeface="Calibri"/>
              </a:rPr>
              <a:t>11</a:t>
            </a:r>
            <a:endParaRPr kumimoji="0" sz="706"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5" name="Footer Placeholder 24">
            <a:extLst>
              <a:ext uri="{FF2B5EF4-FFF2-40B4-BE49-F238E27FC236}">
                <a16:creationId xmlns:a16="http://schemas.microsoft.com/office/drawing/2014/main" id="{F4700439-77A9-4479-F43D-27E52E3AA1A2}"/>
              </a:ext>
            </a:extLst>
          </p:cNvPr>
          <p:cNvSpPr>
            <a:spLocks noGrp="1"/>
          </p:cNvSpPr>
          <p:nvPr>
            <p:ph type="ftr" sz="quarter" idx="5"/>
          </p:nvPr>
        </p:nvSpPr>
        <p:spPr/>
        <p:txBody>
          <a:bodyPr/>
          <a:lstStyle/>
          <a:p>
            <a:r>
              <a:rPr lang="en-CA"/>
              <a:t>Priveledged and Confidential</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p:pic>
      <p:sp>
        <p:nvSpPr>
          <p:cNvPr id="3" name="Title 2"/>
          <p:cNvSpPr>
            <a:spLocks noGrp="1"/>
          </p:cNvSpPr>
          <p:nvPr>
            <p:ph type="ctrTitle"/>
          </p:nvPr>
        </p:nvSpPr>
        <p:spPr>
          <a:xfrm>
            <a:off x="861061" y="4572000"/>
            <a:ext cx="2901043" cy="1349829"/>
          </a:xfrm>
          <a:effectLst/>
        </p:spPr>
        <p:txBody>
          <a:bodyPr>
            <a:normAutofit/>
          </a:bodyPr>
          <a:lstStyle/>
          <a:p>
            <a:r>
              <a:rPr lang="en-US" sz="2400">
                <a:effectLst>
                  <a:glow rad="114300">
                    <a:schemeClr val="tx1">
                      <a:alpha val="47000"/>
                    </a:schemeClr>
                  </a:glow>
                </a:effectLst>
              </a:rPr>
              <a:t>September 1</a:t>
            </a:r>
            <a:br>
              <a:rPr lang="en-US" sz="2400">
                <a:effectLst>
                  <a:glow rad="114300">
                    <a:schemeClr val="tx1">
                      <a:alpha val="47000"/>
                    </a:schemeClr>
                  </a:glow>
                </a:effectLst>
              </a:rPr>
            </a:br>
            <a:r>
              <a:rPr lang="en-US" sz="4800">
                <a:effectLst>
                  <a:glow rad="114300">
                    <a:schemeClr val="tx1">
                      <a:alpha val="47000"/>
                    </a:schemeClr>
                  </a:glow>
                </a:effectLst>
              </a:rPr>
              <a:t>1937</a:t>
            </a:r>
          </a:p>
        </p:txBody>
      </p:sp>
      <p:sp>
        <p:nvSpPr>
          <p:cNvPr id="5" name="Title 2"/>
          <p:cNvSpPr txBox="1">
            <a:spLocks/>
          </p:cNvSpPr>
          <p:nvPr/>
        </p:nvSpPr>
        <p:spPr>
          <a:xfrm>
            <a:off x="8281852" y="1576252"/>
            <a:ext cx="3204755" cy="949233"/>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r" defTabSz="914377" rtl="0" eaLnBrk="1" fontAlgn="auto" latinLnBrk="0" hangingPunct="1">
              <a:lnSpc>
                <a:spcPct val="110000"/>
              </a:lnSpc>
              <a:spcBef>
                <a:spcPct val="0"/>
              </a:spcBef>
              <a:spcAft>
                <a:spcPts val="0"/>
              </a:spcAft>
              <a:buClrTx/>
              <a:buSzTx/>
              <a:buFontTx/>
              <a:buNone/>
              <a:tabLst/>
              <a:defRPr/>
            </a:pPr>
            <a:r>
              <a:rPr kumimoji="0" lang="en-US" sz="2133"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First flight from Vancouver to Seattle</a:t>
            </a:r>
          </a:p>
        </p:txBody>
      </p:sp>
    </p:spTree>
    <p:extLst>
      <p:ext uri="{BB962C8B-B14F-4D97-AF65-F5344CB8AC3E}">
        <p14:creationId xmlns:p14="http://schemas.microsoft.com/office/powerpoint/2010/main" val="27621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p:pic>
      <p:sp>
        <p:nvSpPr>
          <p:cNvPr id="5" name="Title 2"/>
          <p:cNvSpPr txBox="1">
            <a:spLocks/>
          </p:cNvSpPr>
          <p:nvPr/>
        </p:nvSpPr>
        <p:spPr>
          <a:xfrm>
            <a:off x="861061" y="4902927"/>
            <a:ext cx="2901043" cy="1010195"/>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000000"/>
                </a:solidFill>
                <a:effectLst/>
                <a:uLnTx/>
                <a:uFillTx/>
                <a:latin typeface="Verdana" charset="0"/>
                <a:ea typeface="Verdana" charset="0"/>
              </a:rPr>
              <a:t>1938</a:t>
            </a:r>
          </a:p>
        </p:txBody>
      </p:sp>
      <p:sp>
        <p:nvSpPr>
          <p:cNvPr id="6" name="Title 2"/>
          <p:cNvSpPr txBox="1">
            <a:spLocks/>
          </p:cNvSpPr>
          <p:nvPr/>
        </p:nvSpPr>
        <p:spPr>
          <a:xfrm>
            <a:off x="8020595" y="769564"/>
            <a:ext cx="3466012" cy="1053737"/>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r" defTabSz="914377" rtl="0" eaLnBrk="1" fontAlgn="auto" latinLnBrk="0" hangingPunct="1">
              <a:lnSpc>
                <a:spcPct val="110000"/>
              </a:lnSpc>
              <a:spcBef>
                <a:spcPct val="0"/>
              </a:spcBef>
              <a:spcAft>
                <a:spcPts val="0"/>
              </a:spcAft>
              <a:buClrTx/>
              <a:buSzTx/>
              <a:buFontTx/>
              <a:buNone/>
              <a:tabLst/>
              <a:defRPr/>
            </a:pPr>
            <a:r>
              <a:rPr kumimoji="0" lang="en-US" sz="2133" b="0" i="0" u="none" strike="noStrike" kern="1200" cap="none" spc="0" normalizeH="0" baseline="0" noProof="0">
                <a:ln>
                  <a:noFill/>
                </a:ln>
                <a:solidFill>
                  <a:srgbClr val="000000"/>
                </a:solidFill>
                <a:effectLst/>
                <a:uLnTx/>
                <a:uFillTx/>
                <a:latin typeface="Verdana" charset="0"/>
                <a:ea typeface="Verdana" charset="0"/>
              </a:rPr>
              <a:t>First airline to install alcohol de-icing nozzles</a:t>
            </a:r>
          </a:p>
        </p:txBody>
      </p:sp>
    </p:spTree>
    <p:extLst>
      <p:ext uri="{BB962C8B-B14F-4D97-AF65-F5344CB8AC3E}">
        <p14:creationId xmlns:p14="http://schemas.microsoft.com/office/powerpoint/2010/main" val="1692084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p:pic>
      <p:sp>
        <p:nvSpPr>
          <p:cNvPr id="4" name="Title 2"/>
          <p:cNvSpPr txBox="1">
            <a:spLocks/>
          </p:cNvSpPr>
          <p:nvPr/>
        </p:nvSpPr>
        <p:spPr>
          <a:xfrm>
            <a:off x="861061" y="5224265"/>
            <a:ext cx="2901043" cy="1010195"/>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1943</a:t>
            </a:r>
          </a:p>
        </p:txBody>
      </p:sp>
      <p:sp>
        <p:nvSpPr>
          <p:cNvPr id="5" name="Title 2"/>
          <p:cNvSpPr txBox="1">
            <a:spLocks/>
          </p:cNvSpPr>
          <p:nvPr/>
        </p:nvSpPr>
        <p:spPr>
          <a:xfrm>
            <a:off x="7707086" y="496389"/>
            <a:ext cx="3779521" cy="1053737"/>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r" defTabSz="914377" rtl="0" eaLnBrk="1" fontAlgn="auto" latinLnBrk="0" hangingPunct="1">
              <a:lnSpc>
                <a:spcPct val="110000"/>
              </a:lnSpc>
              <a:spcBef>
                <a:spcPct val="0"/>
              </a:spcBef>
              <a:spcAft>
                <a:spcPts val="0"/>
              </a:spcAft>
              <a:buClrTx/>
              <a:buSzTx/>
              <a:buFontTx/>
              <a:buNone/>
              <a:tabLst/>
              <a:defRPr/>
            </a:pPr>
            <a:r>
              <a:rPr kumimoji="0" lang="en-US" sz="2133"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First trans-Atlantic flight, Montreal to Prestwick</a:t>
            </a:r>
          </a:p>
        </p:txBody>
      </p:sp>
    </p:spTree>
    <p:extLst>
      <p:ext uri="{BB962C8B-B14F-4D97-AF65-F5344CB8AC3E}">
        <p14:creationId xmlns:p14="http://schemas.microsoft.com/office/powerpoint/2010/main" val="1882342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l="-30084" r="-151"/>
          <a:stretch/>
        </p:blipFill>
        <p:spPr/>
      </p:pic>
      <p:sp>
        <p:nvSpPr>
          <p:cNvPr id="4" name="Title 2"/>
          <p:cNvSpPr txBox="1">
            <a:spLocks/>
          </p:cNvSpPr>
          <p:nvPr/>
        </p:nvSpPr>
        <p:spPr>
          <a:xfrm>
            <a:off x="861062" y="5299741"/>
            <a:ext cx="2314529" cy="1127399"/>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July</a:t>
            </a:r>
            <a:br>
              <a:rPr kumimoji="0" lang="en-US" sz="2400" b="1"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br>
            <a:r>
              <a:rPr kumimoji="0" lang="en-US" sz="4800" b="1"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1950</a:t>
            </a:r>
          </a:p>
        </p:txBody>
      </p:sp>
      <p:sp>
        <p:nvSpPr>
          <p:cNvPr id="5" name="Title 2"/>
          <p:cNvSpPr txBox="1">
            <a:spLocks/>
          </p:cNvSpPr>
          <p:nvPr/>
        </p:nvSpPr>
        <p:spPr>
          <a:xfrm>
            <a:off x="861062" y="1814370"/>
            <a:ext cx="2917372" cy="1053737"/>
          </a:xfrm>
          <a:prstGeom prst="rect">
            <a:avLst/>
          </a:prstGeom>
          <a:effectLst/>
        </p:spPr>
        <p:txBody>
          <a:bodyPr lIns="0" tIns="0" anchor="t" anchorCtr="0">
            <a:normAutofit lnSpcReduction="10000"/>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110000"/>
              </a:lnSpc>
              <a:spcBef>
                <a:spcPct val="0"/>
              </a:spcBef>
              <a:spcAft>
                <a:spcPts val="0"/>
              </a:spcAft>
              <a:buClrTx/>
              <a:buSzTx/>
              <a:buFontTx/>
              <a:buNone/>
              <a:tabLst/>
              <a:defRPr/>
            </a:pPr>
            <a:r>
              <a:rPr kumimoji="0" lang="en-US" sz="2133"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TCA’s </a:t>
            </a:r>
            <a:br>
              <a:rPr kumimoji="0" lang="en-US" sz="2133"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br>
            <a:r>
              <a:rPr kumimoji="0" lang="en-US" sz="2133"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3 millionth passenger</a:t>
            </a:r>
          </a:p>
        </p:txBody>
      </p:sp>
    </p:spTree>
    <p:extLst>
      <p:ext uri="{BB962C8B-B14F-4D97-AF65-F5344CB8AC3E}">
        <p14:creationId xmlns:p14="http://schemas.microsoft.com/office/powerpoint/2010/main" val="195571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564499" y="5638840"/>
            <a:ext cx="2901043" cy="1010195"/>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1950s</a:t>
            </a:r>
          </a:p>
        </p:txBody>
      </p:sp>
      <p:pic>
        <p:nvPicPr>
          <p:cNvPr id="8" name="Picture Placeholder 2"/>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a:xfrm>
            <a:off x="2987589" y="357717"/>
            <a:ext cx="8855161" cy="6069423"/>
          </a:xfrm>
        </p:spPr>
      </p:pic>
      <p:sp>
        <p:nvSpPr>
          <p:cNvPr id="10" name="Title 2"/>
          <p:cNvSpPr txBox="1">
            <a:spLocks/>
          </p:cNvSpPr>
          <p:nvPr/>
        </p:nvSpPr>
        <p:spPr>
          <a:xfrm>
            <a:off x="564500" y="1814369"/>
            <a:ext cx="1895869" cy="1612571"/>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110000"/>
              </a:lnSpc>
              <a:spcBef>
                <a:spcPct val="0"/>
              </a:spcBef>
              <a:spcAft>
                <a:spcPts val="0"/>
              </a:spcAft>
              <a:buClrTx/>
              <a:buSzTx/>
              <a:buFontTx/>
              <a:buNone/>
              <a:tabLst/>
              <a:defRPr/>
            </a:pPr>
            <a:r>
              <a:rPr kumimoji="0" lang="en-US" sz="2133"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Installation of anti-skid brakes</a:t>
            </a:r>
          </a:p>
        </p:txBody>
      </p:sp>
    </p:spTree>
    <p:extLst>
      <p:ext uri="{BB962C8B-B14F-4D97-AF65-F5344CB8AC3E}">
        <p14:creationId xmlns:p14="http://schemas.microsoft.com/office/powerpoint/2010/main" val="368178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screen">
            <a:extLst>
              <a:ext uri="{28A0092B-C50C-407E-A947-70E740481C1C}">
                <a14:useLocalDpi xmlns:a14="http://schemas.microsoft.com/office/drawing/2010/main"/>
              </a:ext>
            </a:extLst>
          </a:blip>
          <a:srcRect r="-125"/>
          <a:stretch/>
        </p:blipFill>
        <p:spPr>
          <a:xfrm>
            <a:off x="407759" y="3622003"/>
            <a:ext cx="5820047" cy="2836461"/>
          </a:xfrm>
          <a:prstGeom prst="rect">
            <a:avLst/>
          </a:prstGeom>
        </p:spPr>
      </p:pic>
      <p:pic>
        <p:nvPicPr>
          <p:cNvPr id="8" name="Picture Placeholder 7"/>
          <p:cNvPicPr>
            <a:picLocks noGrp="1" noChangeAspect="1"/>
          </p:cNvPicPr>
          <p:nvPr>
            <p:ph type="pic" sz="quarter" idx="14"/>
          </p:nvPr>
        </p:nvPicPr>
        <p:blipFill rotWithShape="1">
          <a:blip r:embed="rId4" cstate="screen">
            <a:extLst>
              <a:ext uri="{28A0092B-C50C-407E-A947-70E740481C1C}">
                <a14:useLocalDpi xmlns:a14="http://schemas.microsoft.com/office/drawing/2010/main"/>
              </a:ext>
            </a:extLst>
          </a:blip>
          <a:srcRect/>
          <a:stretch/>
        </p:blipFill>
        <p:spPr>
          <a:xfrm>
            <a:off x="407759" y="354653"/>
            <a:ext cx="5820047" cy="3053019"/>
          </a:xfrm>
        </p:spPr>
      </p:pic>
      <p:sp>
        <p:nvSpPr>
          <p:cNvPr id="4" name="Title 2"/>
          <p:cNvSpPr txBox="1">
            <a:spLocks/>
          </p:cNvSpPr>
          <p:nvPr/>
        </p:nvSpPr>
        <p:spPr>
          <a:xfrm>
            <a:off x="3669583" y="466703"/>
            <a:ext cx="2901043" cy="1010195"/>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FFFFF">
                    <a:lumMod val="95000"/>
                  </a:srgbClr>
                </a:solidFill>
                <a:effectLst>
                  <a:glow rad="114300">
                    <a:srgbClr val="000000">
                      <a:alpha val="25000"/>
                    </a:srgbClr>
                  </a:glow>
                </a:effectLst>
                <a:uLnTx/>
                <a:uFillTx/>
                <a:latin typeface="Verdana" charset="0"/>
                <a:ea typeface="Verdana" charset="0"/>
              </a:rPr>
              <a:t>1960s</a:t>
            </a:r>
          </a:p>
        </p:txBody>
      </p:sp>
      <p:pic>
        <p:nvPicPr>
          <p:cNvPr id="9" name="Picture 8"/>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593781" y="354653"/>
            <a:ext cx="5284748" cy="6103812"/>
          </a:xfrm>
          <a:prstGeom prst="rect">
            <a:avLst/>
          </a:prstGeom>
        </p:spPr>
      </p:pic>
      <p:sp>
        <p:nvSpPr>
          <p:cNvPr id="6" name="Title 2"/>
          <p:cNvSpPr txBox="1">
            <a:spLocks/>
          </p:cNvSpPr>
          <p:nvPr/>
        </p:nvSpPr>
        <p:spPr>
          <a:xfrm>
            <a:off x="9701141" y="556501"/>
            <a:ext cx="2015351" cy="883107"/>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1963</a:t>
            </a:r>
          </a:p>
        </p:txBody>
      </p:sp>
      <p:sp>
        <p:nvSpPr>
          <p:cNvPr id="7" name="Title 2"/>
          <p:cNvSpPr txBox="1">
            <a:spLocks/>
          </p:cNvSpPr>
          <p:nvPr/>
        </p:nvSpPr>
        <p:spPr>
          <a:xfrm>
            <a:off x="686575" y="5839653"/>
            <a:ext cx="2199043" cy="746760"/>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FFFFF">
                    <a:lumMod val="95000"/>
                  </a:srgbClr>
                </a:solidFill>
                <a:effectLst>
                  <a:glow rad="114300">
                    <a:srgbClr val="000000">
                      <a:alpha val="35000"/>
                    </a:srgbClr>
                  </a:glow>
                </a:effectLst>
                <a:uLnTx/>
                <a:uFillTx/>
                <a:latin typeface="Verdana" charset="0"/>
                <a:ea typeface="Verdana" charset="0"/>
              </a:rPr>
              <a:t>1965</a:t>
            </a:r>
          </a:p>
        </p:txBody>
      </p:sp>
      <p:sp>
        <p:nvSpPr>
          <p:cNvPr id="5" name="Title 2"/>
          <p:cNvSpPr txBox="1">
            <a:spLocks/>
          </p:cNvSpPr>
          <p:nvPr/>
        </p:nvSpPr>
        <p:spPr>
          <a:xfrm>
            <a:off x="7945807" y="6040096"/>
            <a:ext cx="3770684" cy="418369"/>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r" defTabSz="914377" rtl="0" eaLnBrk="1" fontAlgn="auto" latinLnBrk="0" hangingPunct="1">
              <a:lnSpc>
                <a:spcPct val="110000"/>
              </a:lnSpc>
              <a:spcBef>
                <a:spcPct val="0"/>
              </a:spcBef>
              <a:spcAft>
                <a:spcPts val="0"/>
              </a:spcAft>
              <a:buClrTx/>
              <a:buSzTx/>
              <a:buFontTx/>
              <a:buNone/>
              <a:tabLst/>
              <a:defRPr/>
            </a:pPr>
            <a:r>
              <a:rPr kumimoji="0" lang="en-US" sz="1600"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Computerized reservation system</a:t>
            </a:r>
          </a:p>
        </p:txBody>
      </p:sp>
      <p:sp>
        <p:nvSpPr>
          <p:cNvPr id="11" name="Title 2"/>
          <p:cNvSpPr txBox="1">
            <a:spLocks/>
          </p:cNvSpPr>
          <p:nvPr/>
        </p:nvSpPr>
        <p:spPr>
          <a:xfrm>
            <a:off x="559479" y="2942447"/>
            <a:ext cx="3504523" cy="374655"/>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110000"/>
              </a:lnSpc>
              <a:spcBef>
                <a:spcPct val="0"/>
              </a:spcBef>
              <a:spcAft>
                <a:spcPts val="0"/>
              </a:spcAft>
              <a:buClrTx/>
              <a:buSzTx/>
              <a:buFontTx/>
              <a:buNone/>
              <a:tabLst/>
              <a:defRPr/>
            </a:pPr>
            <a:r>
              <a:rPr kumimoji="0" lang="en-US" sz="1600" b="0" i="0" u="none" strike="noStrike" kern="1200" cap="none" spc="0" normalizeH="0" baseline="0" noProof="0">
                <a:ln>
                  <a:noFill/>
                </a:ln>
                <a:solidFill>
                  <a:srgbClr val="FFFFFF">
                    <a:lumMod val="95000"/>
                  </a:srgbClr>
                </a:solidFill>
                <a:effectLst>
                  <a:glow rad="114300">
                    <a:srgbClr val="000000">
                      <a:alpha val="35000"/>
                    </a:srgbClr>
                  </a:glow>
                </a:effectLst>
                <a:uLnTx/>
                <a:uFillTx/>
                <a:latin typeface="Verdana" charset="0"/>
                <a:ea typeface="Verdana" charset="0"/>
              </a:rPr>
              <a:t>Introduction of jet aircraft</a:t>
            </a:r>
          </a:p>
        </p:txBody>
      </p:sp>
      <p:sp>
        <p:nvSpPr>
          <p:cNvPr id="12" name="Title 2"/>
          <p:cNvSpPr txBox="1">
            <a:spLocks/>
          </p:cNvSpPr>
          <p:nvPr/>
        </p:nvSpPr>
        <p:spPr>
          <a:xfrm>
            <a:off x="2823098" y="6149509"/>
            <a:ext cx="2569941" cy="308955"/>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110000"/>
              </a:lnSpc>
              <a:spcBef>
                <a:spcPct val="0"/>
              </a:spcBef>
              <a:spcAft>
                <a:spcPts val="0"/>
              </a:spcAft>
              <a:buClrTx/>
              <a:buSzTx/>
              <a:buFontTx/>
              <a:buNone/>
              <a:tabLst/>
              <a:defRPr/>
            </a:pPr>
            <a:r>
              <a:rPr kumimoji="0" lang="en-US" sz="1600"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Covered walkways</a:t>
            </a:r>
          </a:p>
        </p:txBody>
      </p:sp>
    </p:spTree>
    <p:extLst>
      <p:ext uri="{BB962C8B-B14F-4D97-AF65-F5344CB8AC3E}">
        <p14:creationId xmlns:p14="http://schemas.microsoft.com/office/powerpoint/2010/main" val="1080822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p:pic>
      <p:sp>
        <p:nvSpPr>
          <p:cNvPr id="4" name="Title 2"/>
          <p:cNvSpPr txBox="1">
            <a:spLocks/>
          </p:cNvSpPr>
          <p:nvPr/>
        </p:nvSpPr>
        <p:spPr>
          <a:xfrm>
            <a:off x="8585564" y="2283133"/>
            <a:ext cx="2901043" cy="1010195"/>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r" defTabSz="914377"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1977</a:t>
            </a:r>
          </a:p>
        </p:txBody>
      </p:sp>
      <p:sp>
        <p:nvSpPr>
          <p:cNvPr id="6" name="Title 2"/>
          <p:cNvSpPr txBox="1">
            <a:spLocks/>
          </p:cNvSpPr>
          <p:nvPr/>
        </p:nvSpPr>
        <p:spPr>
          <a:xfrm>
            <a:off x="8020595" y="1229397"/>
            <a:ext cx="3466012" cy="1053737"/>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r" defTabSz="914377" rtl="0" eaLnBrk="1" fontAlgn="auto" latinLnBrk="0" hangingPunct="1">
              <a:lnSpc>
                <a:spcPct val="110000"/>
              </a:lnSpc>
              <a:spcBef>
                <a:spcPct val="0"/>
              </a:spcBef>
              <a:spcAft>
                <a:spcPts val="0"/>
              </a:spcAft>
              <a:buClrTx/>
              <a:buSzTx/>
              <a:buFontTx/>
              <a:buNone/>
              <a:tabLst/>
              <a:defRPr/>
            </a:pPr>
            <a:r>
              <a:rPr kumimoji="0" lang="en-US" sz="2133"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First female pilot, Captain Judy Cameron</a:t>
            </a:r>
          </a:p>
        </p:txBody>
      </p:sp>
      <p:pic>
        <p:nvPicPr>
          <p:cNvPr id="7" name="Picture 6"/>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724503" y="3444172"/>
            <a:ext cx="3884864" cy="2832123"/>
          </a:xfrm>
          <a:prstGeom prst="rect">
            <a:avLst/>
          </a:prstGeom>
        </p:spPr>
      </p:pic>
      <p:sp>
        <p:nvSpPr>
          <p:cNvPr id="8" name="Title 2"/>
          <p:cNvSpPr txBox="1">
            <a:spLocks/>
          </p:cNvSpPr>
          <p:nvPr/>
        </p:nvSpPr>
        <p:spPr>
          <a:xfrm>
            <a:off x="9971314" y="3553310"/>
            <a:ext cx="1515292" cy="548428"/>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r" defTabSz="914377" rtl="0" eaLnBrk="1" fontAlgn="auto" latinLnBrk="0" hangingPunct="1">
              <a:lnSpc>
                <a:spcPct val="90000"/>
              </a:lnSpc>
              <a:spcBef>
                <a:spcPct val="0"/>
              </a:spcBef>
              <a:spcAft>
                <a:spcPts val="0"/>
              </a:spcAft>
              <a:buClrTx/>
              <a:buSzTx/>
              <a:buFontTx/>
              <a:buNone/>
              <a:tabLst/>
              <a:defRPr/>
            </a:pPr>
            <a:r>
              <a:rPr kumimoji="0" lang="en-US" sz="2133" b="1" i="0" u="none" strike="noStrike" kern="1200" cap="none" spc="0" normalizeH="0" baseline="0" noProof="0">
                <a:ln>
                  <a:noFill/>
                </a:ln>
                <a:solidFill>
                  <a:srgbClr val="B79A7E"/>
                </a:solidFill>
                <a:effectLst/>
                <a:uLnTx/>
                <a:uFillTx/>
                <a:latin typeface="Verdana" charset="0"/>
                <a:ea typeface="Verdana" charset="0"/>
              </a:rPr>
              <a:t>2015</a:t>
            </a:r>
          </a:p>
        </p:txBody>
      </p:sp>
    </p:spTree>
    <p:extLst>
      <p:ext uri="{BB962C8B-B14F-4D97-AF65-F5344CB8AC3E}">
        <p14:creationId xmlns:p14="http://schemas.microsoft.com/office/powerpoint/2010/main" val="117755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t="-210" b="-210"/>
          <a:stretch/>
        </p:blipFill>
        <p:spPr>
          <a:xfrm>
            <a:off x="334434" y="349548"/>
            <a:ext cx="5059757" cy="3636339"/>
          </a:xfrm>
        </p:spPr>
      </p:pic>
      <p:sp>
        <p:nvSpPr>
          <p:cNvPr id="4" name="Title 2"/>
          <p:cNvSpPr txBox="1">
            <a:spLocks/>
          </p:cNvSpPr>
          <p:nvPr/>
        </p:nvSpPr>
        <p:spPr>
          <a:xfrm>
            <a:off x="861061" y="5357773"/>
            <a:ext cx="2901043" cy="1010195"/>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1988</a:t>
            </a:r>
          </a:p>
        </p:txBody>
      </p:sp>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90139" y="1325351"/>
            <a:ext cx="4052612" cy="5101788"/>
          </a:xfrm>
          <a:prstGeom prst="rect">
            <a:avLst/>
          </a:prstGeom>
        </p:spPr>
      </p:pic>
      <p:sp>
        <p:nvSpPr>
          <p:cNvPr id="5" name="Title 2"/>
          <p:cNvSpPr txBox="1">
            <a:spLocks/>
          </p:cNvSpPr>
          <p:nvPr/>
        </p:nvSpPr>
        <p:spPr>
          <a:xfrm>
            <a:off x="5064722" y="5309876"/>
            <a:ext cx="2129956" cy="929083"/>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ctr" defTabSz="914377" rtl="0" eaLnBrk="1" fontAlgn="auto" latinLnBrk="0" hangingPunct="1">
              <a:lnSpc>
                <a:spcPct val="110000"/>
              </a:lnSpc>
              <a:spcBef>
                <a:spcPct val="0"/>
              </a:spcBef>
              <a:spcAft>
                <a:spcPts val="0"/>
              </a:spcAft>
              <a:buClrTx/>
              <a:buSzTx/>
              <a:buFontTx/>
              <a:buNone/>
              <a:tabLst/>
              <a:defRPr/>
            </a:pPr>
            <a:r>
              <a:rPr kumimoji="0" lang="en-US" sz="2133"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Privatization of Air Canada</a:t>
            </a:r>
          </a:p>
        </p:txBody>
      </p:sp>
      <p:pic>
        <p:nvPicPr>
          <p:cNvPr id="2" name="Picture 1"/>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280951" y="2355898"/>
            <a:ext cx="3697499" cy="2748972"/>
          </a:xfrm>
          <a:prstGeom prst="rect">
            <a:avLst/>
          </a:prstGeom>
        </p:spPr>
      </p:pic>
    </p:spTree>
    <p:extLst>
      <p:ext uri="{BB962C8B-B14F-4D97-AF65-F5344CB8AC3E}">
        <p14:creationId xmlns:p14="http://schemas.microsoft.com/office/powerpoint/2010/main" val="3282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Problem - Hardness</a:t>
            </a:r>
          </a:p>
        </p:txBody>
      </p:sp>
      <p:sp>
        <p:nvSpPr>
          <p:cNvPr id="3" name="Content Placeholder 2">
            <a:extLst>
              <a:ext uri="{FF2B5EF4-FFF2-40B4-BE49-F238E27FC236}">
                <a16:creationId xmlns:a16="http://schemas.microsoft.com/office/drawing/2014/main" id="{5DCF2076-C6C9-F748-B1A2-B9E873995CA7}"/>
              </a:ext>
            </a:extLst>
          </p:cNvPr>
          <p:cNvSpPr txBox="1">
            <a:spLocks/>
          </p:cNvSpPr>
          <p:nvPr/>
        </p:nvSpPr>
        <p:spPr>
          <a:xfrm>
            <a:off x="838200" y="1825625"/>
            <a:ext cx="10515600" cy="4351338"/>
          </a:xfrm>
          <a:prstGeom prst="rect">
            <a:avLst/>
          </a:prstGeom>
        </p:spPr>
        <p:txBody>
          <a:bodyPr/>
          <a:lst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solidFill>
                  <a:schemeClr val="bg1"/>
                </a:solidFill>
              </a:rPr>
              <a:t>Matching task duration with a ground time</a:t>
            </a:r>
          </a:p>
          <a:p>
            <a:pPr marL="285750" indent="-285750">
              <a:buFont typeface="Arial" panose="020B0604020202020204" pitchFamily="34" charset="0"/>
              <a:buChar char="•"/>
            </a:pPr>
            <a:r>
              <a:rPr lang="en-US" dirty="0">
                <a:solidFill>
                  <a:schemeClr val="bg1"/>
                </a:solidFill>
              </a:rPr>
              <a:t>Limited resources to perform tasks in an airport</a:t>
            </a:r>
          </a:p>
          <a:p>
            <a:pPr marL="285750" indent="-285750">
              <a:buFont typeface="Arial" panose="020B0604020202020204" pitchFamily="34" charset="0"/>
              <a:buChar char="•"/>
            </a:pPr>
            <a:r>
              <a:rPr lang="en-US" dirty="0">
                <a:solidFill>
                  <a:schemeClr val="bg1"/>
                </a:solidFill>
              </a:rPr>
              <a:t>Assigning FIN Number to ground time</a:t>
            </a:r>
          </a:p>
          <a:p>
            <a:pPr marL="285750" indent="-285750">
              <a:buFont typeface="Arial" panose="020B0604020202020204" pitchFamily="34" charset="0"/>
              <a:buChar char="•"/>
            </a:pPr>
            <a:r>
              <a:rPr lang="en-US" dirty="0">
                <a:solidFill>
                  <a:schemeClr val="bg1"/>
                </a:solidFill>
              </a:rPr>
              <a:t>Optimize yield remaining</a:t>
            </a:r>
          </a:p>
        </p:txBody>
      </p:sp>
      <p:sp>
        <p:nvSpPr>
          <p:cNvPr id="4" name="TextBox 3">
            <a:extLst>
              <a:ext uri="{FF2B5EF4-FFF2-40B4-BE49-F238E27FC236}">
                <a16:creationId xmlns:a16="http://schemas.microsoft.com/office/drawing/2014/main" id="{4AED994A-8079-2A49-B34A-0054ECAE6F7F}"/>
              </a:ext>
            </a:extLst>
          </p:cNvPr>
          <p:cNvSpPr txBox="1"/>
          <p:nvPr/>
        </p:nvSpPr>
        <p:spPr>
          <a:xfrm>
            <a:off x="2604977" y="4157330"/>
            <a:ext cx="5741581" cy="988828"/>
          </a:xfrm>
          <a:prstGeom prst="rect">
            <a:avLst/>
          </a:prstGeom>
          <a:noFill/>
        </p:spPr>
        <p:txBody>
          <a:bodyPr wrap="square" lIns="0" tIns="0" rIns="0" bIns="0" rtlCol="0">
            <a:noAutofit/>
          </a:bodyPr>
          <a:lstStyle/>
          <a:p>
            <a:pPr algn="ctr"/>
            <a:r>
              <a:rPr lang="en-US" sz="1700" dirty="0">
                <a:solidFill>
                  <a:schemeClr val="bg1"/>
                </a:solidFill>
              </a:rPr>
              <a:t>Yield Remaining – Time until due date</a:t>
            </a:r>
          </a:p>
        </p:txBody>
      </p:sp>
    </p:spTree>
    <p:extLst>
      <p:ext uri="{BB962C8B-B14F-4D97-AF65-F5344CB8AC3E}">
        <p14:creationId xmlns:p14="http://schemas.microsoft.com/office/powerpoint/2010/main" val="36051010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t="-180" b="-180"/>
          <a:stretch/>
        </p:blipFill>
        <p:spPr>
          <a:xfrm>
            <a:off x="5613991" y="357717"/>
            <a:ext cx="6185429" cy="6069423"/>
          </a:xfrm>
        </p:spPr>
      </p:pic>
      <p:sp>
        <p:nvSpPr>
          <p:cNvPr id="4" name="Title 2"/>
          <p:cNvSpPr txBox="1">
            <a:spLocks/>
          </p:cNvSpPr>
          <p:nvPr/>
        </p:nvSpPr>
        <p:spPr>
          <a:xfrm>
            <a:off x="861061" y="3992780"/>
            <a:ext cx="2901043" cy="1010195"/>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1990s</a:t>
            </a:r>
          </a:p>
        </p:txBody>
      </p:sp>
      <p:sp>
        <p:nvSpPr>
          <p:cNvPr id="5" name="Title 2"/>
          <p:cNvSpPr txBox="1">
            <a:spLocks/>
          </p:cNvSpPr>
          <p:nvPr/>
        </p:nvSpPr>
        <p:spPr>
          <a:xfrm>
            <a:off x="534927" y="2564574"/>
            <a:ext cx="4115045" cy="1428207"/>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110000"/>
              </a:lnSpc>
              <a:spcBef>
                <a:spcPct val="0"/>
              </a:spcBef>
              <a:spcAft>
                <a:spcPts val="0"/>
              </a:spcAft>
              <a:buClrTx/>
              <a:buSzTx/>
              <a:buFontTx/>
              <a:buNone/>
              <a:tabLst/>
              <a:defRPr/>
            </a:pPr>
            <a:r>
              <a:rPr kumimoji="0" lang="en-US" sz="1867"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First carrier to make its European flights non-smoking</a:t>
            </a:r>
          </a:p>
        </p:txBody>
      </p:sp>
      <p:sp>
        <p:nvSpPr>
          <p:cNvPr id="7" name="Title 2"/>
          <p:cNvSpPr txBox="1">
            <a:spLocks/>
          </p:cNvSpPr>
          <p:nvPr/>
        </p:nvSpPr>
        <p:spPr>
          <a:xfrm>
            <a:off x="3908597" y="5410822"/>
            <a:ext cx="1635051" cy="1016317"/>
          </a:xfrm>
          <a:prstGeom prst="rect">
            <a:avLst/>
          </a:prstGeom>
          <a:effectLst/>
        </p:spPr>
        <p:txBody>
          <a:bodyPr lIns="0" tIns="0" anchor="b" anchorCtr="0">
            <a:no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r" defTabSz="914377" rtl="0" eaLnBrk="1" fontAlgn="auto" latinLnBrk="0" hangingPunct="1">
              <a:lnSpc>
                <a:spcPct val="110000"/>
              </a:lnSpc>
              <a:spcBef>
                <a:spcPct val="0"/>
              </a:spcBef>
              <a:spcAft>
                <a:spcPts val="0"/>
              </a:spcAft>
              <a:buClrTx/>
              <a:buSzTx/>
              <a:buFontTx/>
              <a:buNone/>
              <a:tabLst/>
              <a:defRPr/>
            </a:pPr>
            <a:r>
              <a:rPr kumimoji="0" lang="en-US" sz="1867"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Debut of self-service kiosks</a:t>
            </a:r>
          </a:p>
        </p:txBody>
      </p:sp>
      <p:pic>
        <p:nvPicPr>
          <p:cNvPr id="12" name="Pictur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4927" y="357717"/>
            <a:ext cx="4115045" cy="2135847"/>
          </a:xfrm>
          <a:prstGeom prst="rect">
            <a:avLst/>
          </a:prstGeom>
        </p:spPr>
      </p:pic>
    </p:spTree>
    <p:extLst>
      <p:ext uri="{BB962C8B-B14F-4D97-AF65-F5344CB8AC3E}">
        <p14:creationId xmlns:p14="http://schemas.microsoft.com/office/powerpoint/2010/main" val="188992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l="-16" b="-140"/>
          <a:stretch/>
        </p:blipFill>
        <p:spPr>
          <a:xfrm>
            <a:off x="364969" y="322076"/>
            <a:ext cx="5681484" cy="2969875"/>
          </a:xfrm>
        </p:spPr>
      </p:pic>
      <p:sp>
        <p:nvSpPr>
          <p:cNvPr id="4" name="Title 2"/>
          <p:cNvSpPr txBox="1">
            <a:spLocks/>
          </p:cNvSpPr>
          <p:nvPr/>
        </p:nvSpPr>
        <p:spPr>
          <a:xfrm>
            <a:off x="558553" y="5473573"/>
            <a:ext cx="2901043" cy="1010195"/>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2000s</a:t>
            </a:r>
          </a:p>
        </p:txBody>
      </p:sp>
      <p:sp>
        <p:nvSpPr>
          <p:cNvPr id="5" name="Title 2"/>
          <p:cNvSpPr txBox="1">
            <a:spLocks/>
          </p:cNvSpPr>
          <p:nvPr/>
        </p:nvSpPr>
        <p:spPr>
          <a:xfrm>
            <a:off x="558554" y="485839"/>
            <a:ext cx="4638181" cy="2116184"/>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110000"/>
              </a:lnSpc>
              <a:spcBef>
                <a:spcPct val="0"/>
              </a:spcBef>
              <a:spcAft>
                <a:spcPts val="0"/>
              </a:spcAft>
              <a:buClrTx/>
              <a:buSzTx/>
              <a:buFontTx/>
              <a:buNone/>
              <a:tabLst/>
              <a:defRPr/>
            </a:pPr>
            <a:r>
              <a:rPr kumimoji="0" lang="en-US" sz="2133" b="0" i="0" u="none" strike="noStrike" kern="1200" cap="none" spc="0" normalizeH="0" baseline="0" noProof="0">
                <a:ln>
                  <a:noFill/>
                </a:ln>
                <a:solidFill>
                  <a:srgbClr val="FFFFFF">
                    <a:lumMod val="95000"/>
                  </a:srgbClr>
                </a:solidFill>
                <a:effectLst>
                  <a:glow rad="114300">
                    <a:srgbClr val="000000">
                      <a:alpha val="47000"/>
                    </a:srgbClr>
                  </a:glow>
                </a:effectLst>
                <a:uLnTx/>
                <a:uFillTx/>
                <a:latin typeface="Verdana" charset="0"/>
                <a:ea typeface="Verdana" charset="0"/>
              </a:rPr>
              <a:t>Merger with Canadian Airlines</a:t>
            </a:r>
          </a:p>
        </p:txBody>
      </p:sp>
      <p:pic>
        <p:nvPicPr>
          <p:cNvPr id="7" name="Picture 6"/>
          <p:cNvPicPr>
            <a:picLocks noChangeAspect="1"/>
          </p:cNvPicPr>
          <p:nvPr/>
        </p:nvPicPr>
        <p:blipFill rotWithShape="1">
          <a:blip r:embed="rId4" cstate="screen">
            <a:extLst>
              <a:ext uri="{28A0092B-C50C-407E-A947-70E740481C1C}">
                <a14:useLocalDpi xmlns:a14="http://schemas.microsoft.com/office/drawing/2010/main"/>
              </a:ext>
            </a:extLst>
          </a:blip>
          <a:srcRect l="-22652" t="-33725" r="-22206" b="-12267"/>
          <a:stretch/>
        </p:blipFill>
        <p:spPr>
          <a:xfrm>
            <a:off x="3140540" y="3454525"/>
            <a:ext cx="2905913" cy="2928584"/>
          </a:xfrm>
          <a:prstGeom prst="rect">
            <a:avLst/>
          </a:prstGeom>
          <a:solidFill>
            <a:schemeClr val="bg1"/>
          </a:solidFill>
        </p:spPr>
      </p:pic>
      <p:sp>
        <p:nvSpPr>
          <p:cNvPr id="8" name="Title 2"/>
          <p:cNvSpPr txBox="1">
            <a:spLocks/>
          </p:cNvSpPr>
          <p:nvPr/>
        </p:nvSpPr>
        <p:spPr>
          <a:xfrm>
            <a:off x="3186372" y="3611547"/>
            <a:ext cx="2905913" cy="513567"/>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ctr" defTabSz="914377" rtl="0" eaLnBrk="1" fontAlgn="auto" latinLnBrk="0" hangingPunct="1">
              <a:lnSpc>
                <a:spcPct val="110000"/>
              </a:lnSpc>
              <a:spcBef>
                <a:spcPct val="0"/>
              </a:spcBef>
              <a:spcAft>
                <a:spcPts val="0"/>
              </a:spcAft>
              <a:buClrTx/>
              <a:buSzTx/>
              <a:buFontTx/>
              <a:buNone/>
              <a:tabLst/>
              <a:defRPr/>
            </a:pPr>
            <a:r>
              <a:rPr kumimoji="0" lang="en-US" sz="2133" b="0" i="0" u="none" strike="noStrike" kern="1200" cap="none" spc="0" normalizeH="0" baseline="0" noProof="0">
                <a:ln>
                  <a:noFill/>
                </a:ln>
                <a:solidFill>
                  <a:srgbClr val="000000"/>
                </a:solidFill>
                <a:effectLst/>
                <a:uLnTx/>
                <a:uFillTx/>
                <a:latin typeface="Verdana" charset="0"/>
                <a:ea typeface="Verdana" charset="0"/>
              </a:rPr>
              <a:t>Hostile takeover bid</a:t>
            </a:r>
          </a:p>
        </p:txBody>
      </p:sp>
      <p:pic>
        <p:nvPicPr>
          <p:cNvPr id="9" name="Picture 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780342" y="3454526"/>
            <a:ext cx="5146180" cy="2896801"/>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780342" y="279666"/>
            <a:ext cx="5146180" cy="2896801"/>
          </a:xfrm>
          <a:prstGeom prst="rect">
            <a:avLst/>
          </a:prstGeom>
        </p:spPr>
      </p:pic>
      <p:sp>
        <p:nvSpPr>
          <p:cNvPr id="11" name="Title 2"/>
          <p:cNvSpPr txBox="1">
            <a:spLocks/>
          </p:cNvSpPr>
          <p:nvPr/>
        </p:nvSpPr>
        <p:spPr>
          <a:xfrm>
            <a:off x="10221112" y="395258"/>
            <a:ext cx="1529968" cy="799447"/>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r" defTabSz="914377" rtl="0" eaLnBrk="1" fontAlgn="auto" latinLnBrk="0" hangingPunct="1">
              <a:lnSpc>
                <a:spcPct val="110000"/>
              </a:lnSpc>
              <a:spcBef>
                <a:spcPct val="0"/>
              </a:spcBef>
              <a:spcAft>
                <a:spcPts val="0"/>
              </a:spcAft>
              <a:buClrTx/>
              <a:buSzTx/>
              <a:buFontTx/>
              <a:buNone/>
              <a:tabLst/>
              <a:defRPr/>
            </a:pPr>
            <a:r>
              <a:rPr kumimoji="0" lang="en-US" sz="2133" b="0" i="0" u="none" strike="noStrike" kern="1200" cap="none" spc="0" normalizeH="0" baseline="0" noProof="0">
                <a:ln>
                  <a:noFill/>
                </a:ln>
                <a:solidFill>
                  <a:srgbClr val="FFFFFF">
                    <a:lumMod val="95000"/>
                  </a:srgbClr>
                </a:solidFill>
                <a:effectLst>
                  <a:glow rad="114300">
                    <a:srgbClr val="000000">
                      <a:alpha val="35000"/>
                    </a:srgbClr>
                  </a:glow>
                </a:effectLst>
                <a:uLnTx/>
                <a:uFillTx/>
                <a:latin typeface="Verdana" charset="0"/>
                <a:ea typeface="Verdana" charset="0"/>
              </a:rPr>
              <a:t>SARS</a:t>
            </a:r>
          </a:p>
        </p:txBody>
      </p:sp>
      <p:sp>
        <p:nvSpPr>
          <p:cNvPr id="12" name="Title 2"/>
          <p:cNvSpPr txBox="1">
            <a:spLocks/>
          </p:cNvSpPr>
          <p:nvPr/>
        </p:nvSpPr>
        <p:spPr>
          <a:xfrm>
            <a:off x="10221112" y="3612627"/>
            <a:ext cx="1529968" cy="799447"/>
          </a:xfrm>
          <a:prstGeom prst="rect">
            <a:avLst/>
          </a:prstGeom>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r" defTabSz="914377" rtl="0" eaLnBrk="1" fontAlgn="auto" latinLnBrk="0" hangingPunct="1">
              <a:lnSpc>
                <a:spcPct val="110000"/>
              </a:lnSpc>
              <a:spcBef>
                <a:spcPct val="0"/>
              </a:spcBef>
              <a:spcAft>
                <a:spcPts val="0"/>
              </a:spcAft>
              <a:buClrTx/>
              <a:buSzTx/>
              <a:buFontTx/>
              <a:buNone/>
              <a:tabLst/>
              <a:defRPr/>
            </a:pPr>
            <a:r>
              <a:rPr kumimoji="0" lang="en-US" sz="2133" b="0" i="0" u="none" strike="noStrike" kern="1200" cap="none" spc="0" normalizeH="0" baseline="0" noProof="0">
                <a:ln>
                  <a:noFill/>
                </a:ln>
                <a:solidFill>
                  <a:srgbClr val="FFFFFF">
                    <a:lumMod val="95000"/>
                  </a:srgbClr>
                </a:solidFill>
                <a:effectLst>
                  <a:glow rad="114300">
                    <a:srgbClr val="000000">
                      <a:alpha val="35000"/>
                    </a:srgbClr>
                  </a:glow>
                </a:effectLst>
                <a:uLnTx/>
                <a:uFillTx/>
                <a:latin typeface="Verdana" charset="0"/>
                <a:ea typeface="Verdana" charset="0"/>
              </a:rPr>
              <a:t>9-11</a:t>
            </a:r>
          </a:p>
        </p:txBody>
      </p:sp>
    </p:spTree>
    <p:extLst>
      <p:ext uri="{BB962C8B-B14F-4D97-AF65-F5344CB8AC3E}">
        <p14:creationId xmlns:p14="http://schemas.microsoft.com/office/powerpoint/2010/main" val="57293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a:xfrm>
            <a:off x="334434" y="357718"/>
            <a:ext cx="11508317" cy="5688317"/>
          </a:xfrm>
        </p:spPr>
      </p:pic>
      <p:sp>
        <p:nvSpPr>
          <p:cNvPr id="12" name="Title 1"/>
          <p:cNvSpPr txBox="1">
            <a:spLocks/>
          </p:cNvSpPr>
          <p:nvPr/>
        </p:nvSpPr>
        <p:spPr>
          <a:xfrm>
            <a:off x="334434" y="6125079"/>
            <a:ext cx="9806940" cy="827616"/>
          </a:xfrm>
          <a:prstGeom prst="rect">
            <a:avLst/>
          </a:prstGeom>
          <a:effectLst>
            <a:outerShdw blurRad="50800" dist="50800" dir="5400000" algn="ctr" rotWithShape="0">
              <a:schemeClr val="tx1"/>
            </a:outerShdw>
          </a:effectLst>
        </p:spPr>
        <p:txBody>
          <a:bodyPr lIns="0" tIns="0" anchor="t" anchorCtr="0">
            <a:normAutofit/>
          </a:bodyPr>
          <a:lstStyle>
            <a:lvl1pPr algn="l" defTabSz="685800" rtl="0" eaLnBrk="1" latinLnBrk="0" hangingPunct="1">
              <a:lnSpc>
                <a:spcPct val="90000"/>
              </a:lnSpc>
              <a:spcBef>
                <a:spcPct val="0"/>
              </a:spcBef>
              <a:buNone/>
              <a:defRPr sz="2400" b="1" i="0" kern="1200" baseline="0">
                <a:solidFill>
                  <a:schemeClr val="bg1">
                    <a:lumMod val="95000"/>
                  </a:schemeClr>
                </a:solidFill>
                <a:latin typeface="Verdana" charset="0"/>
                <a:ea typeface="Verdana" charset="0"/>
                <a:cs typeface="Verdana"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FFFFFF">
                    <a:lumMod val="95000"/>
                  </a:srgbClr>
                </a:solidFill>
                <a:effectLst>
                  <a:outerShdw blurRad="60007" dist="200025" dir="15000000" sy="30000" kx="-1800000" algn="bl" rotWithShape="0">
                    <a:prstClr val="black">
                      <a:alpha val="32000"/>
                    </a:prstClr>
                  </a:outerShdw>
                </a:effectLst>
                <a:uLnTx/>
                <a:uFillTx/>
                <a:latin typeface="Verdana" charset="0"/>
                <a:ea typeface="Verdana" charset="0"/>
              </a:rPr>
              <a:t>Celebrating over 80 years</a:t>
            </a:r>
          </a:p>
        </p:txBody>
      </p:sp>
    </p:spTree>
    <p:extLst>
      <p:ext uri="{BB962C8B-B14F-4D97-AF65-F5344CB8AC3E}">
        <p14:creationId xmlns:p14="http://schemas.microsoft.com/office/powerpoint/2010/main" val="79292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Picture Placeholder 4" descr="A group of people sitting on a tarmac at an airport&#10;&#10;Description automatically generated">
            <a:extLst>
              <a:ext uri="{FF2B5EF4-FFF2-40B4-BE49-F238E27FC236}">
                <a16:creationId xmlns:a16="http://schemas.microsoft.com/office/drawing/2014/main" id="{A73D633D-301D-4631-92E3-71289023467B}"/>
              </a:ext>
            </a:extLst>
          </p:cNvPr>
          <p:cNvPicPr>
            <a:picLocks noGrp="1" noChangeAspect="1"/>
          </p:cNvPicPr>
          <p:nvPr>
            <p:ph type="pic" sz="quarter" idx="14"/>
          </p:nvPr>
        </p:nvPicPr>
        <p:blipFill rotWithShape="1">
          <a:blip r:embed="rId3">
            <a:alphaModFix amt="50000"/>
          </a:blip>
          <a:srcRect t="331" b="15082"/>
          <a:stretch/>
        </p:blipFill>
        <p:spPr>
          <a:xfrm>
            <a:off x="20" y="1"/>
            <a:ext cx="12191980" cy="6857999"/>
          </a:xfrm>
          <a:prstGeom prst="rect">
            <a:avLst/>
          </a:prstGeom>
        </p:spPr>
      </p:pic>
      <p:sp>
        <p:nvSpPr>
          <p:cNvPr id="3" name="Title 2">
            <a:extLst>
              <a:ext uri="{FF2B5EF4-FFF2-40B4-BE49-F238E27FC236}">
                <a16:creationId xmlns:a16="http://schemas.microsoft.com/office/drawing/2014/main" id="{932E2F92-D214-4483-8682-30D46DE6F9C9}"/>
              </a:ext>
            </a:extLst>
          </p:cNvPr>
          <p:cNvSpPr>
            <a:spLocks noGrp="1"/>
          </p:cNvSpPr>
          <p:nvPr>
            <p:ph type="ctrTitle"/>
          </p:nvPr>
        </p:nvSpPr>
        <p:spPr>
          <a:xfrm>
            <a:off x="1524000" y="1122362"/>
            <a:ext cx="9144000" cy="2900518"/>
          </a:xfrm>
        </p:spPr>
        <p:txBody>
          <a:bodyPr vert="horz" lIns="91440" tIns="45720" rIns="91440" bIns="45720" rtlCol="0" anchor="b">
            <a:normAutofit/>
          </a:bodyPr>
          <a:lstStyle/>
          <a:p>
            <a:pPr algn="ctr" defTabSz="914400"/>
            <a:r>
              <a:rPr lang="en-US" sz="6000" u="sng" dirty="0">
                <a:solidFill>
                  <a:srgbClr val="FFFFFF"/>
                </a:solidFill>
                <a:latin typeface="+mj-lt"/>
                <a:ea typeface="+mj-ea"/>
                <a:cs typeface="+mj-cs"/>
              </a:rPr>
              <a:t>2020 – </a:t>
            </a:r>
            <a:r>
              <a:rPr lang="en-US" sz="6000" u="sng" dirty="0" err="1">
                <a:solidFill>
                  <a:srgbClr val="FFFFFF"/>
                </a:solidFill>
                <a:latin typeface="+mj-lt"/>
                <a:ea typeface="+mj-ea"/>
                <a:cs typeface="+mj-cs"/>
              </a:rPr>
              <a:t>Covid</a:t>
            </a:r>
            <a:r>
              <a:rPr lang="en-US" sz="6000" u="sng" dirty="0">
                <a:solidFill>
                  <a:srgbClr val="FFFFFF"/>
                </a:solidFill>
                <a:latin typeface="+mj-lt"/>
                <a:ea typeface="+mj-ea"/>
                <a:cs typeface="+mj-cs"/>
              </a:rPr>
              <a:t> 19</a:t>
            </a:r>
            <a:br>
              <a:rPr lang="en-US" sz="6000" u="sng" dirty="0">
                <a:solidFill>
                  <a:srgbClr val="FFFFFF"/>
                </a:solidFill>
                <a:latin typeface="+mj-lt"/>
                <a:ea typeface="+mj-ea"/>
                <a:cs typeface="+mj-cs"/>
              </a:rPr>
            </a:br>
            <a:r>
              <a:rPr lang="en-US" sz="2400" i="1" dirty="0">
                <a:solidFill>
                  <a:srgbClr val="FFFFFF"/>
                </a:solidFill>
                <a:latin typeface="+mj-lt"/>
                <a:ea typeface="+mj-ea"/>
                <a:cs typeface="+mj-cs"/>
              </a:rPr>
              <a:t>Unprecedented in Aviation history</a:t>
            </a:r>
            <a:endParaRPr lang="en-US" sz="6000" i="1" dirty="0">
              <a:solidFill>
                <a:srgbClr val="FFFFFF"/>
              </a:solidFill>
              <a:latin typeface="+mj-lt"/>
              <a:ea typeface="+mj-ea"/>
              <a:cs typeface="+mj-cs"/>
            </a:endParaRPr>
          </a:p>
        </p:txBody>
      </p:sp>
    </p:spTree>
    <p:extLst>
      <p:ext uri="{BB962C8B-B14F-4D97-AF65-F5344CB8AC3E}">
        <p14:creationId xmlns:p14="http://schemas.microsoft.com/office/powerpoint/2010/main" val="352003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Data</a:t>
            </a:r>
          </a:p>
        </p:txBody>
      </p:sp>
      <p:sp>
        <p:nvSpPr>
          <p:cNvPr id="3" name="Content Placeholder 2">
            <a:extLst>
              <a:ext uri="{FF2B5EF4-FFF2-40B4-BE49-F238E27FC236}">
                <a16:creationId xmlns:a16="http://schemas.microsoft.com/office/drawing/2014/main" id="{01F13FAB-1705-D645-8EC4-ECE775B9C23D}"/>
              </a:ext>
            </a:extLst>
          </p:cNvPr>
          <p:cNvSpPr txBox="1">
            <a:spLocks/>
          </p:cNvSpPr>
          <p:nvPr/>
        </p:nvSpPr>
        <p:spPr>
          <a:xfrm>
            <a:off x="838200" y="1500982"/>
            <a:ext cx="10515600" cy="4351338"/>
          </a:xfrm>
          <a:prstGeom prst="rect">
            <a:avLst/>
          </a:prstGeom>
        </p:spPr>
        <p:txBody>
          <a:bodyPr/>
          <a:lstStyle>
            <a:lvl1pPr marL="0" indent="0" algn="l" defTabSz="914400" rtl="0" eaLnBrk="1" latinLnBrk="0" hangingPunct="1">
              <a:lnSpc>
                <a:spcPts val="2400"/>
              </a:lnSpc>
              <a:spcBef>
                <a:spcPts val="0"/>
              </a:spcBef>
              <a:buFont typeface="Arial" panose="020B0604020202020204" pitchFamily="34" charset="0"/>
              <a:buNone/>
              <a:defRPr sz="1700" kern="1200" spc="40" baseline="0">
                <a:solidFill>
                  <a:schemeClr val="tx1"/>
                </a:solidFill>
                <a:latin typeface="+mn-lt"/>
                <a:ea typeface="+mn-ea"/>
                <a:cs typeface="+mn-cs"/>
              </a:defRPr>
            </a:lvl1pPr>
            <a:lvl2pPr marL="173038" indent="-173038" algn="l" defTabSz="914400" rtl="0" eaLnBrk="1" latinLnBrk="0" hangingPunct="1">
              <a:lnSpc>
                <a:spcPts val="2400"/>
              </a:lnSpc>
              <a:spcBef>
                <a:spcPts val="0"/>
              </a:spcBef>
              <a:buSzPct val="100000"/>
              <a:buFont typeface=".AppleSystemUIFont" charset="-120"/>
              <a:buChar char="•"/>
              <a:tabLst/>
              <a:defRPr lang="en-US" sz="1700" kern="1200" spc="40" baseline="0" dirty="0" smtClean="0">
                <a:solidFill>
                  <a:schemeClr val="tx1"/>
                </a:solidFill>
                <a:latin typeface="+mn-lt"/>
                <a:ea typeface="+mn-ea"/>
                <a:cs typeface="+mn-cs"/>
              </a:defRPr>
            </a:lvl2pPr>
            <a:lvl3pPr marL="569913" indent="-285750" algn="l" defTabSz="914400" rtl="0" eaLnBrk="1" latinLnBrk="0" hangingPunct="1">
              <a:lnSpc>
                <a:spcPts val="2400"/>
              </a:lnSpc>
              <a:spcBef>
                <a:spcPts val="0"/>
              </a:spcBef>
              <a:buFont typeface="Verdana" panose="020B0604030504040204" pitchFamily="34" charset="0"/>
              <a:buChar char="–"/>
              <a:tabLst/>
              <a:defRPr lang="en-US" sz="1700" kern="1200" spc="40" baseline="0" dirty="0" smtClean="0">
                <a:solidFill>
                  <a:schemeClr val="tx1"/>
                </a:solidFill>
                <a:latin typeface="+mn-lt"/>
                <a:ea typeface="+mn-ea"/>
                <a:cs typeface="+mn-cs"/>
              </a:defRPr>
            </a:lvl3pPr>
            <a:lvl4pPr marL="517525" indent="223838"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4pPr>
            <a:lvl5pPr marL="803275" indent="-285750" algn="l" defTabSz="914400" rtl="0" eaLnBrk="1" latinLnBrk="0" hangingPunct="1">
              <a:lnSpc>
                <a:spcPct val="90000"/>
              </a:lnSpc>
              <a:spcBef>
                <a:spcPts val="500"/>
              </a:spcBef>
              <a:buFont typeface="Verdana" panose="020B0604030504040204" pitchFamily="34" charset="0"/>
              <a:buChar char="–"/>
              <a:tabLst/>
              <a:defRPr lang="en-US" sz="1400" kern="1200" spc="4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Ground times –</a:t>
            </a:r>
          </a:p>
          <a:p>
            <a:endParaRPr lang="en-US" dirty="0">
              <a:solidFill>
                <a:schemeClr val="bg1"/>
              </a:solidFill>
            </a:endParaRPr>
          </a:p>
          <a:p>
            <a:endParaRPr lang="en-US" dirty="0">
              <a:solidFill>
                <a:schemeClr val="bg1"/>
              </a:solidFill>
            </a:endParaRPr>
          </a:p>
          <a:p>
            <a:endParaRPr lang="en-US" dirty="0">
              <a:solidFill>
                <a:schemeClr val="bg1"/>
              </a:solidFill>
            </a:endParaRPr>
          </a:p>
          <a:p>
            <a:r>
              <a:rPr lang="en-US" dirty="0">
                <a:solidFill>
                  <a:schemeClr val="bg1"/>
                </a:solidFill>
              </a:rPr>
              <a:t>Maintenance Tasks –</a:t>
            </a:r>
          </a:p>
          <a:p>
            <a:endParaRPr lang="en-US" dirty="0">
              <a:solidFill>
                <a:schemeClr val="bg1"/>
              </a:solidFill>
            </a:endParaRPr>
          </a:p>
          <a:p>
            <a:endParaRPr lang="en-US" dirty="0">
              <a:solidFill>
                <a:schemeClr val="bg1"/>
              </a:solidFill>
            </a:endParaRPr>
          </a:p>
          <a:p>
            <a:endParaRPr lang="en-US" dirty="0">
              <a:solidFill>
                <a:schemeClr val="bg1"/>
              </a:solidFill>
            </a:endParaRPr>
          </a:p>
          <a:p>
            <a:r>
              <a:rPr lang="en-US" dirty="0">
                <a:solidFill>
                  <a:schemeClr val="bg1"/>
                </a:solidFill>
              </a:rPr>
              <a:t>Defect Repairs –</a:t>
            </a:r>
          </a:p>
          <a:p>
            <a:endParaRPr lang="en-US" dirty="0">
              <a:solidFill>
                <a:schemeClr val="bg1"/>
              </a:solidFill>
            </a:endParaRPr>
          </a:p>
          <a:p>
            <a:endParaRPr lang="en-US" dirty="0">
              <a:solidFill>
                <a:schemeClr val="bg1"/>
              </a:solidFill>
            </a:endParaRPr>
          </a:p>
          <a:p>
            <a:endParaRPr lang="en-US" dirty="0">
              <a:solidFill>
                <a:schemeClr val="bg1"/>
              </a:solidFill>
            </a:endParaRPr>
          </a:p>
          <a:p>
            <a:r>
              <a:rPr lang="en-US" dirty="0">
                <a:solidFill>
                  <a:schemeClr val="bg1"/>
                </a:solidFill>
              </a:rPr>
              <a:t>Resource Availability – </a:t>
            </a:r>
          </a:p>
          <a:p>
            <a:endParaRPr lang="en-US" dirty="0">
              <a:solidFill>
                <a:schemeClr val="bg1"/>
              </a:solidFill>
            </a:endParaRPr>
          </a:p>
          <a:p>
            <a:endParaRPr lang="en-US" dirty="0">
              <a:solidFill>
                <a:schemeClr val="bg1"/>
              </a:solidFill>
            </a:endParaRPr>
          </a:p>
        </p:txBody>
      </p:sp>
      <p:graphicFrame>
        <p:nvGraphicFramePr>
          <p:cNvPr id="4" name="Table 3">
            <a:extLst>
              <a:ext uri="{FF2B5EF4-FFF2-40B4-BE49-F238E27FC236}">
                <a16:creationId xmlns:a16="http://schemas.microsoft.com/office/drawing/2014/main" id="{C2A8FFE3-013B-AE47-BFFD-953CE917DFD8}"/>
              </a:ext>
            </a:extLst>
          </p:cNvPr>
          <p:cNvGraphicFramePr>
            <a:graphicFrameLocks noGrp="1"/>
          </p:cNvGraphicFramePr>
          <p:nvPr>
            <p:extLst>
              <p:ext uri="{D42A27DB-BD31-4B8C-83A1-F6EECF244321}">
                <p14:modId xmlns:p14="http://schemas.microsoft.com/office/powerpoint/2010/main" val="364981849"/>
              </p:ext>
            </p:extLst>
          </p:nvPr>
        </p:nvGraphicFramePr>
        <p:xfrm>
          <a:off x="2257424" y="2000242"/>
          <a:ext cx="8938659" cy="514349"/>
        </p:xfrm>
        <a:graphic>
          <a:graphicData uri="http://schemas.openxmlformats.org/drawingml/2006/table">
            <a:tbl>
              <a:tblPr>
                <a:tableStyleId>{5C22544A-7EE6-4342-B048-85BDC9FD1C3A}</a:tableStyleId>
              </a:tblPr>
              <a:tblGrid>
                <a:gridCol w="1668550">
                  <a:extLst>
                    <a:ext uri="{9D8B030D-6E8A-4147-A177-3AD203B41FA5}">
                      <a16:colId xmlns:a16="http://schemas.microsoft.com/office/drawing/2014/main" val="4078207714"/>
                    </a:ext>
                  </a:extLst>
                </a:gridCol>
                <a:gridCol w="1092502">
                  <a:extLst>
                    <a:ext uri="{9D8B030D-6E8A-4147-A177-3AD203B41FA5}">
                      <a16:colId xmlns:a16="http://schemas.microsoft.com/office/drawing/2014/main" val="2294752956"/>
                    </a:ext>
                  </a:extLst>
                </a:gridCol>
                <a:gridCol w="1787732">
                  <a:extLst>
                    <a:ext uri="{9D8B030D-6E8A-4147-A177-3AD203B41FA5}">
                      <a16:colId xmlns:a16="http://schemas.microsoft.com/office/drawing/2014/main" val="3174891614"/>
                    </a:ext>
                  </a:extLst>
                </a:gridCol>
                <a:gridCol w="2701461">
                  <a:extLst>
                    <a:ext uri="{9D8B030D-6E8A-4147-A177-3AD203B41FA5}">
                      <a16:colId xmlns:a16="http://schemas.microsoft.com/office/drawing/2014/main" val="2209206664"/>
                    </a:ext>
                  </a:extLst>
                </a:gridCol>
                <a:gridCol w="1688414">
                  <a:extLst>
                    <a:ext uri="{9D8B030D-6E8A-4147-A177-3AD203B41FA5}">
                      <a16:colId xmlns:a16="http://schemas.microsoft.com/office/drawing/2014/main" val="1381854668"/>
                    </a:ext>
                  </a:extLst>
                </a:gridCol>
              </a:tblGrid>
              <a:tr h="514349">
                <a:tc>
                  <a:txBody>
                    <a:bodyPr/>
                    <a:lstStyle/>
                    <a:p>
                      <a:pPr algn="ctr" fontAlgn="b">
                        <a:lnSpc>
                          <a:spcPct val="150000"/>
                        </a:lnSpc>
                      </a:pPr>
                      <a:r>
                        <a:rPr lang="en-CA" sz="1400" u="none" strike="noStrike" dirty="0">
                          <a:effectLst/>
                        </a:rPr>
                        <a:t>Flight Date</a:t>
                      </a:r>
                      <a:endParaRPr lang="en-CA"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lnSpc>
                          <a:spcPct val="150000"/>
                        </a:lnSpc>
                      </a:pPr>
                      <a:r>
                        <a:rPr lang="en-CA" sz="1400" u="none" strike="noStrike" dirty="0">
                          <a:effectLst/>
                        </a:rPr>
                        <a:t>Fleet Type</a:t>
                      </a:r>
                      <a:endParaRPr lang="en-CA"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lnSpc>
                          <a:spcPct val="150000"/>
                        </a:lnSpc>
                      </a:pPr>
                      <a:r>
                        <a:rPr lang="en-CA" sz="1400" u="none" strike="noStrike" dirty="0">
                          <a:effectLst/>
                        </a:rPr>
                        <a:t>Departing Station</a:t>
                      </a:r>
                      <a:endParaRPr lang="en-CA"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lnSpc>
                          <a:spcPct val="150000"/>
                        </a:lnSpc>
                      </a:pPr>
                      <a:r>
                        <a:rPr lang="en-CA" sz="1400" u="none" strike="noStrike" dirty="0">
                          <a:effectLst/>
                        </a:rPr>
                        <a:t>Inbound Arrival Local Time</a:t>
                      </a:r>
                      <a:endParaRPr lang="en-CA" sz="1400" b="1" i="0" u="none" strike="noStrike" dirty="0">
                        <a:solidFill>
                          <a:srgbClr val="000000"/>
                        </a:solidFill>
                        <a:effectLst/>
                        <a:latin typeface="Calibri" panose="020F0502020204030204" pitchFamily="34" charset="0"/>
                      </a:endParaRPr>
                    </a:p>
                  </a:txBody>
                  <a:tcPr marL="9525" marR="9525" marT="9525" marB="0" anchor="ctr">
                    <a:solidFill>
                      <a:schemeClr val="accent1">
                        <a:tint val="20000"/>
                      </a:schemeClr>
                    </a:solidFill>
                  </a:tcPr>
                </a:tc>
                <a:tc>
                  <a:txBody>
                    <a:bodyPr/>
                    <a:lstStyle/>
                    <a:p>
                      <a:pPr algn="ctr" fontAlgn="b">
                        <a:lnSpc>
                          <a:spcPct val="150000"/>
                        </a:lnSpc>
                      </a:pPr>
                      <a:r>
                        <a:rPr lang="en-CA" sz="1400" u="none" strike="noStrike" dirty="0">
                          <a:effectLst/>
                        </a:rPr>
                        <a:t>Ground Minutes</a:t>
                      </a:r>
                      <a:endParaRPr lang="en-CA" sz="14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845972027"/>
                  </a:ext>
                </a:extLst>
              </a:tr>
            </a:tbl>
          </a:graphicData>
        </a:graphic>
      </p:graphicFrame>
      <p:graphicFrame>
        <p:nvGraphicFramePr>
          <p:cNvPr id="5" name="Table 4">
            <a:extLst>
              <a:ext uri="{FF2B5EF4-FFF2-40B4-BE49-F238E27FC236}">
                <a16:creationId xmlns:a16="http://schemas.microsoft.com/office/drawing/2014/main" id="{973F6CEE-22FC-5344-8388-7CE7850958AF}"/>
              </a:ext>
            </a:extLst>
          </p:cNvPr>
          <p:cNvGraphicFramePr>
            <a:graphicFrameLocks noGrp="1"/>
          </p:cNvGraphicFramePr>
          <p:nvPr>
            <p:extLst>
              <p:ext uri="{D42A27DB-BD31-4B8C-83A1-F6EECF244321}">
                <p14:modId xmlns:p14="http://schemas.microsoft.com/office/powerpoint/2010/main" val="4260261617"/>
              </p:ext>
            </p:extLst>
          </p:nvPr>
        </p:nvGraphicFramePr>
        <p:xfrm>
          <a:off x="2257421" y="3245696"/>
          <a:ext cx="8938663" cy="514348"/>
        </p:xfrm>
        <a:graphic>
          <a:graphicData uri="http://schemas.openxmlformats.org/drawingml/2006/table">
            <a:tbl>
              <a:tblPr>
                <a:tableStyleId>{5C22544A-7EE6-4342-B048-85BDC9FD1C3A}</a:tableStyleId>
              </a:tblPr>
              <a:tblGrid>
                <a:gridCol w="3191284">
                  <a:extLst>
                    <a:ext uri="{9D8B030D-6E8A-4147-A177-3AD203B41FA5}">
                      <a16:colId xmlns:a16="http://schemas.microsoft.com/office/drawing/2014/main" val="811839372"/>
                    </a:ext>
                  </a:extLst>
                </a:gridCol>
                <a:gridCol w="3190353">
                  <a:extLst>
                    <a:ext uri="{9D8B030D-6E8A-4147-A177-3AD203B41FA5}">
                      <a16:colId xmlns:a16="http://schemas.microsoft.com/office/drawing/2014/main" val="213660234"/>
                    </a:ext>
                  </a:extLst>
                </a:gridCol>
                <a:gridCol w="2557026">
                  <a:extLst>
                    <a:ext uri="{9D8B030D-6E8A-4147-A177-3AD203B41FA5}">
                      <a16:colId xmlns:a16="http://schemas.microsoft.com/office/drawing/2014/main" val="3437909005"/>
                    </a:ext>
                  </a:extLst>
                </a:gridCol>
              </a:tblGrid>
              <a:tr h="514348">
                <a:tc>
                  <a:txBody>
                    <a:bodyPr/>
                    <a:lstStyle/>
                    <a:p>
                      <a:pPr algn="ctr" fontAlgn="b"/>
                      <a:r>
                        <a:rPr lang="en-CA" sz="1400" u="none" strike="noStrike" dirty="0">
                          <a:effectLst/>
                        </a:rPr>
                        <a:t>Fleet Type</a:t>
                      </a:r>
                      <a:endParaRPr lang="en-CA"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CA" sz="1400" u="none" strike="noStrike" dirty="0">
                          <a:effectLst/>
                        </a:rPr>
                        <a:t>DUE_DATE</a:t>
                      </a:r>
                      <a:endParaRPr lang="en-CA"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CA" sz="1400" u="none" strike="noStrike" dirty="0">
                          <a:effectLst/>
                        </a:rPr>
                        <a:t>MAN_HOURS_VALUE</a:t>
                      </a:r>
                      <a:endParaRPr lang="en-CA" sz="14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34500798"/>
                  </a:ext>
                </a:extLst>
              </a:tr>
            </a:tbl>
          </a:graphicData>
        </a:graphic>
      </p:graphicFrame>
      <p:graphicFrame>
        <p:nvGraphicFramePr>
          <p:cNvPr id="6" name="Table 5">
            <a:extLst>
              <a:ext uri="{FF2B5EF4-FFF2-40B4-BE49-F238E27FC236}">
                <a16:creationId xmlns:a16="http://schemas.microsoft.com/office/drawing/2014/main" id="{1445D551-A86C-9A43-B638-B738B8D69793}"/>
              </a:ext>
            </a:extLst>
          </p:cNvPr>
          <p:cNvGraphicFramePr>
            <a:graphicFrameLocks noGrp="1"/>
          </p:cNvGraphicFramePr>
          <p:nvPr>
            <p:extLst>
              <p:ext uri="{D42A27DB-BD31-4B8C-83A1-F6EECF244321}">
                <p14:modId xmlns:p14="http://schemas.microsoft.com/office/powerpoint/2010/main" val="1229698714"/>
              </p:ext>
            </p:extLst>
          </p:nvPr>
        </p:nvGraphicFramePr>
        <p:xfrm>
          <a:off x="2257421" y="4426150"/>
          <a:ext cx="8938663" cy="514349"/>
        </p:xfrm>
        <a:graphic>
          <a:graphicData uri="http://schemas.openxmlformats.org/drawingml/2006/table">
            <a:tbl>
              <a:tblPr>
                <a:tableStyleId>{5C22544A-7EE6-4342-B048-85BDC9FD1C3A}</a:tableStyleId>
              </a:tblPr>
              <a:tblGrid>
                <a:gridCol w="1037666">
                  <a:extLst>
                    <a:ext uri="{9D8B030D-6E8A-4147-A177-3AD203B41FA5}">
                      <a16:colId xmlns:a16="http://schemas.microsoft.com/office/drawing/2014/main" val="36917035"/>
                    </a:ext>
                  </a:extLst>
                </a:gridCol>
                <a:gridCol w="1404268">
                  <a:extLst>
                    <a:ext uri="{9D8B030D-6E8A-4147-A177-3AD203B41FA5}">
                      <a16:colId xmlns:a16="http://schemas.microsoft.com/office/drawing/2014/main" val="1818024192"/>
                    </a:ext>
                  </a:extLst>
                </a:gridCol>
                <a:gridCol w="1465159">
                  <a:extLst>
                    <a:ext uri="{9D8B030D-6E8A-4147-A177-3AD203B41FA5}">
                      <a16:colId xmlns:a16="http://schemas.microsoft.com/office/drawing/2014/main" val="1159244918"/>
                    </a:ext>
                  </a:extLst>
                </a:gridCol>
                <a:gridCol w="3147367">
                  <a:extLst>
                    <a:ext uri="{9D8B030D-6E8A-4147-A177-3AD203B41FA5}">
                      <a16:colId xmlns:a16="http://schemas.microsoft.com/office/drawing/2014/main" val="3095809049"/>
                    </a:ext>
                  </a:extLst>
                </a:gridCol>
                <a:gridCol w="1884203">
                  <a:extLst>
                    <a:ext uri="{9D8B030D-6E8A-4147-A177-3AD203B41FA5}">
                      <a16:colId xmlns:a16="http://schemas.microsoft.com/office/drawing/2014/main" val="3623974033"/>
                    </a:ext>
                  </a:extLst>
                </a:gridCol>
              </a:tblGrid>
              <a:tr h="514349">
                <a:tc>
                  <a:txBody>
                    <a:bodyPr/>
                    <a:lstStyle/>
                    <a:p>
                      <a:pPr algn="ctr" fontAlgn="b"/>
                      <a:r>
                        <a:rPr lang="en-CA" sz="1400" u="none" strike="noStrike" dirty="0">
                          <a:effectLst/>
                        </a:rPr>
                        <a:t>Fleet Type</a:t>
                      </a:r>
                      <a:endParaRPr lang="en-CA"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CA" sz="1400" u="none" strike="noStrike" dirty="0">
                          <a:effectLst/>
                        </a:rPr>
                        <a:t>DEFECT_TYPE</a:t>
                      </a:r>
                      <a:endParaRPr lang="en-CA"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CA" sz="1400" u="none" strike="noStrike" dirty="0">
                          <a:effectLst/>
                        </a:rPr>
                        <a:t>DEFECT_ITEM</a:t>
                      </a:r>
                      <a:endParaRPr lang="en-CA"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CA" sz="1400" u="none" strike="noStrike" dirty="0">
                          <a:effectLst/>
                        </a:rPr>
                        <a:t>PLAN_PROJECTED_DUE_DATE</a:t>
                      </a:r>
                      <a:endParaRPr lang="en-CA"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CA" sz="1400" u="none" strike="noStrike" dirty="0">
                          <a:effectLst/>
                        </a:rPr>
                        <a:t>MAN_HOURS_VALUE</a:t>
                      </a:r>
                      <a:endParaRPr lang="en-CA" sz="14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254953701"/>
                  </a:ext>
                </a:extLst>
              </a:tr>
            </a:tbl>
          </a:graphicData>
        </a:graphic>
      </p:graphicFrame>
      <p:graphicFrame>
        <p:nvGraphicFramePr>
          <p:cNvPr id="7" name="Table 6">
            <a:extLst>
              <a:ext uri="{FF2B5EF4-FFF2-40B4-BE49-F238E27FC236}">
                <a16:creationId xmlns:a16="http://schemas.microsoft.com/office/drawing/2014/main" id="{F8B81C02-5790-1E46-BD7C-6211C15BA430}"/>
              </a:ext>
            </a:extLst>
          </p:cNvPr>
          <p:cNvGraphicFramePr>
            <a:graphicFrameLocks noGrp="1"/>
          </p:cNvGraphicFramePr>
          <p:nvPr>
            <p:extLst>
              <p:ext uri="{D42A27DB-BD31-4B8C-83A1-F6EECF244321}">
                <p14:modId xmlns:p14="http://schemas.microsoft.com/office/powerpoint/2010/main" val="3481287082"/>
              </p:ext>
            </p:extLst>
          </p:nvPr>
        </p:nvGraphicFramePr>
        <p:xfrm>
          <a:off x="2257425" y="5534025"/>
          <a:ext cx="8938660" cy="318295"/>
        </p:xfrm>
        <a:graphic>
          <a:graphicData uri="http://schemas.openxmlformats.org/drawingml/2006/table">
            <a:tbl>
              <a:tblPr/>
              <a:tblGrid>
                <a:gridCol w="1787732">
                  <a:extLst>
                    <a:ext uri="{9D8B030D-6E8A-4147-A177-3AD203B41FA5}">
                      <a16:colId xmlns:a16="http://schemas.microsoft.com/office/drawing/2014/main" val="2086387099"/>
                    </a:ext>
                  </a:extLst>
                </a:gridCol>
                <a:gridCol w="1787732">
                  <a:extLst>
                    <a:ext uri="{9D8B030D-6E8A-4147-A177-3AD203B41FA5}">
                      <a16:colId xmlns:a16="http://schemas.microsoft.com/office/drawing/2014/main" val="879512342"/>
                    </a:ext>
                  </a:extLst>
                </a:gridCol>
                <a:gridCol w="1787732">
                  <a:extLst>
                    <a:ext uri="{9D8B030D-6E8A-4147-A177-3AD203B41FA5}">
                      <a16:colId xmlns:a16="http://schemas.microsoft.com/office/drawing/2014/main" val="2062695366"/>
                    </a:ext>
                  </a:extLst>
                </a:gridCol>
                <a:gridCol w="1787732">
                  <a:extLst>
                    <a:ext uri="{9D8B030D-6E8A-4147-A177-3AD203B41FA5}">
                      <a16:colId xmlns:a16="http://schemas.microsoft.com/office/drawing/2014/main" val="1090957331"/>
                    </a:ext>
                  </a:extLst>
                </a:gridCol>
                <a:gridCol w="1787732">
                  <a:extLst>
                    <a:ext uri="{9D8B030D-6E8A-4147-A177-3AD203B41FA5}">
                      <a16:colId xmlns:a16="http://schemas.microsoft.com/office/drawing/2014/main" val="1640690895"/>
                    </a:ext>
                  </a:extLst>
                </a:gridCol>
              </a:tblGrid>
              <a:tr h="318295">
                <a:tc>
                  <a:txBody>
                    <a:bodyPr/>
                    <a:lstStyle/>
                    <a:p>
                      <a:pPr algn="l" fontAlgn="b"/>
                      <a:r>
                        <a:rPr lang="en-CA" sz="1600" b="0" i="0" u="none" strike="noStrike">
                          <a:solidFill>
                            <a:srgbClr val="000000"/>
                          </a:solidFill>
                          <a:effectLst/>
                          <a:latin typeface="Calibri" panose="020F0502020204030204" pitchFamily="34" charset="0"/>
                        </a:rPr>
                        <a:t>Month</a:t>
                      </a:r>
                    </a:p>
                  </a:txBody>
                  <a:tcPr marL="9525" marR="9525" marT="9525" marB="0" anchor="ctr">
                    <a:lnL>
                      <a:noFill/>
                    </a:lnL>
                    <a:lnR>
                      <a:noFill/>
                    </a:lnR>
                    <a:lnT>
                      <a:noFill/>
                    </a:lnT>
                    <a:lnB>
                      <a:noFill/>
                    </a:lnB>
                    <a:solidFill>
                      <a:schemeClr val="accent1">
                        <a:tint val="20000"/>
                      </a:schemeClr>
                    </a:solidFill>
                  </a:tcPr>
                </a:tc>
                <a:tc>
                  <a:txBody>
                    <a:bodyPr/>
                    <a:lstStyle/>
                    <a:p>
                      <a:pPr algn="l" fontAlgn="b"/>
                      <a:r>
                        <a:rPr lang="en-CA" sz="1600" b="0" i="0" u="none" strike="noStrike">
                          <a:solidFill>
                            <a:srgbClr val="000000"/>
                          </a:solidFill>
                          <a:effectLst/>
                          <a:latin typeface="Calibri" panose="020F0502020204030204" pitchFamily="34" charset="0"/>
                        </a:rPr>
                        <a:t>Cycle</a:t>
                      </a:r>
                    </a:p>
                  </a:txBody>
                  <a:tcPr marL="9525" marR="9525" marT="9525" marB="0" anchor="ctr">
                    <a:lnL>
                      <a:noFill/>
                    </a:lnL>
                    <a:lnR>
                      <a:noFill/>
                    </a:lnR>
                    <a:lnT>
                      <a:noFill/>
                    </a:lnT>
                    <a:lnB>
                      <a:noFill/>
                    </a:lnB>
                    <a:solidFill>
                      <a:schemeClr val="accent1">
                        <a:tint val="20000"/>
                      </a:schemeClr>
                    </a:solidFill>
                  </a:tcPr>
                </a:tc>
                <a:tc>
                  <a:txBody>
                    <a:bodyPr/>
                    <a:lstStyle/>
                    <a:p>
                      <a:pPr algn="l" fontAlgn="b"/>
                      <a:r>
                        <a:rPr lang="en-CA" sz="1600" b="0" i="0" u="none" strike="noStrike" dirty="0">
                          <a:solidFill>
                            <a:srgbClr val="000000"/>
                          </a:solidFill>
                          <a:effectLst/>
                          <a:latin typeface="Calibri" panose="020F0502020204030204" pitchFamily="34" charset="0"/>
                        </a:rPr>
                        <a:t>Location</a:t>
                      </a:r>
                    </a:p>
                  </a:txBody>
                  <a:tcPr marL="9525" marR="9525" marT="9525" marB="0" anchor="ctr">
                    <a:lnL>
                      <a:noFill/>
                    </a:lnL>
                    <a:lnR>
                      <a:noFill/>
                    </a:lnR>
                    <a:lnT>
                      <a:noFill/>
                    </a:lnT>
                    <a:lnB>
                      <a:noFill/>
                    </a:lnB>
                    <a:solidFill>
                      <a:schemeClr val="accent1">
                        <a:tint val="20000"/>
                      </a:schemeClr>
                    </a:solidFill>
                  </a:tcPr>
                </a:tc>
                <a:tc>
                  <a:txBody>
                    <a:bodyPr/>
                    <a:lstStyle/>
                    <a:p>
                      <a:pPr algn="l" fontAlgn="b"/>
                      <a:r>
                        <a:rPr lang="en-CA" sz="1600" b="0" i="0" u="none" strike="noStrike">
                          <a:solidFill>
                            <a:srgbClr val="000000"/>
                          </a:solidFill>
                          <a:effectLst/>
                          <a:latin typeface="Calibri" panose="020F0502020204030204" pitchFamily="34" charset="0"/>
                        </a:rPr>
                        <a:t>Fleet</a:t>
                      </a:r>
                    </a:p>
                  </a:txBody>
                  <a:tcPr marL="9525" marR="9525" marT="9525" marB="0" anchor="ctr">
                    <a:lnL>
                      <a:noFill/>
                    </a:lnL>
                    <a:lnR>
                      <a:noFill/>
                    </a:lnR>
                    <a:lnT>
                      <a:noFill/>
                    </a:lnT>
                    <a:lnB>
                      <a:noFill/>
                    </a:lnB>
                    <a:solidFill>
                      <a:schemeClr val="accent1">
                        <a:tint val="20000"/>
                      </a:schemeClr>
                    </a:solidFill>
                  </a:tcPr>
                </a:tc>
                <a:tc>
                  <a:txBody>
                    <a:bodyPr/>
                    <a:lstStyle/>
                    <a:p>
                      <a:pPr algn="l" fontAlgn="b"/>
                      <a:r>
                        <a:rPr lang="en-CA" sz="1600" b="0" i="0" u="none" strike="noStrike" dirty="0">
                          <a:solidFill>
                            <a:srgbClr val="000000"/>
                          </a:solidFill>
                          <a:effectLst/>
                          <a:latin typeface="Calibri" panose="020F0502020204030204" pitchFamily="34" charset="0"/>
                        </a:rPr>
                        <a:t>Headcount</a:t>
                      </a:r>
                    </a:p>
                  </a:txBody>
                  <a:tcPr marL="9525" marR="9525" marT="9525" marB="0" anchor="ctr">
                    <a:lnL>
                      <a:noFill/>
                    </a:lnL>
                    <a:lnR>
                      <a:noFill/>
                    </a:lnR>
                    <a:lnT>
                      <a:noFill/>
                    </a:lnT>
                    <a:lnB>
                      <a:noFill/>
                    </a:lnB>
                    <a:solidFill>
                      <a:schemeClr val="accent1">
                        <a:tint val="20000"/>
                      </a:schemeClr>
                    </a:solidFill>
                  </a:tcPr>
                </a:tc>
                <a:extLst>
                  <a:ext uri="{0D108BD9-81ED-4DB2-BD59-A6C34878D82A}">
                    <a16:rowId xmlns:a16="http://schemas.microsoft.com/office/drawing/2014/main" val="384446881"/>
                  </a:ext>
                </a:extLst>
              </a:tr>
            </a:tbl>
          </a:graphicData>
        </a:graphic>
      </p:graphicFrame>
    </p:spTree>
    <p:extLst>
      <p:ext uri="{BB962C8B-B14F-4D97-AF65-F5344CB8AC3E}">
        <p14:creationId xmlns:p14="http://schemas.microsoft.com/office/powerpoint/2010/main" val="11727669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Data Analysis – Due Dates</a:t>
            </a:r>
          </a:p>
        </p:txBody>
      </p:sp>
      <p:pic>
        <p:nvPicPr>
          <p:cNvPr id="3" name="Picture 2">
            <a:extLst>
              <a:ext uri="{FF2B5EF4-FFF2-40B4-BE49-F238E27FC236}">
                <a16:creationId xmlns:a16="http://schemas.microsoft.com/office/drawing/2014/main" id="{939E9BFD-FCDA-3D4B-B624-BD69D18E9C82}"/>
              </a:ext>
            </a:extLst>
          </p:cNvPr>
          <p:cNvPicPr>
            <a:picLocks noChangeAspect="1"/>
          </p:cNvPicPr>
          <p:nvPr/>
        </p:nvPicPr>
        <p:blipFill>
          <a:blip r:embed="rId2"/>
          <a:stretch>
            <a:fillRect/>
          </a:stretch>
        </p:blipFill>
        <p:spPr>
          <a:xfrm>
            <a:off x="838200" y="2051380"/>
            <a:ext cx="4435848" cy="2900362"/>
          </a:xfrm>
          <a:prstGeom prst="rect">
            <a:avLst/>
          </a:prstGeom>
        </p:spPr>
      </p:pic>
      <p:pic>
        <p:nvPicPr>
          <p:cNvPr id="4" name="Picture 3">
            <a:extLst>
              <a:ext uri="{FF2B5EF4-FFF2-40B4-BE49-F238E27FC236}">
                <a16:creationId xmlns:a16="http://schemas.microsoft.com/office/drawing/2014/main" id="{46161AFA-1304-914A-B4B3-5434565D0FE3}"/>
              </a:ext>
            </a:extLst>
          </p:cNvPr>
          <p:cNvPicPr>
            <a:picLocks noChangeAspect="1"/>
          </p:cNvPicPr>
          <p:nvPr/>
        </p:nvPicPr>
        <p:blipFill>
          <a:blip r:embed="rId3"/>
          <a:stretch>
            <a:fillRect/>
          </a:stretch>
        </p:blipFill>
        <p:spPr>
          <a:xfrm>
            <a:off x="6917952" y="2051380"/>
            <a:ext cx="4435848" cy="2911278"/>
          </a:xfrm>
          <a:prstGeom prst="rect">
            <a:avLst/>
          </a:prstGeom>
        </p:spPr>
      </p:pic>
      <p:sp>
        <p:nvSpPr>
          <p:cNvPr id="5" name="TextBox 4">
            <a:extLst>
              <a:ext uri="{FF2B5EF4-FFF2-40B4-BE49-F238E27FC236}">
                <a16:creationId xmlns:a16="http://schemas.microsoft.com/office/drawing/2014/main" id="{10F5D1C4-D985-8743-BD17-16F5F1F6FC6D}"/>
              </a:ext>
            </a:extLst>
          </p:cNvPr>
          <p:cNvSpPr txBox="1"/>
          <p:nvPr/>
        </p:nvSpPr>
        <p:spPr>
          <a:xfrm>
            <a:off x="893135" y="5295011"/>
            <a:ext cx="4253023" cy="584791"/>
          </a:xfrm>
          <a:prstGeom prst="rect">
            <a:avLst/>
          </a:prstGeom>
          <a:noFill/>
        </p:spPr>
        <p:txBody>
          <a:bodyPr wrap="square" lIns="0" tIns="0" rIns="0" bIns="0" rtlCol="0">
            <a:noAutofit/>
          </a:bodyPr>
          <a:lstStyle/>
          <a:p>
            <a:r>
              <a:rPr lang="en-US" sz="1700" dirty="0">
                <a:solidFill>
                  <a:schemeClr val="bg1"/>
                </a:solidFill>
              </a:rPr>
              <a:t>Distribution – Due date for Repair tasks</a:t>
            </a:r>
          </a:p>
        </p:txBody>
      </p:sp>
      <p:sp>
        <p:nvSpPr>
          <p:cNvPr id="6" name="TextBox 5">
            <a:extLst>
              <a:ext uri="{FF2B5EF4-FFF2-40B4-BE49-F238E27FC236}">
                <a16:creationId xmlns:a16="http://schemas.microsoft.com/office/drawing/2014/main" id="{4EFA350F-7D39-8A4B-BE2C-1AC8BB6C9CE7}"/>
              </a:ext>
            </a:extLst>
          </p:cNvPr>
          <p:cNvSpPr txBox="1"/>
          <p:nvPr/>
        </p:nvSpPr>
        <p:spPr>
          <a:xfrm>
            <a:off x="6917952" y="5302551"/>
            <a:ext cx="4253023" cy="584791"/>
          </a:xfrm>
          <a:prstGeom prst="rect">
            <a:avLst/>
          </a:prstGeom>
          <a:noFill/>
        </p:spPr>
        <p:txBody>
          <a:bodyPr wrap="square" lIns="0" tIns="0" rIns="0" bIns="0" rtlCol="0">
            <a:noAutofit/>
          </a:bodyPr>
          <a:lstStyle/>
          <a:p>
            <a:r>
              <a:rPr lang="en-US" sz="1700" dirty="0">
                <a:solidFill>
                  <a:schemeClr val="bg1"/>
                </a:solidFill>
              </a:rPr>
              <a:t>Distribution – Due date for Maintenance tasks</a:t>
            </a:r>
          </a:p>
        </p:txBody>
      </p:sp>
    </p:spTree>
    <p:extLst>
      <p:ext uri="{BB962C8B-B14F-4D97-AF65-F5344CB8AC3E}">
        <p14:creationId xmlns:p14="http://schemas.microsoft.com/office/powerpoint/2010/main" val="39314798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Data Analysis – Task Times</a:t>
            </a:r>
          </a:p>
        </p:txBody>
      </p:sp>
      <p:pic>
        <p:nvPicPr>
          <p:cNvPr id="3" name="Picture 2">
            <a:extLst>
              <a:ext uri="{FF2B5EF4-FFF2-40B4-BE49-F238E27FC236}">
                <a16:creationId xmlns:a16="http://schemas.microsoft.com/office/drawing/2014/main" id="{CC8D571A-7717-ED43-B4F3-14773CE28861}"/>
              </a:ext>
            </a:extLst>
          </p:cNvPr>
          <p:cNvPicPr>
            <a:picLocks noChangeAspect="1"/>
          </p:cNvPicPr>
          <p:nvPr/>
        </p:nvPicPr>
        <p:blipFill>
          <a:blip r:embed="rId2"/>
          <a:stretch>
            <a:fillRect/>
          </a:stretch>
        </p:blipFill>
        <p:spPr>
          <a:xfrm>
            <a:off x="685800" y="2128838"/>
            <a:ext cx="5162969" cy="2983794"/>
          </a:xfrm>
          <a:prstGeom prst="rect">
            <a:avLst/>
          </a:prstGeom>
        </p:spPr>
      </p:pic>
      <p:pic>
        <p:nvPicPr>
          <p:cNvPr id="4" name="Picture 3">
            <a:extLst>
              <a:ext uri="{FF2B5EF4-FFF2-40B4-BE49-F238E27FC236}">
                <a16:creationId xmlns:a16="http://schemas.microsoft.com/office/drawing/2014/main" id="{3DD18671-71E1-7F45-BC41-D8B9F24AD180}"/>
              </a:ext>
            </a:extLst>
          </p:cNvPr>
          <p:cNvPicPr>
            <a:picLocks noChangeAspect="1"/>
          </p:cNvPicPr>
          <p:nvPr/>
        </p:nvPicPr>
        <p:blipFill>
          <a:blip r:embed="rId3"/>
          <a:stretch>
            <a:fillRect/>
          </a:stretch>
        </p:blipFill>
        <p:spPr>
          <a:xfrm>
            <a:off x="6235700" y="2128838"/>
            <a:ext cx="5140619" cy="3017320"/>
          </a:xfrm>
          <a:prstGeom prst="rect">
            <a:avLst/>
          </a:prstGeom>
        </p:spPr>
      </p:pic>
      <p:sp>
        <p:nvSpPr>
          <p:cNvPr id="5" name="TextBox 4">
            <a:extLst>
              <a:ext uri="{FF2B5EF4-FFF2-40B4-BE49-F238E27FC236}">
                <a16:creationId xmlns:a16="http://schemas.microsoft.com/office/drawing/2014/main" id="{E53A2026-0F0E-D149-9A97-904582ABBE8B}"/>
              </a:ext>
            </a:extLst>
          </p:cNvPr>
          <p:cNvSpPr txBox="1"/>
          <p:nvPr/>
        </p:nvSpPr>
        <p:spPr>
          <a:xfrm>
            <a:off x="685801" y="5295011"/>
            <a:ext cx="5162968" cy="584791"/>
          </a:xfrm>
          <a:prstGeom prst="rect">
            <a:avLst/>
          </a:prstGeom>
          <a:noFill/>
        </p:spPr>
        <p:txBody>
          <a:bodyPr wrap="square" lIns="0" tIns="0" rIns="0" bIns="0" rtlCol="0">
            <a:noAutofit/>
          </a:bodyPr>
          <a:lstStyle/>
          <a:p>
            <a:r>
              <a:rPr lang="en-US" sz="1700" dirty="0">
                <a:solidFill>
                  <a:schemeClr val="bg1"/>
                </a:solidFill>
              </a:rPr>
              <a:t>Distribution – </a:t>
            </a:r>
            <a:r>
              <a:rPr lang="en-US" sz="1700" dirty="0" err="1">
                <a:solidFill>
                  <a:schemeClr val="bg1"/>
                </a:solidFill>
              </a:rPr>
              <a:t>ManHours</a:t>
            </a:r>
            <a:r>
              <a:rPr lang="en-US" sz="1700" dirty="0">
                <a:solidFill>
                  <a:schemeClr val="bg1"/>
                </a:solidFill>
              </a:rPr>
              <a:t> requirement in hours for repair</a:t>
            </a:r>
          </a:p>
        </p:txBody>
      </p:sp>
      <p:sp>
        <p:nvSpPr>
          <p:cNvPr id="6" name="TextBox 5">
            <a:extLst>
              <a:ext uri="{FF2B5EF4-FFF2-40B4-BE49-F238E27FC236}">
                <a16:creationId xmlns:a16="http://schemas.microsoft.com/office/drawing/2014/main" id="{7CA6FC70-751D-B44A-898A-B9C4F2ECFC9C}"/>
              </a:ext>
            </a:extLst>
          </p:cNvPr>
          <p:cNvSpPr txBox="1"/>
          <p:nvPr/>
        </p:nvSpPr>
        <p:spPr>
          <a:xfrm>
            <a:off x="6235700" y="5309185"/>
            <a:ext cx="5162968" cy="584791"/>
          </a:xfrm>
          <a:prstGeom prst="rect">
            <a:avLst/>
          </a:prstGeom>
          <a:noFill/>
        </p:spPr>
        <p:txBody>
          <a:bodyPr wrap="square" lIns="0" tIns="0" rIns="0" bIns="0" rtlCol="0">
            <a:noAutofit/>
          </a:bodyPr>
          <a:lstStyle/>
          <a:p>
            <a:r>
              <a:rPr lang="en-US" sz="1700" dirty="0">
                <a:solidFill>
                  <a:schemeClr val="bg1"/>
                </a:solidFill>
              </a:rPr>
              <a:t>Distribution – </a:t>
            </a:r>
            <a:r>
              <a:rPr lang="en-US" sz="1700" dirty="0" err="1">
                <a:solidFill>
                  <a:schemeClr val="bg1"/>
                </a:solidFill>
              </a:rPr>
              <a:t>ManHours</a:t>
            </a:r>
            <a:r>
              <a:rPr lang="en-US" sz="1700" dirty="0">
                <a:solidFill>
                  <a:schemeClr val="bg1"/>
                </a:solidFill>
              </a:rPr>
              <a:t> requirement in hours for maintenance</a:t>
            </a:r>
          </a:p>
        </p:txBody>
      </p:sp>
    </p:spTree>
    <p:extLst>
      <p:ext uri="{BB962C8B-B14F-4D97-AF65-F5344CB8AC3E}">
        <p14:creationId xmlns:p14="http://schemas.microsoft.com/office/powerpoint/2010/main" val="3299449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B9F9B-9CF1-5542-B2BC-6C285DFAAECB}"/>
              </a:ext>
            </a:extLst>
          </p:cNvPr>
          <p:cNvSpPr>
            <a:spLocks noGrp="1"/>
          </p:cNvSpPr>
          <p:nvPr>
            <p:ph type="title"/>
          </p:nvPr>
        </p:nvSpPr>
        <p:spPr>
          <a:xfrm>
            <a:off x="2070264" y="763320"/>
            <a:ext cx="9588335" cy="471714"/>
          </a:xfrm>
        </p:spPr>
        <p:txBody>
          <a:bodyPr/>
          <a:lstStyle/>
          <a:p>
            <a:r>
              <a:rPr lang="en-US" dirty="0"/>
              <a:t>Data Analysis - YYZ</a:t>
            </a:r>
          </a:p>
        </p:txBody>
      </p:sp>
      <p:pic>
        <p:nvPicPr>
          <p:cNvPr id="3" name="Picture 2">
            <a:extLst>
              <a:ext uri="{FF2B5EF4-FFF2-40B4-BE49-F238E27FC236}">
                <a16:creationId xmlns:a16="http://schemas.microsoft.com/office/drawing/2014/main" id="{210AB134-BFFE-0A40-9250-DDFF5045440C}"/>
              </a:ext>
            </a:extLst>
          </p:cNvPr>
          <p:cNvPicPr>
            <a:picLocks noChangeAspect="1"/>
          </p:cNvPicPr>
          <p:nvPr/>
        </p:nvPicPr>
        <p:blipFill>
          <a:blip r:embed="rId2"/>
          <a:stretch>
            <a:fillRect/>
          </a:stretch>
        </p:blipFill>
        <p:spPr>
          <a:xfrm>
            <a:off x="6000289" y="2002630"/>
            <a:ext cx="5353511" cy="3112295"/>
          </a:xfrm>
          <a:prstGeom prst="rect">
            <a:avLst/>
          </a:prstGeom>
        </p:spPr>
      </p:pic>
      <p:pic>
        <p:nvPicPr>
          <p:cNvPr id="4" name="Picture 3">
            <a:extLst>
              <a:ext uri="{FF2B5EF4-FFF2-40B4-BE49-F238E27FC236}">
                <a16:creationId xmlns:a16="http://schemas.microsoft.com/office/drawing/2014/main" id="{FAB610DF-D2C0-EE4D-B0B2-D3A1E7309620}"/>
              </a:ext>
            </a:extLst>
          </p:cNvPr>
          <p:cNvPicPr>
            <a:picLocks noChangeAspect="1"/>
          </p:cNvPicPr>
          <p:nvPr/>
        </p:nvPicPr>
        <p:blipFill>
          <a:blip r:embed="rId3"/>
          <a:stretch>
            <a:fillRect/>
          </a:stretch>
        </p:blipFill>
        <p:spPr>
          <a:xfrm>
            <a:off x="1190625" y="2002097"/>
            <a:ext cx="4457239" cy="3112828"/>
          </a:xfrm>
          <a:prstGeom prst="rect">
            <a:avLst/>
          </a:prstGeom>
        </p:spPr>
      </p:pic>
      <p:sp>
        <p:nvSpPr>
          <p:cNvPr id="5" name="TextBox 4">
            <a:extLst>
              <a:ext uri="{FF2B5EF4-FFF2-40B4-BE49-F238E27FC236}">
                <a16:creationId xmlns:a16="http://schemas.microsoft.com/office/drawing/2014/main" id="{F92DF222-7242-944A-9066-4300742DA571}"/>
              </a:ext>
            </a:extLst>
          </p:cNvPr>
          <p:cNvSpPr txBox="1"/>
          <p:nvPr/>
        </p:nvSpPr>
        <p:spPr>
          <a:xfrm>
            <a:off x="1292732" y="5509889"/>
            <a:ext cx="4253023" cy="584791"/>
          </a:xfrm>
          <a:prstGeom prst="rect">
            <a:avLst/>
          </a:prstGeom>
          <a:noFill/>
        </p:spPr>
        <p:txBody>
          <a:bodyPr wrap="square" lIns="0" tIns="0" rIns="0" bIns="0" rtlCol="0">
            <a:noAutofit/>
          </a:bodyPr>
          <a:lstStyle/>
          <a:p>
            <a:r>
              <a:rPr lang="en-US" sz="1700" dirty="0">
                <a:solidFill>
                  <a:schemeClr val="bg1"/>
                </a:solidFill>
              </a:rPr>
              <a:t>Distribution – Volume of flights per day</a:t>
            </a:r>
          </a:p>
        </p:txBody>
      </p:sp>
      <p:sp>
        <p:nvSpPr>
          <p:cNvPr id="6" name="TextBox 5">
            <a:extLst>
              <a:ext uri="{FF2B5EF4-FFF2-40B4-BE49-F238E27FC236}">
                <a16:creationId xmlns:a16="http://schemas.microsoft.com/office/drawing/2014/main" id="{AD0C27F9-E4FE-6A4A-A157-375CF09F268C}"/>
              </a:ext>
            </a:extLst>
          </p:cNvPr>
          <p:cNvSpPr txBox="1"/>
          <p:nvPr/>
        </p:nvSpPr>
        <p:spPr>
          <a:xfrm>
            <a:off x="6000289" y="5590125"/>
            <a:ext cx="5353511" cy="584791"/>
          </a:xfrm>
          <a:prstGeom prst="rect">
            <a:avLst/>
          </a:prstGeom>
          <a:noFill/>
        </p:spPr>
        <p:txBody>
          <a:bodyPr wrap="square" lIns="0" tIns="0" rIns="0" bIns="0" rtlCol="0">
            <a:noAutofit/>
          </a:bodyPr>
          <a:lstStyle/>
          <a:p>
            <a:r>
              <a:rPr lang="en-US" sz="1700" dirty="0">
                <a:solidFill>
                  <a:schemeClr val="bg1"/>
                </a:solidFill>
              </a:rPr>
              <a:t>Distribution – Ground time available in minutes</a:t>
            </a:r>
          </a:p>
        </p:txBody>
      </p:sp>
    </p:spTree>
    <p:extLst>
      <p:ext uri="{BB962C8B-B14F-4D97-AF65-F5344CB8AC3E}">
        <p14:creationId xmlns:p14="http://schemas.microsoft.com/office/powerpoint/2010/main" val="845674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Logo"/>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R1vP17KRvKFxw5Xjzq5A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dlTrR5jQKSjFPrTloE1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NAME" val="Logo"/>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R1vP17KRvKFxw5Xjzq5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4_Office Theme">
  <a:themeElements>
    <a:clrScheme name="Custom 8">
      <a:dk1>
        <a:srgbClr val="000000"/>
      </a:dk1>
      <a:lt1>
        <a:srgbClr val="FFFFFF"/>
      </a:lt1>
      <a:dk2>
        <a:srgbClr val="1D1D1B"/>
      </a:dk2>
      <a:lt2>
        <a:srgbClr val="D2D0CD"/>
      </a:lt2>
      <a:accent1>
        <a:srgbClr val="8A1702"/>
      </a:accent1>
      <a:accent2>
        <a:srgbClr val="C9E6FA"/>
      </a:accent2>
      <a:accent3>
        <a:srgbClr val="C2AE90"/>
      </a:accent3>
      <a:accent4>
        <a:srgbClr val="1D1D1B"/>
      </a:accent4>
      <a:accent5>
        <a:srgbClr val="F01428"/>
      </a:accent5>
      <a:accent6>
        <a:srgbClr val="FBBA00"/>
      </a:accent6>
      <a:hlink>
        <a:srgbClr val="0563C1"/>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700" dirty="0"/>
        </a:defPPr>
      </a:lstStyle>
    </a:txDef>
  </a:objectDefaults>
  <a:extraClrSchemeLst/>
  <a:extLst>
    <a:ext uri="{05A4C25C-085E-4340-85A3-A5531E510DB2}">
      <thm15:themeFamily xmlns:thm15="http://schemas.microsoft.com/office/thememl/2012/main" name="ACF1426-1PPT2 [Read-Only]" id="{3A581BFC-0E22-465D-80EA-862594D6E536}" vid="{B8046B8E-0947-4421-A6BB-678B89CB46E6}"/>
    </a:ext>
  </a:extLst>
</a:theme>
</file>

<file path=ppt/theme/theme2.xml><?xml version="1.0" encoding="utf-8"?>
<a:theme xmlns:a="http://schemas.openxmlformats.org/drawingml/2006/main" name="Office Theme">
  <a:themeElements>
    <a:clrScheme name="Custom 8">
      <a:dk1>
        <a:srgbClr val="000000"/>
      </a:dk1>
      <a:lt1>
        <a:srgbClr val="FFFFFF"/>
      </a:lt1>
      <a:dk2>
        <a:srgbClr val="1D1D1B"/>
      </a:dk2>
      <a:lt2>
        <a:srgbClr val="D2D0CD"/>
      </a:lt2>
      <a:accent1>
        <a:srgbClr val="8A1702"/>
      </a:accent1>
      <a:accent2>
        <a:srgbClr val="C9E6FA"/>
      </a:accent2>
      <a:accent3>
        <a:srgbClr val="C2AE90"/>
      </a:accent3>
      <a:accent4>
        <a:srgbClr val="1D1D1B"/>
      </a:accent4>
      <a:accent5>
        <a:srgbClr val="F01428"/>
      </a:accent5>
      <a:accent6>
        <a:srgbClr val="FBBA00"/>
      </a:accent6>
      <a:hlink>
        <a:srgbClr val="0563C1"/>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700" dirty="0"/>
        </a:defPPr>
      </a:lstStyle>
    </a:txDef>
  </a:objectDefaults>
  <a:extraClrSchemeLst/>
  <a:extLst>
    <a:ext uri="{05A4C25C-085E-4340-85A3-A5531E510DB2}">
      <thm15:themeFamily xmlns:thm15="http://schemas.microsoft.com/office/thememl/2012/main" name="AirCanada PPT_169 Template-rev5.potx" id="{27CB17F8-2F53-42D1-BAA9-64EB50117702}" vid="{E56DF793-A96C-402E-A638-6317E10F508E}"/>
    </a:ext>
  </a:extLst>
</a:theme>
</file>

<file path=ppt/theme/theme3.xml><?xml version="1.0" encoding="utf-8"?>
<a:theme xmlns:a="http://schemas.openxmlformats.org/drawingml/2006/main" name="1_Firm Format - template">
  <a:themeElements>
    <a:clrScheme name="Custom 4">
      <a:dk1>
        <a:srgbClr val="2A2A2A"/>
      </a:dk1>
      <a:lt1>
        <a:srgbClr val="FFFFFF"/>
      </a:lt1>
      <a:dk2>
        <a:srgbClr val="D8292F"/>
      </a:dk2>
      <a:lt2>
        <a:srgbClr val="FFFFFF"/>
      </a:lt2>
      <a:accent1>
        <a:srgbClr val="C8C8C8"/>
      </a:accent1>
      <a:accent2>
        <a:srgbClr val="4A4F55"/>
      </a:accent2>
      <a:accent3>
        <a:srgbClr val="BAA88D"/>
      </a:accent3>
      <a:accent4>
        <a:srgbClr val="81A9B7"/>
      </a:accent4>
      <a:accent5>
        <a:srgbClr val="D8292F"/>
      </a:accent5>
      <a:accent6>
        <a:srgbClr val="4A4F55"/>
      </a:accent6>
      <a:hlink>
        <a:srgbClr val="C8C8C8"/>
      </a:hlink>
      <a:folHlink>
        <a:srgbClr val="2A2A2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wide" id="{5979B165-12DB-457B-8358-415C02440B71}" vid="{CA867880-09AE-48DD-8C7D-1A941E59D4E6}"/>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Firm Format - template">
  <a:themeElements>
    <a:clrScheme name="Custom 4">
      <a:dk1>
        <a:srgbClr val="2A2A2A"/>
      </a:dk1>
      <a:lt1>
        <a:srgbClr val="FFFFFF"/>
      </a:lt1>
      <a:dk2>
        <a:srgbClr val="D8292F"/>
      </a:dk2>
      <a:lt2>
        <a:srgbClr val="FFFFFF"/>
      </a:lt2>
      <a:accent1>
        <a:srgbClr val="C8C8C8"/>
      </a:accent1>
      <a:accent2>
        <a:srgbClr val="4A4F55"/>
      </a:accent2>
      <a:accent3>
        <a:srgbClr val="BAA88D"/>
      </a:accent3>
      <a:accent4>
        <a:srgbClr val="81A9B7"/>
      </a:accent4>
      <a:accent5>
        <a:srgbClr val="D8292F"/>
      </a:accent5>
      <a:accent6>
        <a:srgbClr val="4A4F55"/>
      </a:accent6>
      <a:hlink>
        <a:srgbClr val="C8C8C8"/>
      </a:hlink>
      <a:folHlink>
        <a:srgbClr val="2A2A2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wide" id="{5979B165-12DB-457B-8358-415C02440B71}" vid="{CA867880-09AE-48DD-8C7D-1A941E59D4E6}"/>
    </a:ext>
  </a:extLst>
</a:theme>
</file>

<file path=ppt/theme/theme6.xml><?xml version="1.0" encoding="utf-8"?>
<a:theme xmlns:a="http://schemas.openxmlformats.org/drawingml/2006/main" name="Black">
  <a:themeElements>
    <a:clrScheme name="Air Canada">
      <a:dk1>
        <a:srgbClr val="000000"/>
      </a:dk1>
      <a:lt1>
        <a:srgbClr val="FFFFFF"/>
      </a:lt1>
      <a:dk2>
        <a:srgbClr val="4B4F54"/>
      </a:dk2>
      <a:lt2>
        <a:srgbClr val="B79A7E"/>
      </a:lt2>
      <a:accent1>
        <a:srgbClr val="F01428"/>
      </a:accent1>
      <a:accent2>
        <a:srgbClr val="D2EBF3"/>
      </a:accent2>
      <a:accent3>
        <a:srgbClr val="79242E"/>
      </a:accent3>
      <a:accent4>
        <a:srgbClr val="F3B223"/>
      </a:accent4>
      <a:accent5>
        <a:srgbClr val="FFFFFF"/>
      </a:accent5>
      <a:accent6>
        <a:srgbClr val="FFFFFF"/>
      </a:accent6>
      <a:hlink>
        <a:srgbClr val="FF0000"/>
      </a:hlink>
      <a:folHlink>
        <a:srgbClr val="7700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1</TotalTime>
  <Words>4665</Words>
  <Application>Microsoft Macintosh PowerPoint</Application>
  <PresentationFormat>Widescreen</PresentationFormat>
  <Paragraphs>653</Paragraphs>
  <Slides>53</Slides>
  <Notes>16</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53</vt:i4>
      </vt:variant>
    </vt:vector>
  </HeadingPairs>
  <TitlesOfParts>
    <vt:vector size="72" baseType="lpstr">
      <vt:lpstr>.AppleSystemUIFont</vt:lpstr>
      <vt:lpstr>.HelveticaNeueDeskInterface-Regular</vt:lpstr>
      <vt:lpstr>Arial</vt:lpstr>
      <vt:lpstr>Calibri</vt:lpstr>
      <vt:lpstr>Calibri Light</vt:lpstr>
      <vt:lpstr>CambriaMath</vt:lpstr>
      <vt:lpstr>LucidaGrande</vt:lpstr>
      <vt:lpstr>Palatino Linotype</vt:lpstr>
      <vt:lpstr>Segoe UI Semilight</vt:lpstr>
      <vt:lpstr>Times New Roman</vt:lpstr>
      <vt:lpstr>Trebuchet MS</vt:lpstr>
      <vt:lpstr>Verdana</vt:lpstr>
      <vt:lpstr>4_Office Theme</vt:lpstr>
      <vt:lpstr>Office Theme</vt:lpstr>
      <vt:lpstr>1_Firm Format - template</vt:lpstr>
      <vt:lpstr>1_Office Theme</vt:lpstr>
      <vt:lpstr>Firm Format - template</vt:lpstr>
      <vt:lpstr>Black</vt:lpstr>
      <vt:lpstr>think-cell Slide</vt:lpstr>
      <vt:lpstr>Airline Maintenance Schedule Optimization</vt:lpstr>
      <vt:lpstr>PowerPoint Presentation</vt:lpstr>
      <vt:lpstr>Introduction</vt:lpstr>
      <vt:lpstr>Problem Description</vt:lpstr>
      <vt:lpstr>Problem - Hardness</vt:lpstr>
      <vt:lpstr>Data</vt:lpstr>
      <vt:lpstr>Data Analysis – Due Dates</vt:lpstr>
      <vt:lpstr>Data Analysis – Task Times</vt:lpstr>
      <vt:lpstr>Data Analysis - YYZ</vt:lpstr>
      <vt:lpstr>Data Analysis - Manpower</vt:lpstr>
      <vt:lpstr>Solution Approach</vt:lpstr>
      <vt:lpstr>Shift Profile</vt:lpstr>
      <vt:lpstr>Shift Profile - YYZ</vt:lpstr>
      <vt:lpstr>Task assignment – First Approach</vt:lpstr>
      <vt:lpstr>Task assignment</vt:lpstr>
      <vt:lpstr>Task assignment</vt:lpstr>
      <vt:lpstr>Resource Usage</vt:lpstr>
      <vt:lpstr>Results</vt:lpstr>
      <vt:lpstr>Results</vt:lpstr>
      <vt:lpstr>Results</vt:lpstr>
      <vt:lpstr>Results</vt:lpstr>
      <vt:lpstr>Final remarks</vt:lpstr>
      <vt:lpstr>PowerPoint Presentation</vt:lpstr>
      <vt:lpstr>Problem Statement</vt:lpstr>
      <vt:lpstr>PowerPoint Presentation</vt:lpstr>
      <vt:lpstr>MAINTENANCE PLANNING </vt:lpstr>
      <vt:lpstr>PowerPoint Presentation</vt:lpstr>
      <vt:lpstr>Appendix</vt:lpstr>
      <vt:lpstr>Cost of Yield Loss</vt:lpstr>
      <vt:lpstr>Aircraft Type Home-Base</vt:lpstr>
      <vt:lpstr>About Air Cana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ptember 1 193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020 – Covid 19 Unprecedented in Aviation histo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nical Review</dc:title>
  <dc:creator>Mohammad Khalil</dc:creator>
  <cp:lastModifiedBy>Microsoft Office User</cp:lastModifiedBy>
  <cp:revision>21</cp:revision>
  <dcterms:created xsi:type="dcterms:W3CDTF">2021-12-08T15:04:20Z</dcterms:created>
  <dcterms:modified xsi:type="dcterms:W3CDTF">2022-08-26T03:50:32Z</dcterms:modified>
</cp:coreProperties>
</file>